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72" r:id="rId1"/>
  </p:sldMasterIdLst>
  <p:notesMasterIdLst>
    <p:notesMasterId r:id="rId17"/>
  </p:notesMasterIdLst>
  <p:handoutMasterIdLst>
    <p:handoutMasterId r:id="rId18"/>
  </p:handoutMasterIdLst>
  <p:sldIdLst>
    <p:sldId id="872" r:id="rId2"/>
    <p:sldId id="874" r:id="rId3"/>
    <p:sldId id="875" r:id="rId4"/>
    <p:sldId id="860" r:id="rId5"/>
    <p:sldId id="876" r:id="rId6"/>
    <p:sldId id="869" r:id="rId7"/>
    <p:sldId id="878" r:id="rId8"/>
    <p:sldId id="861" r:id="rId9"/>
    <p:sldId id="862" r:id="rId10"/>
    <p:sldId id="863" r:id="rId11"/>
    <p:sldId id="864" r:id="rId12"/>
    <p:sldId id="865" r:id="rId13"/>
    <p:sldId id="866" r:id="rId14"/>
    <p:sldId id="867" r:id="rId15"/>
    <p:sldId id="873" r:id="rId16"/>
  </p:sldIdLst>
  <p:sldSz cx="12192000" cy="6858000"/>
  <p:notesSz cx="6797675" cy="9926638"/>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E75941"/>
    <a:srgbClr val="D6EEFB"/>
    <a:srgbClr val="DDEFF9"/>
    <a:srgbClr val="5ABCEF"/>
    <a:srgbClr val="81C3C4"/>
    <a:srgbClr val="F2F2F2"/>
    <a:srgbClr val="E75A42"/>
    <a:srgbClr val="F6A378"/>
    <a:srgbClr val="F9C9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37" autoAdjust="0"/>
    <p:restoredTop sz="96590" autoAdjust="0"/>
  </p:normalViewPr>
  <p:slideViewPr>
    <p:cSldViewPr snapToGrid="0" showGuides="1">
      <p:cViewPr varScale="1">
        <p:scale>
          <a:sx n="114" d="100"/>
          <a:sy n="114" d="100"/>
        </p:scale>
        <p:origin x="348" y="102"/>
      </p:cViewPr>
      <p:guideLst/>
    </p:cSldViewPr>
  </p:slideViewPr>
  <p:notesTextViewPr>
    <p:cViewPr>
      <p:scale>
        <a:sx n="1" d="1"/>
        <a:sy n="1" d="1"/>
      </p:scale>
      <p:origin x="0" y="0"/>
    </p:cViewPr>
  </p:notesTextViewPr>
  <p:sorterViewPr>
    <p:cViewPr varScale="1">
      <p:scale>
        <a:sx n="100" d="100"/>
        <a:sy n="100" d="100"/>
      </p:scale>
      <p:origin x="0" y="-65540"/>
    </p:cViewPr>
  </p:sorterViewPr>
  <p:notesViewPr>
    <p:cSldViewPr snapToGrid="0" showGuides="1">
      <p:cViewPr varScale="1">
        <p:scale>
          <a:sx n="81" d="100"/>
          <a:sy n="81" d="100"/>
        </p:scale>
        <p:origin x="389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588EEEA-839F-4E1C-B807-2AD8FBF29C09}"/>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8ADC749-8082-4BBA-8DF4-648D74AAA03D}"/>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4047878-DB08-43D0-A07C-181CBE29E9FA}" type="datetimeFigureOut">
              <a:rPr lang="en-US" smtClean="0"/>
              <a:t>4/12/2023</a:t>
            </a:fld>
            <a:endParaRPr lang="en-US"/>
          </a:p>
        </p:txBody>
      </p:sp>
      <p:sp>
        <p:nvSpPr>
          <p:cNvPr id="4" name="Fußzeilenplatzhalter 3">
            <a:extLst>
              <a:ext uri="{FF2B5EF4-FFF2-40B4-BE49-F238E27FC236}">
                <a16:creationId xmlns:a16="http://schemas.microsoft.com/office/drawing/2014/main" id="{DD6E8CD2-1BC1-4206-894C-6187DEBEB6D1}"/>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0541B70-DA70-4B52-AC41-12C18130B5F2}"/>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C76AE0A9-AE6C-4599-A1DB-87A1DC54F883}" type="slidenum">
              <a:rPr lang="en-US" smtClean="0"/>
              <a:t>‹Nr.›</a:t>
            </a:fld>
            <a:endParaRPr lang="en-US"/>
          </a:p>
        </p:txBody>
      </p:sp>
    </p:spTree>
    <p:extLst>
      <p:ext uri="{BB962C8B-B14F-4D97-AF65-F5344CB8AC3E}">
        <p14:creationId xmlns:p14="http://schemas.microsoft.com/office/powerpoint/2010/main" val="19657600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rtl="0">
              <a:defRPr sz="1200"/>
            </a:lvl1pPr>
          </a:lstStyle>
          <a:p>
            <a:endParaRPr lang="de-DE" dirty="0"/>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rtl="0">
              <a:defRPr sz="1200"/>
            </a:lvl1pPr>
          </a:lstStyle>
          <a:p>
            <a:fld id="{FF83E0D3-9816-4F47-B5F7-C54ADEE9650C}" type="datetimeFigureOut">
              <a:rPr lang="de-DE" smtClean="0"/>
              <a:pPr/>
              <a:t>12.04.2023</a:t>
            </a:fld>
            <a:endParaRPr lang="de-DE" dirty="0"/>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rtl="0">
              <a:defRPr sz="1200"/>
            </a:lvl1pPr>
          </a:lstStyle>
          <a:p>
            <a:endParaRPr lang="de-DE" dirty="0"/>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rtl="0">
              <a:defRPr sz="1200"/>
            </a:lvl1pPr>
          </a:lstStyle>
          <a:p>
            <a:fld id="{6E8A8B70-108F-48AE-A600-F36AADA0D0E4}" type="slidenum">
              <a:rPr lang="de-DE" smtClean="0"/>
              <a:pPr/>
              <a:t>‹Nr.›</a:t>
            </a:fld>
            <a:endParaRPr lang="de-DE" dirty="0"/>
          </a:p>
        </p:txBody>
      </p:sp>
    </p:spTree>
    <p:extLst>
      <p:ext uri="{BB962C8B-B14F-4D97-AF65-F5344CB8AC3E}">
        <p14:creationId xmlns:p14="http://schemas.microsoft.com/office/powerpoint/2010/main" val="686059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E8A8B70-108F-48AE-A600-F36AADA0D0E4}" type="slidenum">
              <a:rPr lang="de-DE" smtClean="0"/>
              <a:pPr/>
              <a:t>1</a:t>
            </a:fld>
            <a:endParaRPr lang="de-DE" dirty="0"/>
          </a:p>
        </p:txBody>
      </p:sp>
    </p:spTree>
    <p:extLst>
      <p:ext uri="{BB962C8B-B14F-4D97-AF65-F5344CB8AC3E}">
        <p14:creationId xmlns:p14="http://schemas.microsoft.com/office/powerpoint/2010/main" val="175889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14</a:t>
            </a:fld>
            <a:endParaRPr lang="de-DE" dirty="0"/>
          </a:p>
        </p:txBody>
      </p:sp>
    </p:spTree>
    <p:extLst>
      <p:ext uri="{BB962C8B-B14F-4D97-AF65-F5344CB8AC3E}">
        <p14:creationId xmlns:p14="http://schemas.microsoft.com/office/powerpoint/2010/main" val="3072231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2</a:t>
            </a:fld>
            <a:endParaRPr lang="de-DE" dirty="0"/>
          </a:p>
        </p:txBody>
      </p:sp>
    </p:spTree>
    <p:extLst>
      <p:ext uri="{BB962C8B-B14F-4D97-AF65-F5344CB8AC3E}">
        <p14:creationId xmlns:p14="http://schemas.microsoft.com/office/powerpoint/2010/main" val="4221176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3</a:t>
            </a:fld>
            <a:endParaRPr lang="de-DE" dirty="0"/>
          </a:p>
        </p:txBody>
      </p:sp>
    </p:spTree>
    <p:extLst>
      <p:ext uri="{BB962C8B-B14F-4D97-AF65-F5344CB8AC3E}">
        <p14:creationId xmlns:p14="http://schemas.microsoft.com/office/powerpoint/2010/main" val="821867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4</a:t>
            </a:fld>
            <a:endParaRPr lang="de-DE" dirty="0"/>
          </a:p>
        </p:txBody>
      </p:sp>
    </p:spTree>
    <p:extLst>
      <p:ext uri="{BB962C8B-B14F-4D97-AF65-F5344CB8AC3E}">
        <p14:creationId xmlns:p14="http://schemas.microsoft.com/office/powerpoint/2010/main" val="215833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6</a:t>
            </a:fld>
            <a:endParaRPr lang="de-DE" dirty="0"/>
          </a:p>
        </p:txBody>
      </p:sp>
    </p:spTree>
    <p:extLst>
      <p:ext uri="{BB962C8B-B14F-4D97-AF65-F5344CB8AC3E}">
        <p14:creationId xmlns:p14="http://schemas.microsoft.com/office/powerpoint/2010/main" val="2820135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7</a:t>
            </a:fld>
            <a:endParaRPr lang="de-DE" dirty="0"/>
          </a:p>
        </p:txBody>
      </p:sp>
    </p:spTree>
    <p:extLst>
      <p:ext uri="{BB962C8B-B14F-4D97-AF65-F5344CB8AC3E}">
        <p14:creationId xmlns:p14="http://schemas.microsoft.com/office/powerpoint/2010/main" val="4178167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8</a:t>
            </a:fld>
            <a:endParaRPr lang="de-DE" dirty="0"/>
          </a:p>
        </p:txBody>
      </p:sp>
    </p:spTree>
    <p:extLst>
      <p:ext uri="{BB962C8B-B14F-4D97-AF65-F5344CB8AC3E}">
        <p14:creationId xmlns:p14="http://schemas.microsoft.com/office/powerpoint/2010/main" val="329683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12</a:t>
            </a:fld>
            <a:endParaRPr lang="de-DE" dirty="0"/>
          </a:p>
        </p:txBody>
      </p:sp>
    </p:spTree>
    <p:extLst>
      <p:ext uri="{BB962C8B-B14F-4D97-AF65-F5344CB8AC3E}">
        <p14:creationId xmlns:p14="http://schemas.microsoft.com/office/powerpoint/2010/main" val="38066397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8A8B70-108F-48AE-A600-F36AADA0D0E4}" type="slidenum">
              <a:rPr lang="de-DE" smtClean="0"/>
              <a:pPr/>
              <a:t>13</a:t>
            </a:fld>
            <a:endParaRPr lang="de-DE" dirty="0"/>
          </a:p>
        </p:txBody>
      </p:sp>
    </p:spTree>
    <p:extLst>
      <p:ext uri="{BB962C8B-B14F-4D97-AF65-F5344CB8AC3E}">
        <p14:creationId xmlns:p14="http://schemas.microsoft.com/office/powerpoint/2010/main" val="19308998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Master" Target="../slideMasters/slideMaster1.xml"/><Relationship Id="rId7" Type="http://schemas.openxmlformats.org/officeDocument/2006/relationships/image" Target="../media/image2.jp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2.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8.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jp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jp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26364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de-DE" sz="3600" b="1" i="1" baseline="0" dirty="0">
              <a:latin typeface="Calibri" panose="020F0502020204030204" pitchFamily="34" charset="0"/>
              <a:ea typeface="+mj-ea"/>
              <a:cs typeface="+mj-cs"/>
              <a:sym typeface="Calibri" panose="020F0502020204030204" pitchFamily="34" charset="0"/>
            </a:endParaRPr>
          </a:p>
        </p:txBody>
      </p:sp>
      <p:sp>
        <p:nvSpPr>
          <p:cNvPr id="17" name="Freihandform 16"/>
          <p:cNvSpPr/>
          <p:nvPr userDrawn="1"/>
        </p:nvSpPr>
        <p:spPr>
          <a:xfrm>
            <a:off x="-5862" y="-19050"/>
            <a:ext cx="10152185" cy="4767385"/>
          </a:xfrm>
          <a:custGeom>
            <a:avLst/>
            <a:gdLst>
              <a:gd name="connsiteX0" fmla="*/ 0 w 10152185"/>
              <a:gd name="connsiteY0" fmla="*/ 0 h 4753708"/>
              <a:gd name="connsiteX1" fmla="*/ 0 w 10152185"/>
              <a:gd name="connsiteY1" fmla="*/ 4753708 h 4753708"/>
              <a:gd name="connsiteX2" fmla="*/ 10152185 w 10152185"/>
              <a:gd name="connsiteY2" fmla="*/ 2022231 h 4753708"/>
              <a:gd name="connsiteX3" fmla="*/ 2620108 w 10152185"/>
              <a:gd name="connsiteY3" fmla="*/ 11723 h 4753708"/>
              <a:gd name="connsiteX4" fmla="*/ 0 w 10152185"/>
              <a:gd name="connsiteY4" fmla="*/ 0 h 4753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2185" h="4753708">
                <a:moveTo>
                  <a:pt x="0" y="0"/>
                </a:moveTo>
                <a:lnTo>
                  <a:pt x="0" y="4753708"/>
                </a:lnTo>
                <a:lnTo>
                  <a:pt x="10152185" y="2022231"/>
                </a:lnTo>
                <a:lnTo>
                  <a:pt x="2620108" y="11723"/>
                </a:lnTo>
                <a:lnTo>
                  <a:pt x="0" y="0"/>
                </a:lnTo>
                <a:close/>
              </a:path>
            </a:pathLst>
          </a:custGeom>
          <a:solidFill>
            <a:srgbClr val="FFD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21" name="Freihandform 20"/>
          <p:cNvSpPr/>
          <p:nvPr userDrawn="1"/>
        </p:nvSpPr>
        <p:spPr>
          <a:xfrm>
            <a:off x="10104120" y="1454150"/>
            <a:ext cx="2098040" cy="1107440"/>
          </a:xfrm>
          <a:custGeom>
            <a:avLst/>
            <a:gdLst>
              <a:gd name="connsiteX0" fmla="*/ 2098040 w 2098040"/>
              <a:gd name="connsiteY0" fmla="*/ 0 h 1107440"/>
              <a:gd name="connsiteX1" fmla="*/ 2098040 w 2098040"/>
              <a:gd name="connsiteY1" fmla="*/ 1107440 h 1107440"/>
              <a:gd name="connsiteX2" fmla="*/ 0 w 2098040"/>
              <a:gd name="connsiteY2" fmla="*/ 558800 h 1107440"/>
              <a:gd name="connsiteX3" fmla="*/ 2098040 w 2098040"/>
              <a:gd name="connsiteY3" fmla="*/ 0 h 1107440"/>
            </a:gdLst>
            <a:ahLst/>
            <a:cxnLst>
              <a:cxn ang="0">
                <a:pos x="connsiteX0" y="connsiteY0"/>
              </a:cxn>
              <a:cxn ang="0">
                <a:pos x="connsiteX1" y="connsiteY1"/>
              </a:cxn>
              <a:cxn ang="0">
                <a:pos x="connsiteX2" y="connsiteY2"/>
              </a:cxn>
              <a:cxn ang="0">
                <a:pos x="connsiteX3" y="connsiteY3"/>
              </a:cxn>
            </a:cxnLst>
            <a:rect l="l" t="t" r="r" b="b"/>
            <a:pathLst>
              <a:path w="2098040" h="1107440">
                <a:moveTo>
                  <a:pt x="2098040" y="0"/>
                </a:moveTo>
                <a:lnTo>
                  <a:pt x="2098040" y="1107440"/>
                </a:lnTo>
                <a:lnTo>
                  <a:pt x="0" y="558800"/>
                </a:lnTo>
                <a:lnTo>
                  <a:pt x="2098040" y="0"/>
                </a:lnTo>
                <a:close/>
              </a:path>
            </a:pathLst>
          </a:custGeom>
          <a:solidFill>
            <a:srgbClr val="FFD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9" name="Grafik 8">
            <a:extLst>
              <a:ext uri="{FF2B5EF4-FFF2-40B4-BE49-F238E27FC236}">
                <a16:creationId xmlns:a16="http://schemas.microsoft.com/office/drawing/2014/main" id="{B0054FA0-219E-E349-A316-217B59D209FB}"/>
              </a:ext>
            </a:extLst>
          </p:cNvPr>
          <p:cNvPicPr>
            <a:picLocks noChangeAspect="1"/>
          </p:cNvPicPr>
          <p:nvPr userDrawn="1"/>
        </p:nvPicPr>
        <p:blipFill rotWithShape="1">
          <a:blip r:embed="rId6"/>
          <a:srcRect l="4519" t="37923" r="4251" b="12988"/>
          <a:stretch/>
        </p:blipFill>
        <p:spPr>
          <a:xfrm>
            <a:off x="0" y="1998786"/>
            <a:ext cx="12192000" cy="4861134"/>
          </a:xfrm>
          <a:prstGeom prst="rect">
            <a:avLst/>
          </a:prstGeom>
        </p:spPr>
      </p:pic>
      <p:pic>
        <p:nvPicPr>
          <p:cNvPr id="14" name="Grafik 13"/>
          <p:cNvPicPr>
            <a:picLocks noChangeAspect="1"/>
          </p:cNvPicPr>
          <p:nvPr userDrawn="1"/>
        </p:nvPicPr>
        <p:blipFill rotWithShape="1">
          <a:blip r:embed="rId7" cstate="print">
            <a:extLst>
              <a:ext uri="{28A0092B-C50C-407E-A947-70E740481C1C}">
                <a14:useLocalDpi xmlns:a14="http://schemas.microsoft.com/office/drawing/2010/main" val="0"/>
              </a:ext>
            </a:extLst>
          </a:blip>
          <a:srcRect l="208" r="138"/>
          <a:stretch/>
        </p:blipFill>
        <p:spPr>
          <a:xfrm>
            <a:off x="0" y="4966797"/>
            <a:ext cx="12198350" cy="1891204"/>
          </a:xfrm>
          <a:prstGeom prst="rect">
            <a:avLst/>
          </a:prstGeom>
        </p:spPr>
      </p:pic>
      <p:pic>
        <p:nvPicPr>
          <p:cNvPr id="10" name="Grafik 9">
            <a:extLst>
              <a:ext uri="{FF2B5EF4-FFF2-40B4-BE49-F238E27FC236}">
                <a16:creationId xmlns:a16="http://schemas.microsoft.com/office/drawing/2014/main" id="{6BC388CC-E7B9-B34D-83CF-9F70C8F6C195}"/>
              </a:ext>
            </a:extLst>
          </p:cNvPr>
          <p:cNvPicPr>
            <a:picLocks noChangeAspect="1"/>
          </p:cNvPicPr>
          <p:nvPr userDrawn="1"/>
        </p:nvPicPr>
        <p:blipFill>
          <a:blip r:embed="rId8"/>
          <a:stretch>
            <a:fillRect/>
          </a:stretch>
        </p:blipFill>
        <p:spPr>
          <a:xfrm>
            <a:off x="9525686" y="1689"/>
            <a:ext cx="1899683" cy="1440000"/>
          </a:xfrm>
          <a:prstGeom prst="rect">
            <a:avLst/>
          </a:prstGeom>
        </p:spPr>
      </p:pic>
      <p:sp>
        <p:nvSpPr>
          <p:cNvPr id="2" name="Titel 1"/>
          <p:cNvSpPr>
            <a:spLocks noGrp="1"/>
          </p:cNvSpPr>
          <p:nvPr>
            <p:ph type="ctrTitle" hasCustomPrompt="1"/>
          </p:nvPr>
        </p:nvSpPr>
        <p:spPr>
          <a:xfrm>
            <a:off x="696116" y="1233577"/>
            <a:ext cx="6624000" cy="1074781"/>
          </a:xfrm>
        </p:spPr>
        <p:txBody>
          <a:bodyPr vert="horz" wrap="square" anchor="b" anchorCtr="0">
            <a:spAutoFit/>
          </a:bodyPr>
          <a:lstStyle>
            <a:lvl1pPr algn="l" rtl="0">
              <a:lnSpc>
                <a:spcPct val="97000"/>
              </a:lnSpc>
              <a:defRPr sz="3600"/>
            </a:lvl1pPr>
          </a:lstStyle>
          <a:p>
            <a:pPr lvl="0"/>
            <a:r>
              <a:rPr lang="de-DE" dirty="0"/>
              <a:t>Headline – Calibri </a:t>
            </a:r>
            <a:r>
              <a:rPr lang="de-DE" dirty="0" err="1"/>
              <a:t>Bold</a:t>
            </a:r>
            <a:r>
              <a:rPr lang="de-DE" dirty="0"/>
              <a:t> + Italic, </a:t>
            </a:r>
            <a:br>
              <a:rPr lang="de-DE" dirty="0"/>
            </a:br>
            <a:r>
              <a:rPr lang="de-DE" dirty="0"/>
              <a:t>36 </a:t>
            </a:r>
            <a:r>
              <a:rPr lang="de-DE" dirty="0" err="1"/>
              <a:t>pt</a:t>
            </a:r>
            <a:r>
              <a:rPr lang="de-DE" dirty="0"/>
              <a:t>, schwarz, zweizeilig</a:t>
            </a:r>
          </a:p>
        </p:txBody>
      </p:sp>
      <p:sp>
        <p:nvSpPr>
          <p:cNvPr id="3" name="Untertitel 2"/>
          <p:cNvSpPr>
            <a:spLocks noGrp="1"/>
          </p:cNvSpPr>
          <p:nvPr>
            <p:ph type="subTitle" idx="1" hasCustomPrompt="1"/>
          </p:nvPr>
        </p:nvSpPr>
        <p:spPr>
          <a:xfrm>
            <a:off x="696117" y="2614551"/>
            <a:ext cx="5760000" cy="477695"/>
          </a:xfrm>
        </p:spPr>
        <p:txBody>
          <a:bodyPr wrap="square" anchor="ctr" anchorCtr="0">
            <a:spAutoFit/>
          </a:bodyPr>
          <a:lstStyle>
            <a:lvl1pPr marL="0" indent="0" algn="l" rtl="0">
              <a:lnSpc>
                <a:spcPct val="97000"/>
              </a:lnSpc>
              <a:buNone/>
              <a:defRPr sz="1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zeile – Calibri </a:t>
            </a:r>
            <a:r>
              <a:rPr lang="de-DE" dirty="0" err="1"/>
              <a:t>Bold</a:t>
            </a:r>
            <a:r>
              <a:rPr lang="de-DE" dirty="0"/>
              <a:t>, 16 </a:t>
            </a:r>
            <a:r>
              <a:rPr lang="de-DE" dirty="0" err="1"/>
              <a:t>pt</a:t>
            </a:r>
            <a:r>
              <a:rPr lang="de-DE" dirty="0"/>
              <a:t>, schwarz, </a:t>
            </a:r>
            <a:br>
              <a:rPr lang="de-DE" dirty="0"/>
            </a:br>
            <a:r>
              <a:rPr lang="de-DE" dirty="0"/>
              <a:t>zweizeilig</a:t>
            </a:r>
          </a:p>
        </p:txBody>
      </p:sp>
      <p:pic>
        <p:nvPicPr>
          <p:cNvPr id="16" name="Grafik 15">
            <a:extLst>
              <a:ext uri="{FF2B5EF4-FFF2-40B4-BE49-F238E27FC236}">
                <a16:creationId xmlns:a16="http://schemas.microsoft.com/office/drawing/2014/main" id="{4A11B976-216F-494E-91D3-7D4C94FF2B82}"/>
              </a:ext>
            </a:extLst>
          </p:cNvPr>
          <p:cNvPicPr>
            <a:picLocks noChangeAspect="1"/>
          </p:cNvPicPr>
          <p:nvPr userDrawn="1"/>
        </p:nvPicPr>
        <p:blipFill>
          <a:blip r:embed="rId9"/>
          <a:stretch>
            <a:fillRect/>
          </a:stretch>
        </p:blipFill>
        <p:spPr>
          <a:xfrm>
            <a:off x="696118" y="6139978"/>
            <a:ext cx="4102100" cy="508000"/>
          </a:xfrm>
          <a:prstGeom prst="rect">
            <a:avLst/>
          </a:prstGeom>
        </p:spPr>
      </p:pic>
      <p:sp>
        <p:nvSpPr>
          <p:cNvPr id="18" name="Textplatzhalter 17"/>
          <p:cNvSpPr>
            <a:spLocks noGrp="1"/>
          </p:cNvSpPr>
          <p:nvPr>
            <p:ph type="body" sz="quarter" idx="13" hasCustomPrompt="1"/>
          </p:nvPr>
        </p:nvSpPr>
        <p:spPr>
          <a:xfrm>
            <a:off x="696118" y="3398439"/>
            <a:ext cx="3280710" cy="252000"/>
          </a:xfrm>
        </p:spPr>
        <p:txBody>
          <a:bodyPr wrap="square">
            <a:spAutoFit/>
          </a:bodyPr>
          <a:lstStyle>
            <a:lvl1pPr marL="0" indent="0" rtl="0">
              <a:buNone/>
              <a:defRPr/>
            </a:lvl1pPr>
          </a:lstStyle>
          <a:p>
            <a:pPr lvl="0"/>
            <a:r>
              <a:rPr lang="de-DE" dirty="0"/>
              <a:t>Ort, Datum</a:t>
            </a:r>
          </a:p>
        </p:txBody>
      </p:sp>
    </p:spTree>
    <p:extLst>
      <p:ext uri="{BB962C8B-B14F-4D97-AF65-F5344CB8AC3E}">
        <p14:creationId xmlns:p14="http://schemas.microsoft.com/office/powerpoint/2010/main" val="18365122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47651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4" name="Datumsplatzhalter 3"/>
          <p:cNvSpPr>
            <a:spLocks noGrp="1"/>
          </p:cNvSpPr>
          <p:nvPr>
            <p:ph type="dt" sz="half" idx="10"/>
          </p:nvPr>
        </p:nvSpPr>
        <p:spPr/>
        <p:txBody>
          <a:bodyPr/>
          <a:lstStyle>
            <a:lvl1pPr rtl="0">
              <a:defRPr/>
            </a:lvl1pPr>
          </a:lstStyle>
          <a:p>
            <a:fld id="{D542BD14-FAFE-4494-99B8-DFFDE1AFA244}"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11" name="Textplatzhalter 10"/>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
        <p:nvSpPr>
          <p:cNvPr id="10" name="Bildplatzhalter 9"/>
          <p:cNvSpPr>
            <a:spLocks noGrp="1"/>
          </p:cNvSpPr>
          <p:nvPr>
            <p:ph type="pic" sz="quarter" idx="17" hasCustomPrompt="1"/>
          </p:nvPr>
        </p:nvSpPr>
        <p:spPr>
          <a:xfrm>
            <a:off x="695399" y="1628800"/>
            <a:ext cx="10801201" cy="4680521"/>
          </a:xfrm>
          <a:solidFill>
            <a:schemeClr val="bg1">
              <a:lumMod val="95000"/>
            </a:schemeClr>
          </a:solidFill>
        </p:spPr>
        <p:txBody>
          <a:bodyPr>
            <a:noAutofit/>
          </a:bodyPr>
          <a:lstStyle>
            <a:lvl1pPr marL="0" indent="0" algn="ctr" rtl="0">
              <a:buNone/>
              <a:defRPr/>
            </a:lvl1pPr>
          </a:lstStyle>
          <a:p>
            <a:r>
              <a:rPr lang="de-DE" dirty="0"/>
              <a:t>Platzhalter für Fotos (Platzhalter in der Mitte anklicken und das Foto einfügen)</a:t>
            </a:r>
          </a:p>
        </p:txBody>
      </p:sp>
      <p:sp>
        <p:nvSpPr>
          <p:cNvPr id="12" name="Fußzeilenplatzhalter 4"/>
          <p:cNvSpPr>
            <a:spLocks noGrp="1"/>
          </p:cNvSpPr>
          <p:nvPr>
            <p:ph type="ftr" sz="quarter" idx="3"/>
          </p:nvPr>
        </p:nvSpPr>
        <p:spPr bwMode="gray">
          <a:xfrm>
            <a:off x="6451600" y="6534187"/>
            <a:ext cx="4018756"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5" name="Titel 4">
            <a:extLst>
              <a:ext uri="{FF2B5EF4-FFF2-40B4-BE49-F238E27FC236}">
                <a16:creationId xmlns:a16="http://schemas.microsoft.com/office/drawing/2014/main" id="{63E2C751-6E9C-4722-9280-4FE93DA0C3B0}"/>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3420818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e Foli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555676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3" name="Datumsplatzhalter 2">
            <a:extLst>
              <a:ext uri="{FF2B5EF4-FFF2-40B4-BE49-F238E27FC236}">
                <a16:creationId xmlns:a16="http://schemas.microsoft.com/office/drawing/2014/main" id="{2DC75F69-9DD4-4623-A7E5-8D0745F9CC61}"/>
              </a:ext>
            </a:extLst>
          </p:cNvPr>
          <p:cNvSpPr>
            <a:spLocks noGrp="1"/>
          </p:cNvSpPr>
          <p:nvPr>
            <p:ph type="dt" sz="half" idx="10"/>
          </p:nvPr>
        </p:nvSpPr>
        <p:spPr/>
        <p:txBody>
          <a:bodyPr/>
          <a:lstStyle>
            <a:lvl1pPr rtl="0">
              <a:defRPr/>
            </a:lvl1pPr>
          </a:lstStyle>
          <a:p>
            <a:fld id="{D9F97768-862B-4123-8775-5DEB5D4654FF}" type="datetime1">
              <a:rPr lang="de-DE" smtClean="0"/>
              <a:t>12.04.2023</a:t>
            </a:fld>
            <a:endParaRPr lang="de-DE" dirty="0"/>
          </a:p>
        </p:txBody>
      </p:sp>
      <p:sp>
        <p:nvSpPr>
          <p:cNvPr id="4" name="Fußzeilenplatzhalter 3">
            <a:extLst>
              <a:ext uri="{FF2B5EF4-FFF2-40B4-BE49-F238E27FC236}">
                <a16:creationId xmlns:a16="http://schemas.microsoft.com/office/drawing/2014/main" id="{F0AB9983-3A8A-4AC4-839A-C60534A1F391}"/>
              </a:ext>
            </a:extLst>
          </p:cNvPr>
          <p:cNvSpPr>
            <a:spLocks noGrp="1"/>
          </p:cNvSpPr>
          <p:nvPr>
            <p:ph type="ftr" sz="quarter" idx="11"/>
          </p:nvPr>
        </p:nvSpPr>
        <p:spPr/>
        <p:txBody>
          <a:bodyPr/>
          <a:lstStyle>
            <a:lvl1pPr rtl="0">
              <a:defRPr/>
            </a:lvl1pPr>
          </a:lstStyle>
          <a:p>
            <a:pPr>
              <a:defRPr/>
            </a:pPr>
            <a:r>
              <a:rPr lang="de-DE"/>
              <a:t>Factbook Verwaltungsdigitalisierung</a:t>
            </a:r>
            <a:endParaRPr lang="de-DE" dirty="0"/>
          </a:p>
        </p:txBody>
      </p:sp>
      <p:sp>
        <p:nvSpPr>
          <p:cNvPr id="5" name="Foliennummernplatzhalter 4">
            <a:extLst>
              <a:ext uri="{FF2B5EF4-FFF2-40B4-BE49-F238E27FC236}">
                <a16:creationId xmlns:a16="http://schemas.microsoft.com/office/drawing/2014/main" id="{2D078634-C054-4235-BE61-3AB0111AB9FB}"/>
              </a:ext>
            </a:extLst>
          </p:cNvPr>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Tree>
    <p:extLst>
      <p:ext uri="{BB962C8B-B14F-4D97-AF65-F5344CB8AC3E}">
        <p14:creationId xmlns:p14="http://schemas.microsoft.com/office/powerpoint/2010/main" val="2309118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trenner mit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444529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4" name="Datumsplatzhalter 3"/>
          <p:cNvSpPr>
            <a:spLocks noGrp="1"/>
          </p:cNvSpPr>
          <p:nvPr>
            <p:ph type="dt" sz="half" idx="10"/>
          </p:nvPr>
        </p:nvSpPr>
        <p:spPr/>
        <p:txBody>
          <a:bodyPr/>
          <a:lstStyle>
            <a:lvl1pPr rtl="0">
              <a:defRPr>
                <a:solidFill>
                  <a:schemeClr val="bg1"/>
                </a:solidFill>
              </a:defRPr>
            </a:lvl1pPr>
          </a:lstStyle>
          <a:p>
            <a:fld id="{9BF56EC5-C1C2-4A5E-9171-303B38782B7F}"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solidFill>
                  <a:schemeClr val="bg1"/>
                </a:solidFill>
              </a:defRPr>
            </a:lvl1pPr>
          </a:lstStyle>
          <a:p>
            <a:fld id="{D4A18DF9-8FF6-4BA5-BC52-5FB4772E2292}" type="slidenum">
              <a:rPr lang="de-DE" smtClean="0"/>
              <a:pPr/>
              <a:t>‹Nr.›</a:t>
            </a:fld>
            <a:endParaRPr lang="de-DE" dirty="0"/>
          </a:p>
        </p:txBody>
      </p:sp>
      <p:sp>
        <p:nvSpPr>
          <p:cNvPr id="16" name="Textplatzhalter 2"/>
          <p:cNvSpPr>
            <a:spLocks noGrp="1"/>
          </p:cNvSpPr>
          <p:nvPr>
            <p:ph type="body" sz="quarter" idx="13" hasCustomPrompt="1"/>
          </p:nvPr>
        </p:nvSpPr>
        <p:spPr>
          <a:xfrm>
            <a:off x="695324" y="1314953"/>
            <a:ext cx="8632826" cy="735756"/>
          </a:xfrm>
        </p:spPr>
        <p:txBody>
          <a:bodyPr wrap="square" tIns="180000">
            <a:spAutoFit/>
          </a:bodyPr>
          <a:lstStyle>
            <a:lvl1pPr marL="0" indent="0" rtl="0">
              <a:buNone/>
              <a:defRPr sz="3600" b="1" i="1"/>
            </a:lvl1pPr>
          </a:lstStyle>
          <a:p>
            <a:pPr lvl="0"/>
            <a:r>
              <a:rPr lang="de-DE" dirty="0" err="1"/>
              <a:t>Kapiteltrenner</a:t>
            </a:r>
            <a:endParaRPr lang="de-DE" dirty="0"/>
          </a:p>
        </p:txBody>
      </p:sp>
      <p:pic>
        <p:nvPicPr>
          <p:cNvPr id="19" name="Grafik 18">
            <a:extLst>
              <a:ext uri="{FF2B5EF4-FFF2-40B4-BE49-F238E27FC236}">
                <a16:creationId xmlns:a16="http://schemas.microsoft.com/office/drawing/2014/main" id="{01EC46C6-39B9-764E-81C4-926D2DDE59AA}"/>
              </a:ext>
            </a:extLst>
          </p:cNvPr>
          <p:cNvPicPr>
            <a:picLocks noChangeAspect="1"/>
          </p:cNvPicPr>
          <p:nvPr userDrawn="1"/>
        </p:nvPicPr>
        <p:blipFill>
          <a:blip r:embed="rId6"/>
          <a:stretch>
            <a:fillRect/>
          </a:stretch>
        </p:blipFill>
        <p:spPr>
          <a:xfrm>
            <a:off x="11326296" y="59936"/>
            <a:ext cx="713524" cy="540866"/>
          </a:xfrm>
          <a:prstGeom prst="rect">
            <a:avLst/>
          </a:prstGeom>
        </p:spPr>
      </p:pic>
      <p:grpSp>
        <p:nvGrpSpPr>
          <p:cNvPr id="20" name="Gruppieren 19"/>
          <p:cNvGrpSpPr/>
          <p:nvPr userDrawn="1"/>
        </p:nvGrpSpPr>
        <p:grpSpPr>
          <a:xfrm>
            <a:off x="696649" y="6867625"/>
            <a:ext cx="10803834" cy="414000"/>
            <a:chOff x="696649" y="-304800"/>
            <a:chExt cx="10803834" cy="7298267"/>
          </a:xfrm>
        </p:grpSpPr>
        <p:cxnSp>
          <p:nvCxnSpPr>
            <p:cNvPr id="21" name="Gerader Verbinder 20"/>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3" name="Gruppieren 22"/>
          <p:cNvGrpSpPr/>
          <p:nvPr userDrawn="1"/>
        </p:nvGrpSpPr>
        <p:grpSpPr>
          <a:xfrm>
            <a:off x="-442761" y="196265"/>
            <a:ext cx="413886" cy="6481459"/>
            <a:chOff x="-442761" y="196265"/>
            <a:chExt cx="413886" cy="6481459"/>
          </a:xfrm>
        </p:grpSpPr>
        <p:cxnSp>
          <p:nvCxnSpPr>
            <p:cNvPr id="24" name="Gerader Verbinder 23"/>
            <p:cNvCxnSpPr/>
            <p:nvPr userDrawn="1"/>
          </p:nvCxnSpPr>
          <p:spPr>
            <a:xfrm>
              <a:off x="-442761" y="19626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a:xfrm>
              <a:off x="-442761" y="96633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a:off x="-442761" y="1273597"/>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a:xfrm>
              <a:off x="-442761" y="630872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a:xfrm>
              <a:off x="-442761" y="667772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a:xfrm>
              <a:off x="-442761" y="1633261"/>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0" name="Gruppieren 29"/>
          <p:cNvGrpSpPr/>
          <p:nvPr userDrawn="1"/>
        </p:nvGrpSpPr>
        <p:grpSpPr>
          <a:xfrm>
            <a:off x="12211250" y="196265"/>
            <a:ext cx="413886" cy="6481459"/>
            <a:chOff x="-728133" y="196265"/>
            <a:chExt cx="13140266" cy="6481459"/>
          </a:xfrm>
        </p:grpSpPr>
        <p:cxnSp>
          <p:nvCxnSpPr>
            <p:cNvPr id="31" name="Gerader Verbinder 30"/>
            <p:cNvCxnSpPr/>
            <p:nvPr userDrawn="1"/>
          </p:nvCxnSpPr>
          <p:spPr>
            <a:xfrm>
              <a:off x="-728133" y="19626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a:xfrm>
              <a:off x="-728133" y="96633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a:xfrm>
              <a:off x="-728133" y="1273597"/>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728133" y="630872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728133" y="667772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728133" y="1633261"/>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7" name="Gruppieren 36"/>
          <p:cNvGrpSpPr/>
          <p:nvPr userDrawn="1"/>
        </p:nvGrpSpPr>
        <p:grpSpPr>
          <a:xfrm>
            <a:off x="696649" y="-442875"/>
            <a:ext cx="10803834" cy="414000"/>
            <a:chOff x="696649" y="-304800"/>
            <a:chExt cx="10803834" cy="7298267"/>
          </a:xfrm>
        </p:grpSpPr>
        <p:cxnSp>
          <p:nvCxnSpPr>
            <p:cNvPr id="38" name="Gerader Verbinder 37"/>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41" name="Fußzeilenplatzhalter 4"/>
          <p:cNvSpPr>
            <a:spLocks noGrp="1"/>
          </p:cNvSpPr>
          <p:nvPr>
            <p:ph type="ftr" sz="quarter" idx="3"/>
          </p:nvPr>
        </p:nvSpPr>
        <p:spPr bwMode="gray">
          <a:xfrm>
            <a:off x="6451599" y="6534187"/>
            <a:ext cx="4018011"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bg1"/>
                </a:solidFill>
                <a:latin typeface="+mn-lt"/>
                <a:cs typeface="Arial" panose="020B0604020202020204" pitchFamily="34" charset="0"/>
              </a:defRPr>
            </a:lvl1pPr>
          </a:lstStyle>
          <a:p>
            <a:pPr>
              <a:defRPr/>
            </a:pPr>
            <a:r>
              <a:rPr lang="de-DE"/>
              <a:t>Factbook Verwaltungsdigitalisierung</a:t>
            </a:r>
            <a:endParaRPr lang="de-DE" dirty="0"/>
          </a:p>
        </p:txBody>
      </p:sp>
      <p:sp>
        <p:nvSpPr>
          <p:cNvPr id="40" name="Picture Placeholder 4"/>
          <p:cNvSpPr>
            <a:spLocks noGrp="1"/>
          </p:cNvSpPr>
          <p:nvPr>
            <p:ph type="pic" sz="quarter" idx="14"/>
          </p:nvPr>
        </p:nvSpPr>
        <p:spPr>
          <a:xfrm>
            <a:off x="-15254" y="2009660"/>
            <a:ext cx="12227478" cy="4880513"/>
          </a:xfrm>
          <a:custGeom>
            <a:avLst/>
            <a:gdLst>
              <a:gd name="connsiteX0" fmla="*/ 1007834 w 4911359"/>
              <a:gd name="connsiteY0" fmla="*/ 0 h 2260600"/>
              <a:gd name="connsiteX1" fmla="*/ 4911359 w 4911359"/>
              <a:gd name="connsiteY1" fmla="*/ 0 h 2260600"/>
              <a:gd name="connsiteX2" fmla="*/ 1947725 w 4911359"/>
              <a:gd name="connsiteY2" fmla="*/ 2260600 h 2260600"/>
              <a:gd name="connsiteX3" fmla="*/ 0 w 4911359"/>
              <a:gd name="connsiteY3" fmla="*/ 2260600 h 2260600"/>
              <a:gd name="connsiteX4" fmla="*/ 1007834 w 4911359"/>
              <a:gd name="connsiteY4" fmla="*/ 0 h 2260600"/>
              <a:gd name="connsiteX0" fmla="*/ 1007834 w 4911359"/>
              <a:gd name="connsiteY0" fmla="*/ 0 h 2260600"/>
              <a:gd name="connsiteX1" fmla="*/ 4911359 w 4911359"/>
              <a:gd name="connsiteY1" fmla="*/ 0 h 2260600"/>
              <a:gd name="connsiteX2" fmla="*/ 4906825 w 4911359"/>
              <a:gd name="connsiteY2" fmla="*/ 2247900 h 2260600"/>
              <a:gd name="connsiteX3" fmla="*/ 0 w 4911359"/>
              <a:gd name="connsiteY3" fmla="*/ 2260600 h 2260600"/>
              <a:gd name="connsiteX4" fmla="*/ 1007834 w 4911359"/>
              <a:gd name="connsiteY4" fmla="*/ 0 h 2260600"/>
              <a:gd name="connsiteX0" fmla="*/ 1566634 w 4911359"/>
              <a:gd name="connsiteY0" fmla="*/ 0 h 3517900"/>
              <a:gd name="connsiteX1" fmla="*/ 4911359 w 4911359"/>
              <a:gd name="connsiteY1" fmla="*/ 1257300 h 3517900"/>
              <a:gd name="connsiteX2" fmla="*/ 4906825 w 4911359"/>
              <a:gd name="connsiteY2" fmla="*/ 3505200 h 3517900"/>
              <a:gd name="connsiteX3" fmla="*/ 0 w 4911359"/>
              <a:gd name="connsiteY3" fmla="*/ 3517900 h 3517900"/>
              <a:gd name="connsiteX4" fmla="*/ 1566634 w 4911359"/>
              <a:gd name="connsiteY4" fmla="*/ 0 h 3517900"/>
              <a:gd name="connsiteX0" fmla="*/ 1566634 w 4911359"/>
              <a:gd name="connsiteY0" fmla="*/ 0 h 3517900"/>
              <a:gd name="connsiteX1" fmla="*/ 4911359 w 4911359"/>
              <a:gd name="connsiteY1" fmla="*/ 0 h 3517900"/>
              <a:gd name="connsiteX2" fmla="*/ 4906825 w 4911359"/>
              <a:gd name="connsiteY2" fmla="*/ 3505200 h 3517900"/>
              <a:gd name="connsiteX3" fmla="*/ 0 w 4911359"/>
              <a:gd name="connsiteY3" fmla="*/ 3517900 h 3517900"/>
              <a:gd name="connsiteX4" fmla="*/ 1566634 w 4911359"/>
              <a:gd name="connsiteY4" fmla="*/ 0 h 3517900"/>
              <a:gd name="connsiteX0" fmla="*/ 5878283 w 9223008"/>
              <a:gd name="connsiteY0" fmla="*/ 0 h 3524956"/>
              <a:gd name="connsiteX1" fmla="*/ 9223008 w 9223008"/>
              <a:gd name="connsiteY1" fmla="*/ 0 h 3524956"/>
              <a:gd name="connsiteX2" fmla="*/ 9218474 w 9223008"/>
              <a:gd name="connsiteY2" fmla="*/ 3505200 h 3524956"/>
              <a:gd name="connsiteX3" fmla="*/ 0 w 9223008"/>
              <a:gd name="connsiteY3" fmla="*/ 3524956 h 3524956"/>
              <a:gd name="connsiteX4" fmla="*/ 5878283 w 9223008"/>
              <a:gd name="connsiteY4" fmla="*/ 0 h 3524956"/>
              <a:gd name="connsiteX0" fmla="*/ 7586433 w 9223008"/>
              <a:gd name="connsiteY0" fmla="*/ 7056 h 3524956"/>
              <a:gd name="connsiteX1" fmla="*/ 9223008 w 9223008"/>
              <a:gd name="connsiteY1" fmla="*/ 0 h 3524956"/>
              <a:gd name="connsiteX2" fmla="*/ 9218474 w 9223008"/>
              <a:gd name="connsiteY2" fmla="*/ 3505200 h 3524956"/>
              <a:gd name="connsiteX3" fmla="*/ 0 w 9223008"/>
              <a:gd name="connsiteY3" fmla="*/ 3524956 h 3524956"/>
              <a:gd name="connsiteX4" fmla="*/ 7586433 w 9223008"/>
              <a:gd name="connsiteY4" fmla="*/ 7056 h 3524956"/>
              <a:gd name="connsiteX0" fmla="*/ 7586433 w 9223008"/>
              <a:gd name="connsiteY0" fmla="*/ 7056 h 3524956"/>
              <a:gd name="connsiteX1" fmla="*/ 9223008 w 9223008"/>
              <a:gd name="connsiteY1" fmla="*/ 0 h 3524956"/>
              <a:gd name="connsiteX2" fmla="*/ 9218474 w 9223008"/>
              <a:gd name="connsiteY2" fmla="*/ 3505200 h 3524956"/>
              <a:gd name="connsiteX3" fmla="*/ 0 w 9223008"/>
              <a:gd name="connsiteY3" fmla="*/ 3524956 h 3524956"/>
              <a:gd name="connsiteX4" fmla="*/ 3707141 w 9223008"/>
              <a:gd name="connsiteY4" fmla="*/ 1804811 h 3524956"/>
              <a:gd name="connsiteX5" fmla="*/ 7586433 w 9223008"/>
              <a:gd name="connsiteY5" fmla="*/ 7056 h 3524956"/>
              <a:gd name="connsiteX0" fmla="*/ 7587691 w 9224266"/>
              <a:gd name="connsiteY0" fmla="*/ 7056 h 3524956"/>
              <a:gd name="connsiteX1" fmla="*/ 9224266 w 9224266"/>
              <a:gd name="connsiteY1" fmla="*/ 0 h 3524956"/>
              <a:gd name="connsiteX2" fmla="*/ 9219732 w 9224266"/>
              <a:gd name="connsiteY2" fmla="*/ 3505200 h 3524956"/>
              <a:gd name="connsiteX3" fmla="*/ 1258 w 9224266"/>
              <a:gd name="connsiteY3" fmla="*/ 3524956 h 3524956"/>
              <a:gd name="connsiteX4" fmla="*/ 0 w 9224266"/>
              <a:gd name="connsiteY4" fmla="*/ 231422 h 3524956"/>
              <a:gd name="connsiteX5" fmla="*/ 7587691 w 9224266"/>
              <a:gd name="connsiteY5" fmla="*/ 7056 h 3524956"/>
              <a:gd name="connsiteX0" fmla="*/ 7549591 w 9224266"/>
              <a:gd name="connsiteY0" fmla="*/ 0 h 4117622"/>
              <a:gd name="connsiteX1" fmla="*/ 9224266 w 9224266"/>
              <a:gd name="connsiteY1" fmla="*/ 592666 h 4117622"/>
              <a:gd name="connsiteX2" fmla="*/ 9219732 w 9224266"/>
              <a:gd name="connsiteY2" fmla="*/ 4097866 h 4117622"/>
              <a:gd name="connsiteX3" fmla="*/ 1258 w 9224266"/>
              <a:gd name="connsiteY3" fmla="*/ 4117622 h 4117622"/>
              <a:gd name="connsiteX4" fmla="*/ 0 w 9224266"/>
              <a:gd name="connsiteY4" fmla="*/ 824088 h 4117622"/>
              <a:gd name="connsiteX5" fmla="*/ 7549591 w 9224266"/>
              <a:gd name="connsiteY5" fmla="*/ 0 h 4117622"/>
              <a:gd name="connsiteX0" fmla="*/ 7703457 w 9224266"/>
              <a:gd name="connsiteY0" fmla="*/ 0 h 3824545"/>
              <a:gd name="connsiteX1" fmla="*/ 9224266 w 9224266"/>
              <a:gd name="connsiteY1" fmla="*/ 299589 h 3824545"/>
              <a:gd name="connsiteX2" fmla="*/ 9219732 w 9224266"/>
              <a:gd name="connsiteY2" fmla="*/ 3804789 h 3824545"/>
              <a:gd name="connsiteX3" fmla="*/ 1258 w 9224266"/>
              <a:gd name="connsiteY3" fmla="*/ 3824545 h 3824545"/>
              <a:gd name="connsiteX4" fmla="*/ 0 w 9224266"/>
              <a:gd name="connsiteY4" fmla="*/ 531011 h 3824545"/>
              <a:gd name="connsiteX5" fmla="*/ 7703457 w 9224266"/>
              <a:gd name="connsiteY5" fmla="*/ 0 h 3824545"/>
              <a:gd name="connsiteX0" fmla="*/ 7637515 w 9224266"/>
              <a:gd name="connsiteY0" fmla="*/ 0 h 4029699"/>
              <a:gd name="connsiteX1" fmla="*/ 9224266 w 9224266"/>
              <a:gd name="connsiteY1" fmla="*/ 504743 h 4029699"/>
              <a:gd name="connsiteX2" fmla="*/ 9219732 w 9224266"/>
              <a:gd name="connsiteY2" fmla="*/ 4009943 h 4029699"/>
              <a:gd name="connsiteX3" fmla="*/ 1258 w 9224266"/>
              <a:gd name="connsiteY3" fmla="*/ 4029699 h 4029699"/>
              <a:gd name="connsiteX4" fmla="*/ 0 w 9224266"/>
              <a:gd name="connsiteY4" fmla="*/ 736165 h 4029699"/>
              <a:gd name="connsiteX5" fmla="*/ 7637515 w 9224266"/>
              <a:gd name="connsiteY5" fmla="*/ 0 h 4029699"/>
              <a:gd name="connsiteX0" fmla="*/ 7637515 w 9219767"/>
              <a:gd name="connsiteY0" fmla="*/ 0 h 4029699"/>
              <a:gd name="connsiteX1" fmla="*/ 9175908 w 9219767"/>
              <a:gd name="connsiteY1" fmla="*/ 441243 h 4029699"/>
              <a:gd name="connsiteX2" fmla="*/ 9219732 w 9219767"/>
              <a:gd name="connsiteY2" fmla="*/ 4009943 h 4029699"/>
              <a:gd name="connsiteX3" fmla="*/ 1258 w 9219767"/>
              <a:gd name="connsiteY3" fmla="*/ 4029699 h 4029699"/>
              <a:gd name="connsiteX4" fmla="*/ 0 w 9219767"/>
              <a:gd name="connsiteY4" fmla="*/ 736165 h 4029699"/>
              <a:gd name="connsiteX5" fmla="*/ 7637515 w 9219767"/>
              <a:gd name="connsiteY5" fmla="*/ 0 h 4029699"/>
              <a:gd name="connsiteX0" fmla="*/ 7637515 w 9176223"/>
              <a:gd name="connsiteY0" fmla="*/ 0 h 4029699"/>
              <a:gd name="connsiteX1" fmla="*/ 9175908 w 9176223"/>
              <a:gd name="connsiteY1" fmla="*/ 441243 h 4029699"/>
              <a:gd name="connsiteX2" fmla="*/ 9175771 w 9176223"/>
              <a:gd name="connsiteY2" fmla="*/ 4019712 h 4029699"/>
              <a:gd name="connsiteX3" fmla="*/ 1258 w 9176223"/>
              <a:gd name="connsiteY3" fmla="*/ 4029699 h 4029699"/>
              <a:gd name="connsiteX4" fmla="*/ 0 w 9176223"/>
              <a:gd name="connsiteY4" fmla="*/ 736165 h 4029699"/>
              <a:gd name="connsiteX5" fmla="*/ 7637515 w 9176223"/>
              <a:gd name="connsiteY5" fmla="*/ 0 h 4029699"/>
              <a:gd name="connsiteX0" fmla="*/ 7636264 w 9174972"/>
              <a:gd name="connsiteY0" fmla="*/ 0 h 4029699"/>
              <a:gd name="connsiteX1" fmla="*/ 9174657 w 9174972"/>
              <a:gd name="connsiteY1" fmla="*/ 441243 h 4029699"/>
              <a:gd name="connsiteX2" fmla="*/ 9174520 w 9174972"/>
              <a:gd name="connsiteY2" fmla="*/ 4019712 h 4029699"/>
              <a:gd name="connsiteX3" fmla="*/ 7 w 9174972"/>
              <a:gd name="connsiteY3" fmla="*/ 4029699 h 4029699"/>
              <a:gd name="connsiteX4" fmla="*/ 20729 w 9174972"/>
              <a:gd name="connsiteY4" fmla="*/ 736165 h 4029699"/>
              <a:gd name="connsiteX5" fmla="*/ 7636264 w 9174972"/>
              <a:gd name="connsiteY5" fmla="*/ 0 h 4029699"/>
              <a:gd name="connsiteX0" fmla="*/ 7636263 w 9174971"/>
              <a:gd name="connsiteY0" fmla="*/ 0 h 4029699"/>
              <a:gd name="connsiteX1" fmla="*/ 9174656 w 9174971"/>
              <a:gd name="connsiteY1" fmla="*/ 441243 h 4029699"/>
              <a:gd name="connsiteX2" fmla="*/ 9174519 w 9174971"/>
              <a:gd name="connsiteY2" fmla="*/ 4019712 h 4029699"/>
              <a:gd name="connsiteX3" fmla="*/ 6 w 9174971"/>
              <a:gd name="connsiteY3" fmla="*/ 4029699 h 4029699"/>
              <a:gd name="connsiteX4" fmla="*/ 25124 w 9174971"/>
              <a:gd name="connsiteY4" fmla="*/ 1537242 h 4029699"/>
              <a:gd name="connsiteX5" fmla="*/ 7636263 w 9174971"/>
              <a:gd name="connsiteY5" fmla="*/ 0 h 4029699"/>
              <a:gd name="connsiteX0" fmla="*/ 7636259 w 9174967"/>
              <a:gd name="connsiteY0" fmla="*/ 0 h 4029699"/>
              <a:gd name="connsiteX1" fmla="*/ 9174652 w 9174967"/>
              <a:gd name="connsiteY1" fmla="*/ 441243 h 4029699"/>
              <a:gd name="connsiteX2" fmla="*/ 9174515 w 9174967"/>
              <a:gd name="connsiteY2" fmla="*/ 4019712 h 4029699"/>
              <a:gd name="connsiteX3" fmla="*/ 2 w 9174967"/>
              <a:gd name="connsiteY3" fmla="*/ 4029699 h 4029699"/>
              <a:gd name="connsiteX4" fmla="*/ 82270 w 9174967"/>
              <a:gd name="connsiteY4" fmla="*/ 2357857 h 4029699"/>
              <a:gd name="connsiteX5" fmla="*/ 7636259 w 9174967"/>
              <a:gd name="connsiteY5" fmla="*/ 0 h 4029699"/>
              <a:gd name="connsiteX0" fmla="*/ 7636262 w 9174970"/>
              <a:gd name="connsiteY0" fmla="*/ 0 h 4029699"/>
              <a:gd name="connsiteX1" fmla="*/ 9174655 w 9174970"/>
              <a:gd name="connsiteY1" fmla="*/ 441243 h 4029699"/>
              <a:gd name="connsiteX2" fmla="*/ 9174518 w 9174970"/>
              <a:gd name="connsiteY2" fmla="*/ 4019712 h 4029699"/>
              <a:gd name="connsiteX3" fmla="*/ 5 w 9174970"/>
              <a:gd name="connsiteY3" fmla="*/ 4029699 h 4029699"/>
              <a:gd name="connsiteX4" fmla="*/ 25123 w 9174970"/>
              <a:gd name="connsiteY4" fmla="*/ 2260165 h 4029699"/>
              <a:gd name="connsiteX5" fmla="*/ 7636262 w 9174970"/>
              <a:gd name="connsiteY5" fmla="*/ 0 h 4029699"/>
              <a:gd name="connsiteX0" fmla="*/ 7636262 w 9174970"/>
              <a:gd name="connsiteY0" fmla="*/ 0 h 4029699"/>
              <a:gd name="connsiteX1" fmla="*/ 9174655 w 9174970"/>
              <a:gd name="connsiteY1" fmla="*/ 441243 h 4029699"/>
              <a:gd name="connsiteX2" fmla="*/ 9174518 w 9174970"/>
              <a:gd name="connsiteY2" fmla="*/ 4019712 h 4029699"/>
              <a:gd name="connsiteX3" fmla="*/ 5 w 9174970"/>
              <a:gd name="connsiteY3" fmla="*/ 4029699 h 4029699"/>
              <a:gd name="connsiteX4" fmla="*/ 25123 w 9174970"/>
              <a:gd name="connsiteY4" fmla="*/ 2260165 h 4029699"/>
              <a:gd name="connsiteX5" fmla="*/ 7636262 w 9174970"/>
              <a:gd name="connsiteY5" fmla="*/ 0 h 4029699"/>
              <a:gd name="connsiteX0" fmla="*/ 7636257 w 9174965"/>
              <a:gd name="connsiteY0" fmla="*/ 0 h 4029699"/>
              <a:gd name="connsiteX1" fmla="*/ 9174650 w 9174965"/>
              <a:gd name="connsiteY1" fmla="*/ 441243 h 4029699"/>
              <a:gd name="connsiteX2" fmla="*/ 9174513 w 9174965"/>
              <a:gd name="connsiteY2" fmla="*/ 4019712 h 4029699"/>
              <a:gd name="connsiteX3" fmla="*/ 0 w 9174965"/>
              <a:gd name="connsiteY3" fmla="*/ 4029699 h 4029699"/>
              <a:gd name="connsiteX4" fmla="*/ 25118 w 9174965"/>
              <a:gd name="connsiteY4" fmla="*/ 2260165 h 4029699"/>
              <a:gd name="connsiteX5" fmla="*/ 7636257 w 9174965"/>
              <a:gd name="connsiteY5" fmla="*/ 0 h 4029699"/>
              <a:gd name="connsiteX0" fmla="*/ 7617207 w 9174965"/>
              <a:gd name="connsiteY0" fmla="*/ 0 h 4040282"/>
              <a:gd name="connsiteX1" fmla="*/ 9174650 w 9174965"/>
              <a:gd name="connsiteY1" fmla="*/ 451826 h 4040282"/>
              <a:gd name="connsiteX2" fmla="*/ 9174513 w 9174965"/>
              <a:gd name="connsiteY2" fmla="*/ 4030295 h 4040282"/>
              <a:gd name="connsiteX3" fmla="*/ 0 w 9174965"/>
              <a:gd name="connsiteY3" fmla="*/ 4040282 h 4040282"/>
              <a:gd name="connsiteX4" fmla="*/ 25118 w 9174965"/>
              <a:gd name="connsiteY4" fmla="*/ 2270748 h 4040282"/>
              <a:gd name="connsiteX5" fmla="*/ 7617207 w 9174965"/>
              <a:gd name="connsiteY5" fmla="*/ 0 h 4040282"/>
              <a:gd name="connsiteX0" fmla="*/ 7598157 w 9155915"/>
              <a:gd name="connsiteY0" fmla="*/ 0 h 4052982"/>
              <a:gd name="connsiteX1" fmla="*/ 9155600 w 9155915"/>
              <a:gd name="connsiteY1" fmla="*/ 451826 h 4052982"/>
              <a:gd name="connsiteX2" fmla="*/ 9155463 w 9155915"/>
              <a:gd name="connsiteY2" fmla="*/ 4030295 h 4052982"/>
              <a:gd name="connsiteX3" fmla="*/ 0 w 9155915"/>
              <a:gd name="connsiteY3" fmla="*/ 4052982 h 4052982"/>
              <a:gd name="connsiteX4" fmla="*/ 6068 w 9155915"/>
              <a:gd name="connsiteY4" fmla="*/ 2270748 h 4052982"/>
              <a:gd name="connsiteX5" fmla="*/ 7598157 w 9155915"/>
              <a:gd name="connsiteY5" fmla="*/ 0 h 4052982"/>
              <a:gd name="connsiteX0" fmla="*/ 7598157 w 9159496"/>
              <a:gd name="connsiteY0" fmla="*/ 0 h 4052982"/>
              <a:gd name="connsiteX1" fmla="*/ 9155600 w 9159496"/>
              <a:gd name="connsiteY1" fmla="*/ 451826 h 4052982"/>
              <a:gd name="connsiteX2" fmla="*/ 9159273 w 9159496"/>
              <a:gd name="connsiteY2" fmla="*/ 4042995 h 4052982"/>
              <a:gd name="connsiteX3" fmla="*/ 0 w 9159496"/>
              <a:gd name="connsiteY3" fmla="*/ 4052982 h 4052982"/>
              <a:gd name="connsiteX4" fmla="*/ 6068 w 9159496"/>
              <a:gd name="connsiteY4" fmla="*/ 2270748 h 4052982"/>
              <a:gd name="connsiteX5" fmla="*/ 7598157 w 9159496"/>
              <a:gd name="connsiteY5" fmla="*/ 0 h 4052982"/>
              <a:gd name="connsiteX0" fmla="*/ 7598438 w 9159777"/>
              <a:gd name="connsiteY0" fmla="*/ 0 h 4052982"/>
              <a:gd name="connsiteX1" fmla="*/ 9155881 w 9159777"/>
              <a:gd name="connsiteY1" fmla="*/ 451826 h 4052982"/>
              <a:gd name="connsiteX2" fmla="*/ 9159554 w 9159777"/>
              <a:gd name="connsiteY2" fmla="*/ 4042995 h 4052982"/>
              <a:gd name="connsiteX3" fmla="*/ 281 w 9159777"/>
              <a:gd name="connsiteY3" fmla="*/ 4052982 h 4052982"/>
              <a:gd name="connsiteX4" fmla="*/ 0 w 9159777"/>
              <a:gd name="connsiteY4" fmla="*/ 2274276 h 4052982"/>
              <a:gd name="connsiteX5" fmla="*/ 7598438 w 9159777"/>
              <a:gd name="connsiteY5" fmla="*/ 0 h 4052982"/>
              <a:gd name="connsiteX0" fmla="*/ 7604507 w 9165846"/>
              <a:gd name="connsiteY0" fmla="*/ 0 h 4070620"/>
              <a:gd name="connsiteX1" fmla="*/ 9161950 w 9165846"/>
              <a:gd name="connsiteY1" fmla="*/ 451826 h 4070620"/>
              <a:gd name="connsiteX2" fmla="*/ 9165623 w 9165846"/>
              <a:gd name="connsiteY2" fmla="*/ 4042995 h 4070620"/>
              <a:gd name="connsiteX3" fmla="*/ 0 w 9165846"/>
              <a:gd name="connsiteY3" fmla="*/ 4070620 h 4070620"/>
              <a:gd name="connsiteX4" fmla="*/ 6069 w 9165846"/>
              <a:gd name="connsiteY4" fmla="*/ 2274276 h 4070620"/>
              <a:gd name="connsiteX5" fmla="*/ 7604507 w 9165846"/>
              <a:gd name="connsiteY5" fmla="*/ 0 h 4070620"/>
              <a:gd name="connsiteX0" fmla="*/ 7604507 w 9165846"/>
              <a:gd name="connsiteY0" fmla="*/ 0 h 4070620"/>
              <a:gd name="connsiteX1" fmla="*/ 9161950 w 9165846"/>
              <a:gd name="connsiteY1" fmla="*/ 451826 h 4070620"/>
              <a:gd name="connsiteX2" fmla="*/ 9165623 w 9165846"/>
              <a:gd name="connsiteY2" fmla="*/ 4042995 h 4070620"/>
              <a:gd name="connsiteX3" fmla="*/ 0 w 9165846"/>
              <a:gd name="connsiteY3" fmla="*/ 4070620 h 4070620"/>
              <a:gd name="connsiteX4" fmla="*/ 2893 w 9165846"/>
              <a:gd name="connsiteY4" fmla="*/ 2277804 h 4070620"/>
              <a:gd name="connsiteX5" fmla="*/ 7604507 w 9165846"/>
              <a:gd name="connsiteY5" fmla="*/ 0 h 4070620"/>
              <a:gd name="connsiteX0" fmla="*/ 7609269 w 9170608"/>
              <a:gd name="connsiteY0" fmla="*/ 0 h 4067093"/>
              <a:gd name="connsiteX1" fmla="*/ 9166712 w 9170608"/>
              <a:gd name="connsiteY1" fmla="*/ 451826 h 4067093"/>
              <a:gd name="connsiteX2" fmla="*/ 9170385 w 9170608"/>
              <a:gd name="connsiteY2" fmla="*/ 4042995 h 4067093"/>
              <a:gd name="connsiteX3" fmla="*/ 0 w 9170608"/>
              <a:gd name="connsiteY3" fmla="*/ 4067093 h 4067093"/>
              <a:gd name="connsiteX4" fmla="*/ 7655 w 9170608"/>
              <a:gd name="connsiteY4" fmla="*/ 2277804 h 4067093"/>
              <a:gd name="connsiteX5" fmla="*/ 7609269 w 9170608"/>
              <a:gd name="connsiteY5" fmla="*/ 0 h 406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0608" h="4067093">
                <a:moveTo>
                  <a:pt x="7609269" y="0"/>
                </a:moveTo>
                <a:lnTo>
                  <a:pt x="9166712" y="451826"/>
                </a:lnTo>
                <a:cubicBezTo>
                  <a:pt x="9165201" y="1201126"/>
                  <a:pt x="9171896" y="3293695"/>
                  <a:pt x="9170385" y="4042995"/>
                </a:cubicBezTo>
                <a:lnTo>
                  <a:pt x="0" y="4067093"/>
                </a:lnTo>
                <a:cubicBezTo>
                  <a:pt x="12559" y="3182326"/>
                  <a:pt x="8074" y="3356111"/>
                  <a:pt x="7655" y="2277804"/>
                </a:cubicBezTo>
                <a:lnTo>
                  <a:pt x="7609269" y="0"/>
                </a:lnTo>
                <a:close/>
              </a:path>
            </a:pathLst>
          </a:custGeom>
          <a:solidFill>
            <a:schemeClr val="bg1">
              <a:lumMod val="95000"/>
            </a:schemeClr>
          </a:solidFill>
        </p:spPr>
        <p:txBody>
          <a:bodyPr vert="horz" anchor="ctr"/>
          <a:lstStyle>
            <a:lvl1pPr marL="0" indent="0" algn="ctr" rtl="0">
              <a:buNone/>
              <a:defRPr sz="1867"/>
            </a:lvl1pPr>
          </a:lstStyle>
          <a:p>
            <a:r>
              <a:rPr lang="de-DE" dirty="0"/>
              <a:t>Bild durch Klicken auf Symbol hinzufügen</a:t>
            </a:r>
          </a:p>
        </p:txBody>
      </p:sp>
    </p:spTree>
    <p:extLst>
      <p:ext uri="{BB962C8B-B14F-4D97-AF65-F5344CB8AC3E}">
        <p14:creationId xmlns:p14="http://schemas.microsoft.com/office/powerpoint/2010/main" val="14013942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ohne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923740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pic>
        <p:nvPicPr>
          <p:cNvPr id="13" name="Grafik 12">
            <a:extLst>
              <a:ext uri="{FF2B5EF4-FFF2-40B4-BE49-F238E27FC236}">
                <a16:creationId xmlns:a16="http://schemas.microsoft.com/office/drawing/2014/main" id="{641BDD89-E2CB-6C43-BDAE-91F2CF95EA9E}"/>
              </a:ext>
            </a:extLst>
          </p:cNvPr>
          <p:cNvPicPr>
            <a:picLocks noChangeAspect="1"/>
          </p:cNvPicPr>
          <p:nvPr userDrawn="1"/>
        </p:nvPicPr>
        <p:blipFill rotWithShape="1">
          <a:blip r:embed="rId6"/>
          <a:srcRect t="-1" r="3129" b="954"/>
          <a:stretch/>
        </p:blipFill>
        <p:spPr>
          <a:xfrm>
            <a:off x="4223792" y="3870733"/>
            <a:ext cx="7968208" cy="2987267"/>
          </a:xfrm>
          <a:prstGeom prst="rect">
            <a:avLst/>
          </a:prstGeom>
        </p:spPr>
      </p:pic>
      <p:sp>
        <p:nvSpPr>
          <p:cNvPr id="4" name="Datumsplatzhalter 3"/>
          <p:cNvSpPr>
            <a:spLocks noGrp="1"/>
          </p:cNvSpPr>
          <p:nvPr>
            <p:ph type="dt" sz="half" idx="10"/>
          </p:nvPr>
        </p:nvSpPr>
        <p:spPr/>
        <p:txBody>
          <a:bodyPr/>
          <a:lstStyle>
            <a:lvl1pPr rtl="0">
              <a:defRPr>
                <a:solidFill>
                  <a:schemeClr val="tx1"/>
                </a:solidFill>
              </a:defRPr>
            </a:lvl1pPr>
          </a:lstStyle>
          <a:p>
            <a:fld id="{C9FB5593-C270-4E0B-B4E0-3A90E4DDA468}"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solidFill>
                  <a:schemeClr val="tx1"/>
                </a:solidFill>
              </a:defRPr>
            </a:lvl1pPr>
          </a:lstStyle>
          <a:p>
            <a:fld id="{D4A18DF9-8FF6-4BA5-BC52-5FB4772E2292}" type="slidenum">
              <a:rPr lang="de-DE" smtClean="0"/>
              <a:pPr/>
              <a:t>‹Nr.›</a:t>
            </a:fld>
            <a:endParaRPr lang="de-DE" dirty="0"/>
          </a:p>
        </p:txBody>
      </p:sp>
      <p:pic>
        <p:nvPicPr>
          <p:cNvPr id="15" name="Grafik 14">
            <a:extLst>
              <a:ext uri="{FF2B5EF4-FFF2-40B4-BE49-F238E27FC236}">
                <a16:creationId xmlns:a16="http://schemas.microsoft.com/office/drawing/2014/main" id="{01EC46C6-39B9-764E-81C4-926D2DDE59AA}"/>
              </a:ext>
            </a:extLst>
          </p:cNvPr>
          <p:cNvPicPr>
            <a:picLocks noChangeAspect="1"/>
          </p:cNvPicPr>
          <p:nvPr userDrawn="1"/>
        </p:nvPicPr>
        <p:blipFill>
          <a:blip r:embed="rId7"/>
          <a:stretch>
            <a:fillRect/>
          </a:stretch>
        </p:blipFill>
        <p:spPr>
          <a:xfrm>
            <a:off x="11326296" y="59936"/>
            <a:ext cx="713524" cy="540866"/>
          </a:xfrm>
          <a:prstGeom prst="rect">
            <a:avLst/>
          </a:prstGeom>
        </p:spPr>
      </p:pic>
      <p:grpSp>
        <p:nvGrpSpPr>
          <p:cNvPr id="16" name="Gruppieren 15"/>
          <p:cNvGrpSpPr/>
          <p:nvPr userDrawn="1"/>
        </p:nvGrpSpPr>
        <p:grpSpPr>
          <a:xfrm>
            <a:off x="696649" y="6867625"/>
            <a:ext cx="10803834" cy="414000"/>
            <a:chOff x="696649" y="-304800"/>
            <a:chExt cx="10803834" cy="7298267"/>
          </a:xfrm>
        </p:grpSpPr>
        <p:cxnSp>
          <p:nvCxnSpPr>
            <p:cNvPr id="18" name="Gerader Verbinder 17"/>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a:xfrm>
              <a:off x="6096000"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2" name="Gruppieren 21"/>
          <p:cNvGrpSpPr/>
          <p:nvPr userDrawn="1"/>
        </p:nvGrpSpPr>
        <p:grpSpPr>
          <a:xfrm>
            <a:off x="-442761" y="196265"/>
            <a:ext cx="413886" cy="6481459"/>
            <a:chOff x="-442761" y="196265"/>
            <a:chExt cx="413886" cy="6481459"/>
          </a:xfrm>
        </p:grpSpPr>
        <p:cxnSp>
          <p:nvCxnSpPr>
            <p:cNvPr id="23" name="Gerader Verbinder 22"/>
            <p:cNvCxnSpPr/>
            <p:nvPr userDrawn="1"/>
          </p:nvCxnSpPr>
          <p:spPr>
            <a:xfrm>
              <a:off x="-442761" y="19626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a:xfrm>
              <a:off x="-442761" y="96633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a:xfrm>
              <a:off x="-442761" y="1273597"/>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a:off x="-442761" y="630872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a:xfrm>
              <a:off x="-442761" y="667772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a:xfrm>
              <a:off x="-442761" y="1633261"/>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a:xfrm>
              <a:off x="-442761" y="3429000"/>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0" name="Gruppieren 29"/>
          <p:cNvGrpSpPr/>
          <p:nvPr userDrawn="1"/>
        </p:nvGrpSpPr>
        <p:grpSpPr>
          <a:xfrm>
            <a:off x="12211250" y="196265"/>
            <a:ext cx="413886" cy="6481459"/>
            <a:chOff x="12211250" y="196265"/>
            <a:chExt cx="413886" cy="6481459"/>
          </a:xfrm>
        </p:grpSpPr>
        <p:grpSp>
          <p:nvGrpSpPr>
            <p:cNvPr id="31" name="Gruppieren 30"/>
            <p:cNvGrpSpPr/>
            <p:nvPr userDrawn="1"/>
          </p:nvGrpSpPr>
          <p:grpSpPr>
            <a:xfrm>
              <a:off x="12211250" y="196265"/>
              <a:ext cx="413886" cy="6481459"/>
              <a:chOff x="-728133" y="196265"/>
              <a:chExt cx="13140266" cy="6481459"/>
            </a:xfrm>
          </p:grpSpPr>
          <p:cxnSp>
            <p:nvCxnSpPr>
              <p:cNvPr id="33" name="Gerader Verbinder 32"/>
              <p:cNvCxnSpPr/>
              <p:nvPr userDrawn="1"/>
            </p:nvCxnSpPr>
            <p:spPr>
              <a:xfrm>
                <a:off x="-728133" y="19626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728133" y="96633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728133" y="1273597"/>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728133" y="630872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728133" y="667772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728133" y="1633261"/>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32" name="Gerader Verbinder 31"/>
            <p:cNvCxnSpPr/>
            <p:nvPr userDrawn="1"/>
          </p:nvCxnSpPr>
          <p:spPr>
            <a:xfrm>
              <a:off x="12211250" y="3429000"/>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uppieren 38"/>
          <p:cNvGrpSpPr/>
          <p:nvPr userDrawn="1"/>
        </p:nvGrpSpPr>
        <p:grpSpPr>
          <a:xfrm>
            <a:off x="696649" y="-442875"/>
            <a:ext cx="10803834" cy="414000"/>
            <a:chOff x="696649" y="-304800"/>
            <a:chExt cx="10803834" cy="7298267"/>
          </a:xfrm>
        </p:grpSpPr>
        <p:cxnSp>
          <p:nvCxnSpPr>
            <p:cNvPr id="40" name="Gerader Verbinder 39"/>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userDrawn="1"/>
          </p:nvCxnSpPr>
          <p:spPr>
            <a:xfrm>
              <a:off x="6096000"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47" name="Textplatzhalter 2"/>
          <p:cNvSpPr>
            <a:spLocks noGrp="1"/>
          </p:cNvSpPr>
          <p:nvPr>
            <p:ph type="body" sz="quarter" idx="13" hasCustomPrompt="1"/>
          </p:nvPr>
        </p:nvSpPr>
        <p:spPr>
          <a:xfrm>
            <a:off x="695325" y="1228101"/>
            <a:ext cx="10801350" cy="1105088"/>
          </a:xfrm>
        </p:spPr>
        <p:txBody>
          <a:bodyPr wrap="square" tIns="180000">
            <a:spAutoFit/>
          </a:bodyPr>
          <a:lstStyle>
            <a:lvl1pPr marL="0" indent="0" rtl="0">
              <a:buNone/>
              <a:defRPr sz="6000" b="1" i="1"/>
            </a:lvl1pPr>
          </a:lstStyle>
          <a:p>
            <a:pPr lvl="0"/>
            <a:r>
              <a:rPr lang="de-DE" dirty="0" err="1"/>
              <a:t>Kapiteltrenner</a:t>
            </a:r>
            <a:endParaRPr lang="de-DE" dirty="0"/>
          </a:p>
        </p:txBody>
      </p:sp>
      <p:sp>
        <p:nvSpPr>
          <p:cNvPr id="44" name="Fußzeilenplatzhalter 4"/>
          <p:cNvSpPr>
            <a:spLocks noGrp="1"/>
          </p:cNvSpPr>
          <p:nvPr>
            <p:ph type="ftr" sz="quarter" idx="3"/>
          </p:nvPr>
        </p:nvSpPr>
        <p:spPr bwMode="gray">
          <a:xfrm>
            <a:off x="6451599" y="6534187"/>
            <a:ext cx="4018011"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Tree>
    <p:extLst>
      <p:ext uri="{BB962C8B-B14F-4D97-AF65-F5344CB8AC3E}">
        <p14:creationId xmlns:p14="http://schemas.microsoft.com/office/powerpoint/2010/main" val="30351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ontakt mit Ansprechpartner">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979210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pic>
        <p:nvPicPr>
          <p:cNvPr id="47" name="Grafik 46"/>
          <p:cNvPicPr>
            <a:picLocks noChangeAspect="1"/>
          </p:cNvPicPr>
          <p:nvPr userDrawn="1"/>
        </p:nvPicPr>
        <p:blipFill rotWithShape="1">
          <a:blip r:embed="rId6" cstate="print">
            <a:extLst>
              <a:ext uri="{28A0092B-C50C-407E-A947-70E740481C1C}">
                <a14:useLocalDpi xmlns:a14="http://schemas.microsoft.com/office/drawing/2010/main" val="0"/>
              </a:ext>
            </a:extLst>
          </a:blip>
          <a:srcRect l="208" r="138"/>
          <a:stretch/>
        </p:blipFill>
        <p:spPr>
          <a:xfrm>
            <a:off x="-6350" y="4966797"/>
            <a:ext cx="12204699" cy="1891204"/>
          </a:xfrm>
          <a:prstGeom prst="rect">
            <a:avLst/>
          </a:prstGeom>
        </p:spPr>
      </p:pic>
      <p:sp>
        <p:nvSpPr>
          <p:cNvPr id="45" name="Inhaltsplatzhalter 3">
            <a:extLst>
              <a:ext uri="{FF2B5EF4-FFF2-40B4-BE49-F238E27FC236}">
                <a16:creationId xmlns:a16="http://schemas.microsoft.com/office/drawing/2014/main" id="{B4DBBE2F-D7F4-0D44-A6B9-2CAA90BA4656}"/>
              </a:ext>
            </a:extLst>
          </p:cNvPr>
          <p:cNvSpPr txBox="1">
            <a:spLocks/>
          </p:cNvSpPr>
          <p:nvPr userDrawn="1"/>
        </p:nvSpPr>
        <p:spPr bwMode="gray">
          <a:xfrm>
            <a:off x="1883442" y="6095047"/>
            <a:ext cx="2295624" cy="615553"/>
          </a:xfrm>
          <a:prstGeom prst="rect">
            <a:avLst/>
          </a:prstGeom>
        </p:spPr>
        <p:txBody>
          <a:bodyPr wrap="square" lIns="0" tIns="0" rIns="0" bIns="0" rtlCol="0">
            <a:sp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ts val="1200"/>
              </a:lnSpc>
              <a:spcAft>
                <a:spcPts val="0"/>
              </a:spcAft>
              <a:buNone/>
              <a:defRPr/>
            </a:pPr>
            <a:r>
              <a:rPr lang="de-DE" altLang="de-DE" sz="1000" b="1" dirty="0">
                <a:solidFill>
                  <a:schemeClr val="bg1"/>
                </a:solidFill>
                <a:latin typeface="Calibri" panose="020F0502020204030204" pitchFamily="34" charset="0"/>
                <a:cs typeface="Calibri" panose="020F0502020204030204" pitchFamily="34" charset="0"/>
              </a:rPr>
              <a:t>PD – Berater der öffentlichen Hand GmbH</a:t>
            </a:r>
            <a:br>
              <a:rPr lang="de-DE" altLang="de-DE" sz="1000" b="1" dirty="0">
                <a:solidFill>
                  <a:schemeClr val="bg1"/>
                </a:solidFill>
                <a:latin typeface="Calibri" panose="020F0502020204030204" pitchFamily="34" charset="0"/>
                <a:cs typeface="Calibri" panose="020F0502020204030204" pitchFamily="34" charset="0"/>
              </a:rPr>
            </a:br>
            <a:r>
              <a:rPr lang="de-DE" altLang="de-DE" sz="1000" dirty="0">
                <a:solidFill>
                  <a:schemeClr val="bg1"/>
                </a:solidFill>
                <a:latin typeface="Calibri" panose="020F0502020204030204" pitchFamily="34" charset="0"/>
                <a:cs typeface="Calibri" panose="020F0502020204030204" pitchFamily="34" charset="0"/>
              </a:rPr>
              <a:t>Friedrichstraße 149, 10117 Berlin</a:t>
            </a:r>
            <a:br>
              <a:rPr lang="de-DE" altLang="de-DE" sz="1000" dirty="0">
                <a:solidFill>
                  <a:schemeClr val="bg1"/>
                </a:solidFill>
                <a:latin typeface="Calibri" panose="020F0502020204030204" pitchFamily="34" charset="0"/>
                <a:cs typeface="Calibri" panose="020F0502020204030204" pitchFamily="34" charset="0"/>
              </a:rPr>
            </a:br>
            <a:r>
              <a:rPr lang="de-DE" altLang="de-DE" sz="1000" dirty="0">
                <a:solidFill>
                  <a:schemeClr val="bg1"/>
                </a:solidFill>
                <a:latin typeface="Calibri" panose="020F0502020204030204" pitchFamily="34" charset="0"/>
                <a:cs typeface="Calibri" panose="020F0502020204030204" pitchFamily="34" charset="0"/>
              </a:rPr>
              <a:t>T +49 30 25 76 79 - 0</a:t>
            </a:r>
            <a:br>
              <a:rPr lang="de-DE" altLang="de-DE" sz="1000" dirty="0">
                <a:solidFill>
                  <a:schemeClr val="bg1"/>
                </a:solidFill>
                <a:latin typeface="Calibri" panose="020F0502020204030204" pitchFamily="34" charset="0"/>
                <a:cs typeface="Calibri" panose="020F0502020204030204" pitchFamily="34" charset="0"/>
              </a:rPr>
            </a:br>
            <a:r>
              <a:rPr lang="de-DE" altLang="de-DE" sz="1000" dirty="0">
                <a:solidFill>
                  <a:schemeClr val="bg1"/>
                </a:solidFill>
                <a:latin typeface="Calibri" panose="020F0502020204030204" pitchFamily="34" charset="0"/>
                <a:cs typeface="Calibri" panose="020F0502020204030204" pitchFamily="34" charset="0"/>
              </a:rPr>
              <a:t>F +49 30 25 76 79 - 199			</a:t>
            </a:r>
            <a:endParaRPr lang="de-DE" sz="1000" dirty="0">
              <a:solidFill>
                <a:schemeClr val="bg1"/>
              </a:solidFill>
              <a:latin typeface="Calibri" panose="020F0502020204030204" pitchFamily="34" charset="0"/>
              <a:cs typeface="Calibri" panose="020F0502020204030204" pitchFamily="34" charset="0"/>
            </a:endParaRPr>
          </a:p>
        </p:txBody>
      </p:sp>
      <p:sp>
        <p:nvSpPr>
          <p:cNvPr id="46" name="Inhaltsplatzhalter 3">
            <a:extLst>
              <a:ext uri="{FF2B5EF4-FFF2-40B4-BE49-F238E27FC236}">
                <a16:creationId xmlns:a16="http://schemas.microsoft.com/office/drawing/2014/main" id="{C52E7BFA-99D1-B848-BB73-657C91402277}"/>
              </a:ext>
            </a:extLst>
          </p:cNvPr>
          <p:cNvSpPr txBox="1">
            <a:spLocks/>
          </p:cNvSpPr>
          <p:nvPr userDrawn="1"/>
        </p:nvSpPr>
        <p:spPr bwMode="gray">
          <a:xfrm>
            <a:off x="693211" y="6400361"/>
            <a:ext cx="779099" cy="310239"/>
          </a:xfrm>
          <a:prstGeom prst="rect">
            <a:avLst/>
          </a:prstGeom>
        </p:spPr>
        <p:txBody>
          <a:bodyPr lIns="0" tIns="0" rIns="0" bIns="0" rtlCol="0">
            <a:no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ts val="1200"/>
              </a:lnSpc>
              <a:spcAft>
                <a:spcPts val="0"/>
              </a:spcAft>
              <a:buNone/>
              <a:defRPr/>
            </a:pPr>
            <a:r>
              <a:rPr lang="de-DE" altLang="de-DE" sz="1000" dirty="0" err="1">
                <a:solidFill>
                  <a:schemeClr val="bg1"/>
                </a:solidFill>
                <a:latin typeface="Calibri" panose="020F0502020204030204" pitchFamily="34" charset="0"/>
                <a:cs typeface="Calibri" panose="020F0502020204030204" pitchFamily="34" charset="0"/>
              </a:rPr>
              <a:t>info@pd-g.de</a:t>
            </a:r>
            <a:r>
              <a:rPr lang="de-DE" altLang="de-DE" sz="1000" dirty="0">
                <a:solidFill>
                  <a:schemeClr val="bg1"/>
                </a:solidFill>
                <a:latin typeface="Calibri" panose="020F0502020204030204" pitchFamily="34" charset="0"/>
                <a:cs typeface="Calibri" panose="020F0502020204030204" pitchFamily="34" charset="0"/>
              </a:rPr>
              <a:t> </a:t>
            </a:r>
            <a:br>
              <a:rPr lang="de-DE" sz="1000" dirty="0">
                <a:solidFill>
                  <a:schemeClr val="bg1"/>
                </a:solidFill>
                <a:latin typeface="Calibri" panose="020F0502020204030204" pitchFamily="34" charset="0"/>
                <a:cs typeface="Calibri" panose="020F0502020204030204" pitchFamily="34" charset="0"/>
              </a:rPr>
            </a:br>
            <a:r>
              <a:rPr lang="de-DE" altLang="de-DE" sz="1000" dirty="0" err="1">
                <a:solidFill>
                  <a:schemeClr val="bg1"/>
                </a:solidFill>
                <a:latin typeface="Calibri" panose="020F0502020204030204" pitchFamily="34" charset="0"/>
                <a:cs typeface="Calibri" panose="020F0502020204030204" pitchFamily="34" charset="0"/>
              </a:rPr>
              <a:t>www.pd-g.de</a:t>
            </a:r>
            <a:endParaRPr lang="de-DE" sz="1000" dirty="0">
              <a:solidFill>
                <a:schemeClr val="bg1"/>
              </a:solidFill>
              <a:latin typeface="Calibri" panose="020F0502020204030204" pitchFamily="34" charset="0"/>
              <a:cs typeface="Calibri" panose="020F0502020204030204" pitchFamily="34" charset="0"/>
            </a:endParaRPr>
          </a:p>
        </p:txBody>
      </p:sp>
      <p:sp>
        <p:nvSpPr>
          <p:cNvPr id="2" name="Titel 1"/>
          <p:cNvSpPr>
            <a:spLocks noGrp="1"/>
          </p:cNvSpPr>
          <p:nvPr>
            <p:ph type="title" hasCustomPrompt="1"/>
          </p:nvPr>
        </p:nvSpPr>
        <p:spPr>
          <a:xfrm>
            <a:off x="693211" y="315058"/>
            <a:ext cx="10344990" cy="725959"/>
          </a:xfrm>
        </p:spPr>
        <p:txBody>
          <a:bodyPr vert="horz"/>
          <a:lstStyle>
            <a:lvl1pPr rtl="0">
              <a:lnSpc>
                <a:spcPct val="97000"/>
              </a:lnSpc>
              <a:defRPr/>
            </a:lvl1pPr>
          </a:lstStyle>
          <a:p>
            <a:r>
              <a:rPr lang="de-DE" dirty="0"/>
              <a:t>Kontakt</a:t>
            </a:r>
          </a:p>
        </p:txBody>
      </p:sp>
      <p:sp>
        <p:nvSpPr>
          <p:cNvPr id="11" name="Textplatzhalter 10"/>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pic>
        <p:nvPicPr>
          <p:cNvPr id="15" name="Grafik 14">
            <a:extLst>
              <a:ext uri="{FF2B5EF4-FFF2-40B4-BE49-F238E27FC236}">
                <a16:creationId xmlns:a16="http://schemas.microsoft.com/office/drawing/2014/main" id="{01EC46C6-39B9-764E-81C4-926D2DDE59AA}"/>
              </a:ext>
            </a:extLst>
          </p:cNvPr>
          <p:cNvPicPr>
            <a:picLocks noChangeAspect="1"/>
          </p:cNvPicPr>
          <p:nvPr userDrawn="1"/>
        </p:nvPicPr>
        <p:blipFill>
          <a:blip r:embed="rId7"/>
          <a:stretch>
            <a:fillRect/>
          </a:stretch>
        </p:blipFill>
        <p:spPr>
          <a:xfrm>
            <a:off x="11326296" y="59936"/>
            <a:ext cx="713524" cy="540866"/>
          </a:xfrm>
          <a:prstGeom prst="rect">
            <a:avLst/>
          </a:prstGeom>
        </p:spPr>
      </p:pic>
      <p:grpSp>
        <p:nvGrpSpPr>
          <p:cNvPr id="16" name="Gruppieren 15"/>
          <p:cNvGrpSpPr/>
          <p:nvPr userDrawn="1"/>
        </p:nvGrpSpPr>
        <p:grpSpPr>
          <a:xfrm>
            <a:off x="696649" y="6867625"/>
            <a:ext cx="10803834" cy="414000"/>
            <a:chOff x="696649" y="-304800"/>
            <a:chExt cx="10803834" cy="7298267"/>
          </a:xfrm>
        </p:grpSpPr>
        <p:cxnSp>
          <p:nvCxnSpPr>
            <p:cNvPr id="18" name="Gerader Verbinder 17"/>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a:xfrm>
              <a:off x="6096000"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2" name="Gruppieren 21"/>
          <p:cNvGrpSpPr/>
          <p:nvPr userDrawn="1"/>
        </p:nvGrpSpPr>
        <p:grpSpPr>
          <a:xfrm>
            <a:off x="-442761" y="196265"/>
            <a:ext cx="413886" cy="6481459"/>
            <a:chOff x="-442761" y="196265"/>
            <a:chExt cx="413886" cy="6481459"/>
          </a:xfrm>
        </p:grpSpPr>
        <p:cxnSp>
          <p:nvCxnSpPr>
            <p:cNvPr id="23" name="Gerader Verbinder 22"/>
            <p:cNvCxnSpPr/>
            <p:nvPr userDrawn="1"/>
          </p:nvCxnSpPr>
          <p:spPr>
            <a:xfrm>
              <a:off x="-442761" y="19626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a:xfrm>
              <a:off x="-442761" y="96633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a:xfrm>
              <a:off x="-442761" y="1273597"/>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a:off x="-442761" y="630872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a:xfrm>
              <a:off x="-442761" y="667772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a:xfrm>
              <a:off x="-442761" y="1633261"/>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a:xfrm>
              <a:off x="-442761" y="3429000"/>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0" name="Gruppieren 29"/>
          <p:cNvGrpSpPr/>
          <p:nvPr userDrawn="1"/>
        </p:nvGrpSpPr>
        <p:grpSpPr>
          <a:xfrm>
            <a:off x="12211250" y="196265"/>
            <a:ext cx="413886" cy="6481459"/>
            <a:chOff x="12211250" y="196265"/>
            <a:chExt cx="413886" cy="6481459"/>
          </a:xfrm>
        </p:grpSpPr>
        <p:grpSp>
          <p:nvGrpSpPr>
            <p:cNvPr id="31" name="Gruppieren 30"/>
            <p:cNvGrpSpPr/>
            <p:nvPr userDrawn="1"/>
          </p:nvGrpSpPr>
          <p:grpSpPr>
            <a:xfrm>
              <a:off x="12211250" y="196265"/>
              <a:ext cx="413886" cy="6481459"/>
              <a:chOff x="-728133" y="196265"/>
              <a:chExt cx="13140266" cy="6481459"/>
            </a:xfrm>
          </p:grpSpPr>
          <p:cxnSp>
            <p:nvCxnSpPr>
              <p:cNvPr id="33" name="Gerader Verbinder 32"/>
              <p:cNvCxnSpPr/>
              <p:nvPr userDrawn="1"/>
            </p:nvCxnSpPr>
            <p:spPr>
              <a:xfrm>
                <a:off x="-728133" y="19626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728133" y="96633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728133" y="1273597"/>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728133" y="630872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728133" y="667772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728133" y="1633261"/>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32" name="Gerader Verbinder 31"/>
            <p:cNvCxnSpPr/>
            <p:nvPr userDrawn="1"/>
          </p:nvCxnSpPr>
          <p:spPr>
            <a:xfrm>
              <a:off x="12211250" y="3429000"/>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uppieren 38"/>
          <p:cNvGrpSpPr/>
          <p:nvPr userDrawn="1"/>
        </p:nvGrpSpPr>
        <p:grpSpPr>
          <a:xfrm>
            <a:off x="696649" y="-442875"/>
            <a:ext cx="10803834" cy="414000"/>
            <a:chOff x="696649" y="-304800"/>
            <a:chExt cx="10803834" cy="7298267"/>
          </a:xfrm>
        </p:grpSpPr>
        <p:cxnSp>
          <p:nvCxnSpPr>
            <p:cNvPr id="40" name="Gerader Verbinder 39"/>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userDrawn="1"/>
          </p:nvCxnSpPr>
          <p:spPr>
            <a:xfrm>
              <a:off x="6096000"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48" name="Bildplatzhalter 12"/>
          <p:cNvSpPr>
            <a:spLocks noGrp="1"/>
          </p:cNvSpPr>
          <p:nvPr>
            <p:ph type="pic" sz="quarter" idx="15"/>
          </p:nvPr>
        </p:nvSpPr>
        <p:spPr bwMode="ltGray">
          <a:xfrm>
            <a:off x="700684" y="1640212"/>
            <a:ext cx="1033200" cy="1031233"/>
          </a:xfrm>
          <a:prstGeom prst="rect">
            <a:avLst/>
          </a:prstGeom>
          <a:noFill/>
        </p:spPr>
        <p:txBody>
          <a:bodyPr rtlCol="0">
            <a:noAutofit/>
          </a:bodyPr>
          <a:lstStyle>
            <a:lvl1pPr marL="0" indent="0" rtl="0">
              <a:buNone/>
              <a:defRPr/>
            </a:lvl1pPr>
          </a:lstStyle>
          <a:p>
            <a:pPr lvl="0"/>
            <a:r>
              <a:rPr lang="de-DE" noProof="0" dirty="0"/>
              <a:t>Bild durch Klicken auf Symbol hinzufügen</a:t>
            </a:r>
          </a:p>
        </p:txBody>
      </p:sp>
      <p:sp>
        <p:nvSpPr>
          <p:cNvPr id="51" name="Bildplatzhalter 12"/>
          <p:cNvSpPr>
            <a:spLocks noGrp="1"/>
          </p:cNvSpPr>
          <p:nvPr>
            <p:ph type="pic" sz="quarter" idx="17"/>
          </p:nvPr>
        </p:nvSpPr>
        <p:spPr bwMode="ltGray">
          <a:xfrm>
            <a:off x="6457462" y="1640212"/>
            <a:ext cx="1033200" cy="1031233"/>
          </a:xfrm>
          <a:prstGeom prst="rect">
            <a:avLst/>
          </a:prstGeom>
          <a:noFill/>
        </p:spPr>
        <p:txBody>
          <a:bodyPr rtlCol="0">
            <a:noAutofit/>
          </a:bodyPr>
          <a:lstStyle>
            <a:lvl1pPr marL="0" indent="0" rtl="0">
              <a:buNone/>
              <a:defRPr/>
            </a:lvl1pPr>
          </a:lstStyle>
          <a:p>
            <a:pPr lvl="0"/>
            <a:r>
              <a:rPr lang="de-DE" noProof="0" dirty="0"/>
              <a:t>Bild durch Klicken auf Symbol hinzufügen</a:t>
            </a:r>
          </a:p>
        </p:txBody>
      </p:sp>
      <p:sp>
        <p:nvSpPr>
          <p:cNvPr id="62" name="Inhaltsplatzhalter 3">
            <a:extLst>
              <a:ext uri="{FF2B5EF4-FFF2-40B4-BE49-F238E27FC236}">
                <a16:creationId xmlns:a16="http://schemas.microsoft.com/office/drawing/2014/main" id="{B4DBBE2F-D7F4-0D44-A6B9-2CAA90BA4656}"/>
              </a:ext>
            </a:extLst>
          </p:cNvPr>
          <p:cNvSpPr txBox="1">
            <a:spLocks/>
          </p:cNvSpPr>
          <p:nvPr userDrawn="1"/>
        </p:nvSpPr>
        <p:spPr bwMode="gray">
          <a:xfrm>
            <a:off x="6457462" y="6387435"/>
            <a:ext cx="4572452" cy="323165"/>
          </a:xfrm>
          <a:prstGeom prst="rect">
            <a:avLst/>
          </a:prstGeom>
        </p:spPr>
        <p:txBody>
          <a:bodyPr wrap="square" lIns="0" tIns="0" rIns="0" bIns="0" rtlCol="0" anchor="b" anchorCtr="0">
            <a:sp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ct val="100000"/>
              </a:lnSpc>
              <a:spcBef>
                <a:spcPts val="0"/>
              </a:spcBef>
              <a:spcAft>
                <a:spcPts val="0"/>
              </a:spcAft>
              <a:buNone/>
              <a:defRPr/>
            </a:pPr>
            <a:r>
              <a:rPr lang="de-DE" altLang="de-DE" sz="700" b="0" dirty="0">
                <a:solidFill>
                  <a:schemeClr val="bg1"/>
                </a:solidFill>
                <a:latin typeface="Calibri" panose="020F0502020204030204" pitchFamily="34" charset="0"/>
                <a:cs typeface="Calibri" panose="020F0502020204030204" pitchFamily="34" charset="0"/>
              </a:rPr>
              <a:t>Diese Präsentation ist Eigentum der PD – Berater der öffentlichen Hand GmbH. </a:t>
            </a:r>
            <a:br>
              <a:rPr lang="de-DE" altLang="de-DE" sz="700" b="0" dirty="0">
                <a:solidFill>
                  <a:schemeClr val="bg1"/>
                </a:solidFill>
                <a:latin typeface="Calibri" panose="020F0502020204030204" pitchFamily="34" charset="0"/>
                <a:cs typeface="Calibri" panose="020F0502020204030204" pitchFamily="34" charset="0"/>
              </a:rPr>
            </a:br>
            <a:r>
              <a:rPr lang="de-DE" altLang="de-DE" sz="700" b="0" dirty="0">
                <a:solidFill>
                  <a:schemeClr val="bg1"/>
                </a:solidFill>
                <a:latin typeface="Calibri" panose="020F0502020204030204" pitchFamily="34" charset="0"/>
                <a:cs typeface="Calibri" panose="020F0502020204030204" pitchFamily="34" charset="0"/>
              </a:rPr>
              <a:t>Jede Verwertung, Weitergabe oder Verwendung der Präsentation ohne Zustimmung ist unzulässig.</a:t>
            </a:r>
          </a:p>
          <a:p>
            <a:pPr marL="0" indent="0" rtl="0" fontAlgn="auto">
              <a:lnSpc>
                <a:spcPct val="100000"/>
              </a:lnSpc>
              <a:spcBef>
                <a:spcPts val="0"/>
              </a:spcBef>
              <a:spcAft>
                <a:spcPts val="0"/>
              </a:spcAft>
              <a:buNone/>
              <a:defRPr/>
            </a:pPr>
            <a:r>
              <a:rPr lang="de-DE" altLang="de-DE" sz="700" b="0" dirty="0">
                <a:solidFill>
                  <a:schemeClr val="bg1"/>
                </a:solidFill>
                <a:latin typeface="Calibri" panose="020F0502020204030204" pitchFamily="34" charset="0"/>
                <a:cs typeface="Calibri" panose="020F0502020204030204" pitchFamily="34" charset="0"/>
              </a:rPr>
              <a:t>© 2022 PD – Berater der öffentlichen Hand GmbH</a:t>
            </a:r>
          </a:p>
        </p:txBody>
      </p:sp>
      <p:sp>
        <p:nvSpPr>
          <p:cNvPr id="63" name="Bildplatzhalter 12"/>
          <p:cNvSpPr>
            <a:spLocks noGrp="1"/>
          </p:cNvSpPr>
          <p:nvPr>
            <p:ph type="pic" sz="quarter" idx="19"/>
          </p:nvPr>
        </p:nvSpPr>
        <p:spPr bwMode="ltGray">
          <a:xfrm>
            <a:off x="700684" y="3429804"/>
            <a:ext cx="1033200" cy="1033200"/>
          </a:xfrm>
          <a:prstGeom prst="rect">
            <a:avLst/>
          </a:prstGeom>
          <a:noFill/>
        </p:spPr>
        <p:txBody>
          <a:bodyPr rtlCol="0">
            <a:noAutofit/>
          </a:bodyPr>
          <a:lstStyle>
            <a:lvl1pPr marL="0" indent="0" rtl="0">
              <a:buNone/>
              <a:defRPr/>
            </a:lvl1pPr>
          </a:lstStyle>
          <a:p>
            <a:pPr lvl="0"/>
            <a:r>
              <a:rPr lang="de-DE" noProof="0" dirty="0"/>
              <a:t>Bild durch Klicken auf Symbol hinzufügen</a:t>
            </a:r>
          </a:p>
        </p:txBody>
      </p:sp>
      <p:sp>
        <p:nvSpPr>
          <p:cNvPr id="65" name="Bildplatzhalter 12"/>
          <p:cNvSpPr>
            <a:spLocks noGrp="1"/>
          </p:cNvSpPr>
          <p:nvPr>
            <p:ph type="pic" sz="quarter" idx="21"/>
          </p:nvPr>
        </p:nvSpPr>
        <p:spPr bwMode="ltGray">
          <a:xfrm>
            <a:off x="6457462" y="3429804"/>
            <a:ext cx="1033200" cy="1033200"/>
          </a:xfrm>
          <a:prstGeom prst="rect">
            <a:avLst/>
          </a:prstGeom>
          <a:noFill/>
        </p:spPr>
        <p:txBody>
          <a:bodyPr rtlCol="0">
            <a:noAutofit/>
          </a:bodyPr>
          <a:lstStyle>
            <a:lvl1pPr marL="0" indent="0" rtl="0">
              <a:buNone/>
              <a:defRPr/>
            </a:lvl1pPr>
          </a:lstStyle>
          <a:p>
            <a:pPr lvl="0"/>
            <a:r>
              <a:rPr lang="de-DE" noProof="0" dirty="0"/>
              <a:t>Bild durch Klicken auf Symbol hinzufügen</a:t>
            </a:r>
          </a:p>
        </p:txBody>
      </p:sp>
      <p:sp>
        <p:nvSpPr>
          <p:cNvPr id="50" name="Inhaltsplatzhalter 16"/>
          <p:cNvSpPr>
            <a:spLocks noGrp="1"/>
          </p:cNvSpPr>
          <p:nvPr>
            <p:ph sz="quarter" idx="16" hasCustomPrompt="1"/>
          </p:nvPr>
        </p:nvSpPr>
        <p:spPr bwMode="grayWhite">
          <a:xfrm>
            <a:off x="1883442" y="1594483"/>
            <a:ext cx="3580681" cy="1106195"/>
          </a:xfrm>
          <a:prstGeom prst="rect">
            <a:avLst/>
          </a:prstGeom>
        </p:spPr>
        <p:txBody>
          <a:bodyPr>
            <a:noAutofit/>
          </a:bodyPr>
          <a:lstStyle>
            <a:lvl1pPr marL="0" indent="0" rtl="0">
              <a:lnSpc>
                <a:spcPct val="100000"/>
              </a:lnSpc>
              <a:spcBef>
                <a:spcPts val="0"/>
              </a:spcBef>
              <a:spcAft>
                <a:spcPts val="400"/>
              </a:spcAft>
              <a:buNone/>
              <a:defRPr sz="1200" b="1" cap="none" spc="0" baseline="0">
                <a:solidFill>
                  <a:schemeClr val="tx1"/>
                </a:solidFill>
              </a:defRPr>
            </a:lvl1pPr>
            <a:lvl2pPr marL="0" indent="0" rtl="0">
              <a:lnSpc>
                <a:spcPct val="100000"/>
              </a:lnSpc>
              <a:spcBef>
                <a:spcPts val="0"/>
              </a:spcBef>
              <a:spcAft>
                <a:spcPts val="400"/>
              </a:spcAft>
              <a:buFontTx/>
              <a:buNone/>
              <a:defRPr sz="1200">
                <a:solidFill>
                  <a:schemeClr val="tx1"/>
                </a:solidFill>
              </a:defRPr>
            </a:lvl2pPr>
            <a:lvl3pPr marL="0" indent="0" rtl="0">
              <a:lnSpc>
                <a:spcPct val="100000"/>
              </a:lnSpc>
              <a:spcBef>
                <a:spcPts val="0"/>
              </a:spcBef>
              <a:spcAft>
                <a:spcPts val="400"/>
              </a:spcAft>
              <a:buSzPct val="100000"/>
              <a:buFontTx/>
              <a:buNone/>
              <a:defRPr sz="1200">
                <a:solidFill>
                  <a:schemeClr val="tx1"/>
                </a:solidFill>
              </a:defRPr>
            </a:lvl3pPr>
            <a:lvl4pPr marL="0" indent="0">
              <a:lnSpc>
                <a:spcPct val="100000"/>
              </a:lnSpc>
              <a:spcBef>
                <a:spcPts val="0"/>
              </a:spcBef>
              <a:spcAft>
                <a:spcPts val="400"/>
              </a:spcAft>
              <a:buSzPct val="100000"/>
              <a:buFontTx/>
              <a:buNone/>
              <a:defRPr sz="1200">
                <a:solidFill>
                  <a:schemeClr val="tx1"/>
                </a:solidFill>
              </a:defRPr>
            </a:lvl4pPr>
            <a:lvl5pPr marL="0" indent="0" rtl="0">
              <a:lnSpc>
                <a:spcPct val="100000"/>
              </a:lnSpc>
              <a:spcBef>
                <a:spcPts val="0"/>
              </a:spcBef>
              <a:spcAft>
                <a:spcPts val="400"/>
              </a:spcAft>
              <a:buSzPct val="100000"/>
              <a:buFontTx/>
              <a:buNone/>
              <a:defRPr sz="1200">
                <a:solidFill>
                  <a:schemeClr val="tx1"/>
                </a:solidFill>
              </a:defRPr>
            </a:lvl5pPr>
          </a:lstStyle>
          <a:p>
            <a:pPr lvl="0"/>
            <a:r>
              <a:rPr lang="de-DE" dirty="0"/>
              <a:t>Vorname Nachname</a:t>
            </a:r>
          </a:p>
          <a:p>
            <a:pPr lvl="1"/>
            <a:r>
              <a:rPr lang="de-DE" dirty="0"/>
              <a:t>Position</a:t>
            </a:r>
          </a:p>
          <a:p>
            <a:pPr lvl="2"/>
            <a:r>
              <a:rPr lang="de-DE" dirty="0"/>
              <a:t>T +49 30 25 76 79 - </a:t>
            </a:r>
          </a:p>
          <a:p>
            <a:pPr lvl="2"/>
            <a:r>
              <a:rPr lang="de-DE" dirty="0"/>
              <a:t>M +49 </a:t>
            </a:r>
          </a:p>
          <a:p>
            <a:pPr lvl="4"/>
            <a:r>
              <a:rPr lang="de-DE" dirty="0"/>
              <a:t>Vorname.Nachname@pd-g.de</a:t>
            </a:r>
          </a:p>
        </p:txBody>
      </p:sp>
      <p:sp>
        <p:nvSpPr>
          <p:cNvPr id="53" name="Inhaltsplatzhalter 16"/>
          <p:cNvSpPr>
            <a:spLocks noGrp="1"/>
          </p:cNvSpPr>
          <p:nvPr>
            <p:ph sz="quarter" idx="18" hasCustomPrompt="1"/>
          </p:nvPr>
        </p:nvSpPr>
        <p:spPr bwMode="grayWhite">
          <a:xfrm>
            <a:off x="7629278" y="1594484"/>
            <a:ext cx="3580681" cy="1106194"/>
          </a:xfrm>
          <a:prstGeom prst="rect">
            <a:avLst/>
          </a:prstGeom>
        </p:spPr>
        <p:txBody>
          <a:bodyPr>
            <a:noAutofit/>
          </a:bodyPr>
          <a:lstStyle>
            <a:lvl1pPr marL="0" indent="0" rtl="0">
              <a:lnSpc>
                <a:spcPct val="100000"/>
              </a:lnSpc>
              <a:spcBef>
                <a:spcPts val="0"/>
              </a:spcBef>
              <a:spcAft>
                <a:spcPts val="400"/>
              </a:spcAft>
              <a:buNone/>
              <a:defRPr sz="1200" b="1" cap="none" spc="0" baseline="0">
                <a:solidFill>
                  <a:schemeClr val="tx1"/>
                </a:solidFill>
              </a:defRPr>
            </a:lvl1pPr>
            <a:lvl2pPr marL="0" indent="0" rtl="0">
              <a:lnSpc>
                <a:spcPct val="100000"/>
              </a:lnSpc>
              <a:spcBef>
                <a:spcPts val="0"/>
              </a:spcBef>
              <a:spcAft>
                <a:spcPts val="400"/>
              </a:spcAft>
              <a:buFontTx/>
              <a:buNone/>
              <a:defRPr sz="1200">
                <a:solidFill>
                  <a:schemeClr val="tx1"/>
                </a:solidFill>
              </a:defRPr>
            </a:lvl2pPr>
            <a:lvl3pPr marL="0" indent="0" rtl="0">
              <a:lnSpc>
                <a:spcPct val="100000"/>
              </a:lnSpc>
              <a:spcBef>
                <a:spcPts val="0"/>
              </a:spcBef>
              <a:spcAft>
                <a:spcPts val="400"/>
              </a:spcAft>
              <a:buSzPct val="100000"/>
              <a:buFontTx/>
              <a:buNone/>
              <a:defRPr sz="1200">
                <a:solidFill>
                  <a:schemeClr val="tx1"/>
                </a:solidFill>
              </a:defRPr>
            </a:lvl3pPr>
            <a:lvl4pPr marL="0" indent="0">
              <a:lnSpc>
                <a:spcPct val="100000"/>
              </a:lnSpc>
              <a:spcBef>
                <a:spcPts val="0"/>
              </a:spcBef>
              <a:spcAft>
                <a:spcPts val="400"/>
              </a:spcAft>
              <a:buSzPct val="100000"/>
              <a:buFontTx/>
              <a:buNone/>
              <a:defRPr sz="1200">
                <a:solidFill>
                  <a:schemeClr val="tx1"/>
                </a:solidFill>
              </a:defRPr>
            </a:lvl4pPr>
            <a:lvl5pPr marL="0" indent="0" rtl="0">
              <a:lnSpc>
                <a:spcPct val="100000"/>
              </a:lnSpc>
              <a:spcBef>
                <a:spcPts val="0"/>
              </a:spcBef>
              <a:spcAft>
                <a:spcPts val="400"/>
              </a:spcAft>
              <a:buSzPct val="100000"/>
              <a:buFontTx/>
              <a:buNone/>
              <a:defRPr sz="1200">
                <a:solidFill>
                  <a:schemeClr val="tx1"/>
                </a:solidFill>
              </a:defRPr>
            </a:lvl5pPr>
          </a:lstStyle>
          <a:p>
            <a:pPr lvl="0"/>
            <a:r>
              <a:rPr lang="de-DE" dirty="0"/>
              <a:t>Vorname Nachname</a:t>
            </a:r>
          </a:p>
          <a:p>
            <a:pPr lvl="1"/>
            <a:r>
              <a:rPr lang="de-DE" dirty="0"/>
              <a:t>Position</a:t>
            </a:r>
          </a:p>
          <a:p>
            <a:pPr lvl="2"/>
            <a:r>
              <a:rPr lang="de-DE" dirty="0"/>
              <a:t>T +49 30 25 76 79 - </a:t>
            </a:r>
          </a:p>
          <a:p>
            <a:pPr lvl="2"/>
            <a:r>
              <a:rPr lang="de-DE" dirty="0"/>
              <a:t>M +49 </a:t>
            </a:r>
          </a:p>
          <a:p>
            <a:pPr lvl="4"/>
            <a:r>
              <a:rPr lang="de-DE" dirty="0"/>
              <a:t>Vorname.Nachname@pd-g.de</a:t>
            </a:r>
          </a:p>
        </p:txBody>
      </p:sp>
      <p:sp>
        <p:nvSpPr>
          <p:cNvPr id="54" name="Inhaltsplatzhalter 16"/>
          <p:cNvSpPr>
            <a:spLocks noGrp="1"/>
          </p:cNvSpPr>
          <p:nvPr>
            <p:ph sz="quarter" idx="20" hasCustomPrompt="1"/>
          </p:nvPr>
        </p:nvSpPr>
        <p:spPr bwMode="grayWhite">
          <a:xfrm>
            <a:off x="1883442" y="3387462"/>
            <a:ext cx="3580681" cy="1131784"/>
          </a:xfrm>
          <a:prstGeom prst="rect">
            <a:avLst/>
          </a:prstGeom>
        </p:spPr>
        <p:txBody>
          <a:bodyPr>
            <a:noAutofit/>
          </a:bodyPr>
          <a:lstStyle>
            <a:lvl1pPr marL="0" indent="0" rtl="0">
              <a:lnSpc>
                <a:spcPct val="100000"/>
              </a:lnSpc>
              <a:spcBef>
                <a:spcPts val="0"/>
              </a:spcBef>
              <a:spcAft>
                <a:spcPts val="400"/>
              </a:spcAft>
              <a:buNone/>
              <a:defRPr sz="1200" b="1" cap="none" spc="0" baseline="0">
                <a:solidFill>
                  <a:schemeClr val="tx1"/>
                </a:solidFill>
              </a:defRPr>
            </a:lvl1pPr>
            <a:lvl2pPr marL="0" indent="0" rtl="0">
              <a:lnSpc>
                <a:spcPct val="100000"/>
              </a:lnSpc>
              <a:spcBef>
                <a:spcPts val="0"/>
              </a:spcBef>
              <a:spcAft>
                <a:spcPts val="400"/>
              </a:spcAft>
              <a:buFontTx/>
              <a:buNone/>
              <a:defRPr sz="1200">
                <a:solidFill>
                  <a:schemeClr val="tx1"/>
                </a:solidFill>
              </a:defRPr>
            </a:lvl2pPr>
            <a:lvl3pPr marL="0" indent="0" rtl="0">
              <a:lnSpc>
                <a:spcPct val="100000"/>
              </a:lnSpc>
              <a:spcBef>
                <a:spcPts val="0"/>
              </a:spcBef>
              <a:spcAft>
                <a:spcPts val="400"/>
              </a:spcAft>
              <a:buSzPct val="100000"/>
              <a:buFontTx/>
              <a:buNone/>
              <a:defRPr sz="1200">
                <a:solidFill>
                  <a:schemeClr val="tx1"/>
                </a:solidFill>
              </a:defRPr>
            </a:lvl3pPr>
            <a:lvl4pPr marL="0" indent="0">
              <a:lnSpc>
                <a:spcPct val="100000"/>
              </a:lnSpc>
              <a:spcBef>
                <a:spcPts val="0"/>
              </a:spcBef>
              <a:spcAft>
                <a:spcPts val="400"/>
              </a:spcAft>
              <a:buSzPct val="100000"/>
              <a:buFontTx/>
              <a:buNone/>
              <a:defRPr sz="1200">
                <a:solidFill>
                  <a:schemeClr val="tx1"/>
                </a:solidFill>
              </a:defRPr>
            </a:lvl4pPr>
            <a:lvl5pPr marL="0" indent="0" rtl="0">
              <a:lnSpc>
                <a:spcPct val="100000"/>
              </a:lnSpc>
              <a:spcBef>
                <a:spcPts val="0"/>
              </a:spcBef>
              <a:spcAft>
                <a:spcPts val="400"/>
              </a:spcAft>
              <a:buSzPct val="100000"/>
              <a:buFontTx/>
              <a:buNone/>
              <a:defRPr sz="1200">
                <a:solidFill>
                  <a:schemeClr val="tx1"/>
                </a:solidFill>
              </a:defRPr>
            </a:lvl5pPr>
          </a:lstStyle>
          <a:p>
            <a:pPr lvl="0"/>
            <a:r>
              <a:rPr lang="de-DE" dirty="0"/>
              <a:t>Vorname Nachname</a:t>
            </a:r>
          </a:p>
          <a:p>
            <a:pPr lvl="1"/>
            <a:r>
              <a:rPr lang="de-DE" dirty="0"/>
              <a:t>Position</a:t>
            </a:r>
          </a:p>
          <a:p>
            <a:pPr lvl="2"/>
            <a:r>
              <a:rPr lang="de-DE" dirty="0"/>
              <a:t>T +49 30 25 76 79 - </a:t>
            </a:r>
          </a:p>
          <a:p>
            <a:pPr lvl="2"/>
            <a:r>
              <a:rPr lang="de-DE" dirty="0"/>
              <a:t>M +49 </a:t>
            </a:r>
          </a:p>
          <a:p>
            <a:pPr lvl="4"/>
            <a:r>
              <a:rPr lang="de-DE" dirty="0"/>
              <a:t>Vorname.Nachname@pd-g.de</a:t>
            </a:r>
          </a:p>
        </p:txBody>
      </p:sp>
      <p:sp>
        <p:nvSpPr>
          <p:cNvPr id="56" name="Inhaltsplatzhalter 16"/>
          <p:cNvSpPr>
            <a:spLocks noGrp="1"/>
          </p:cNvSpPr>
          <p:nvPr>
            <p:ph sz="quarter" idx="22" hasCustomPrompt="1"/>
          </p:nvPr>
        </p:nvSpPr>
        <p:spPr bwMode="grayWhite">
          <a:xfrm>
            <a:off x="7629278" y="3387462"/>
            <a:ext cx="3580681" cy="1131784"/>
          </a:xfrm>
          <a:prstGeom prst="rect">
            <a:avLst/>
          </a:prstGeom>
        </p:spPr>
        <p:txBody>
          <a:bodyPr>
            <a:noAutofit/>
          </a:bodyPr>
          <a:lstStyle>
            <a:lvl1pPr marL="0" indent="0" rtl="0">
              <a:lnSpc>
                <a:spcPct val="100000"/>
              </a:lnSpc>
              <a:spcBef>
                <a:spcPts val="0"/>
              </a:spcBef>
              <a:spcAft>
                <a:spcPts val="400"/>
              </a:spcAft>
              <a:buNone/>
              <a:defRPr sz="1200" b="1" cap="none" spc="0" baseline="0">
                <a:solidFill>
                  <a:schemeClr val="tx1"/>
                </a:solidFill>
              </a:defRPr>
            </a:lvl1pPr>
            <a:lvl2pPr marL="0" indent="0" rtl="0">
              <a:lnSpc>
                <a:spcPct val="100000"/>
              </a:lnSpc>
              <a:spcBef>
                <a:spcPts val="0"/>
              </a:spcBef>
              <a:spcAft>
                <a:spcPts val="400"/>
              </a:spcAft>
              <a:buFontTx/>
              <a:buNone/>
              <a:defRPr sz="1200">
                <a:solidFill>
                  <a:schemeClr val="tx1"/>
                </a:solidFill>
              </a:defRPr>
            </a:lvl2pPr>
            <a:lvl3pPr marL="0" indent="0" rtl="0">
              <a:lnSpc>
                <a:spcPct val="100000"/>
              </a:lnSpc>
              <a:spcBef>
                <a:spcPts val="0"/>
              </a:spcBef>
              <a:spcAft>
                <a:spcPts val="400"/>
              </a:spcAft>
              <a:buSzPct val="100000"/>
              <a:buFontTx/>
              <a:buNone/>
              <a:defRPr sz="1200">
                <a:solidFill>
                  <a:schemeClr val="tx1"/>
                </a:solidFill>
              </a:defRPr>
            </a:lvl3pPr>
            <a:lvl4pPr marL="0" indent="0">
              <a:lnSpc>
                <a:spcPct val="100000"/>
              </a:lnSpc>
              <a:spcBef>
                <a:spcPts val="0"/>
              </a:spcBef>
              <a:spcAft>
                <a:spcPts val="400"/>
              </a:spcAft>
              <a:buSzPct val="100000"/>
              <a:buFontTx/>
              <a:buNone/>
              <a:defRPr sz="1200">
                <a:solidFill>
                  <a:schemeClr val="tx1"/>
                </a:solidFill>
              </a:defRPr>
            </a:lvl4pPr>
            <a:lvl5pPr marL="0" indent="0" rtl="0">
              <a:lnSpc>
                <a:spcPct val="100000"/>
              </a:lnSpc>
              <a:spcBef>
                <a:spcPts val="0"/>
              </a:spcBef>
              <a:spcAft>
                <a:spcPts val="400"/>
              </a:spcAft>
              <a:buSzPct val="100000"/>
              <a:buFontTx/>
              <a:buNone/>
              <a:defRPr sz="1200">
                <a:solidFill>
                  <a:schemeClr val="tx1"/>
                </a:solidFill>
              </a:defRPr>
            </a:lvl5pPr>
          </a:lstStyle>
          <a:p>
            <a:pPr lvl="0"/>
            <a:r>
              <a:rPr lang="de-DE" dirty="0"/>
              <a:t>Vorname Nachname</a:t>
            </a:r>
          </a:p>
          <a:p>
            <a:pPr lvl="1"/>
            <a:r>
              <a:rPr lang="de-DE" dirty="0"/>
              <a:t>Position</a:t>
            </a:r>
          </a:p>
          <a:p>
            <a:pPr lvl="2"/>
            <a:r>
              <a:rPr lang="de-DE" dirty="0"/>
              <a:t>T +49 30 25 76 79 - </a:t>
            </a:r>
          </a:p>
          <a:p>
            <a:pPr lvl="2"/>
            <a:r>
              <a:rPr lang="de-DE" dirty="0"/>
              <a:t>M +49 </a:t>
            </a:r>
          </a:p>
          <a:p>
            <a:pPr lvl="4"/>
            <a:r>
              <a:rPr lang="de-DE" dirty="0"/>
              <a:t>Vorname.Nachname@pd-g.de</a:t>
            </a:r>
          </a:p>
        </p:txBody>
      </p:sp>
      <p:pic>
        <p:nvPicPr>
          <p:cNvPr id="49" name="Grafik 4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376886" y="5537145"/>
            <a:ext cx="687504" cy="1145193"/>
          </a:xfrm>
          <a:prstGeom prst="rect">
            <a:avLst/>
          </a:prstGeom>
        </p:spPr>
      </p:pic>
    </p:spTree>
    <p:extLst>
      <p:ext uri="{BB962C8B-B14F-4D97-AF65-F5344CB8AC3E}">
        <p14:creationId xmlns:p14="http://schemas.microsoft.com/office/powerpoint/2010/main" val="1208410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bschlussfoli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9973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3600" b="1" i="1" baseline="0" dirty="0">
              <a:latin typeface="Calibri" panose="020F0502020204030204" pitchFamily="34" charset="0"/>
              <a:ea typeface="+mj-ea"/>
              <a:cs typeface="+mj-cs"/>
              <a:sym typeface="Calibri" panose="020F0502020204030204" pitchFamily="34" charset="0"/>
            </a:endParaRPr>
          </a:p>
        </p:txBody>
      </p:sp>
      <p:pic>
        <p:nvPicPr>
          <p:cNvPr id="15" name="Bildplatzhalter 7"/>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8905" y="2009661"/>
            <a:ext cx="12207255" cy="4835640"/>
          </a:xfrm>
          <a:prstGeom prst="rect">
            <a:avLst/>
          </a:prstGeom>
        </p:spPr>
      </p:pic>
      <p:sp>
        <p:nvSpPr>
          <p:cNvPr id="23" name="Freihandform 22"/>
          <p:cNvSpPr/>
          <p:nvPr userDrawn="1"/>
        </p:nvSpPr>
        <p:spPr>
          <a:xfrm>
            <a:off x="10104120" y="1447800"/>
            <a:ext cx="2098040" cy="1107440"/>
          </a:xfrm>
          <a:custGeom>
            <a:avLst/>
            <a:gdLst>
              <a:gd name="connsiteX0" fmla="*/ 2098040 w 2098040"/>
              <a:gd name="connsiteY0" fmla="*/ 0 h 1107440"/>
              <a:gd name="connsiteX1" fmla="*/ 2098040 w 2098040"/>
              <a:gd name="connsiteY1" fmla="*/ 1107440 h 1107440"/>
              <a:gd name="connsiteX2" fmla="*/ 0 w 2098040"/>
              <a:gd name="connsiteY2" fmla="*/ 558800 h 1107440"/>
              <a:gd name="connsiteX3" fmla="*/ 2098040 w 2098040"/>
              <a:gd name="connsiteY3" fmla="*/ 0 h 1107440"/>
            </a:gdLst>
            <a:ahLst/>
            <a:cxnLst>
              <a:cxn ang="0">
                <a:pos x="connsiteX0" y="connsiteY0"/>
              </a:cxn>
              <a:cxn ang="0">
                <a:pos x="connsiteX1" y="connsiteY1"/>
              </a:cxn>
              <a:cxn ang="0">
                <a:pos x="connsiteX2" y="connsiteY2"/>
              </a:cxn>
              <a:cxn ang="0">
                <a:pos x="connsiteX3" y="connsiteY3"/>
              </a:cxn>
            </a:cxnLst>
            <a:rect l="l" t="t" r="r" b="b"/>
            <a:pathLst>
              <a:path w="2098040" h="1107440">
                <a:moveTo>
                  <a:pt x="2098040" y="0"/>
                </a:moveTo>
                <a:lnTo>
                  <a:pt x="2098040" y="1107440"/>
                </a:lnTo>
                <a:lnTo>
                  <a:pt x="0" y="558800"/>
                </a:lnTo>
                <a:lnTo>
                  <a:pt x="2098040" y="0"/>
                </a:lnTo>
                <a:close/>
              </a:path>
            </a:pathLst>
          </a:custGeom>
          <a:solidFill>
            <a:srgbClr val="FFD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24" name="Freihandform 23"/>
          <p:cNvSpPr/>
          <p:nvPr userDrawn="1"/>
        </p:nvSpPr>
        <p:spPr>
          <a:xfrm>
            <a:off x="-5862" y="-11723"/>
            <a:ext cx="10152185" cy="4753708"/>
          </a:xfrm>
          <a:custGeom>
            <a:avLst/>
            <a:gdLst>
              <a:gd name="connsiteX0" fmla="*/ 0 w 10152185"/>
              <a:gd name="connsiteY0" fmla="*/ 0 h 4753708"/>
              <a:gd name="connsiteX1" fmla="*/ 0 w 10152185"/>
              <a:gd name="connsiteY1" fmla="*/ 4753708 h 4753708"/>
              <a:gd name="connsiteX2" fmla="*/ 10152185 w 10152185"/>
              <a:gd name="connsiteY2" fmla="*/ 2022231 h 4753708"/>
              <a:gd name="connsiteX3" fmla="*/ 2620108 w 10152185"/>
              <a:gd name="connsiteY3" fmla="*/ 11723 h 4753708"/>
              <a:gd name="connsiteX4" fmla="*/ 0 w 10152185"/>
              <a:gd name="connsiteY4" fmla="*/ 0 h 4753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2185" h="4753708">
                <a:moveTo>
                  <a:pt x="0" y="0"/>
                </a:moveTo>
                <a:lnTo>
                  <a:pt x="0" y="4753708"/>
                </a:lnTo>
                <a:lnTo>
                  <a:pt x="10152185" y="2022231"/>
                </a:lnTo>
                <a:lnTo>
                  <a:pt x="2620108" y="11723"/>
                </a:lnTo>
                <a:lnTo>
                  <a:pt x="0" y="0"/>
                </a:lnTo>
                <a:close/>
              </a:path>
            </a:pathLst>
          </a:custGeom>
          <a:solidFill>
            <a:srgbClr val="FFD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0" name="Grafik 9">
            <a:extLst>
              <a:ext uri="{FF2B5EF4-FFF2-40B4-BE49-F238E27FC236}">
                <a16:creationId xmlns:a16="http://schemas.microsoft.com/office/drawing/2014/main" id="{6BC388CC-E7B9-B34D-83CF-9F70C8F6C195}"/>
              </a:ext>
            </a:extLst>
          </p:cNvPr>
          <p:cNvPicPr>
            <a:picLocks noChangeAspect="1"/>
          </p:cNvPicPr>
          <p:nvPr userDrawn="1"/>
        </p:nvPicPr>
        <p:blipFill>
          <a:blip r:embed="rId7"/>
          <a:stretch>
            <a:fillRect/>
          </a:stretch>
        </p:blipFill>
        <p:spPr>
          <a:xfrm>
            <a:off x="9525686" y="1689"/>
            <a:ext cx="1899683" cy="1440000"/>
          </a:xfrm>
          <a:prstGeom prst="rect">
            <a:avLst/>
          </a:prstGeom>
        </p:spPr>
      </p:pic>
      <p:sp>
        <p:nvSpPr>
          <p:cNvPr id="12" name="Inhaltsplatzhalter 3">
            <a:extLst>
              <a:ext uri="{FF2B5EF4-FFF2-40B4-BE49-F238E27FC236}">
                <a16:creationId xmlns:a16="http://schemas.microsoft.com/office/drawing/2014/main" id="{B4DBBE2F-D7F4-0D44-A6B9-2CAA90BA4656}"/>
              </a:ext>
            </a:extLst>
          </p:cNvPr>
          <p:cNvSpPr txBox="1">
            <a:spLocks/>
          </p:cNvSpPr>
          <p:nvPr userDrawn="1"/>
        </p:nvSpPr>
        <p:spPr>
          <a:xfrm>
            <a:off x="701959" y="1601788"/>
            <a:ext cx="4178010" cy="607551"/>
          </a:xfrm>
          <a:prstGeom prst="rect">
            <a:avLst/>
          </a:prstGeom>
        </p:spPr>
        <p:txBody>
          <a:bodyPr lIns="0" tIns="0" rIns="0" bIns="0" rtlCol="0">
            <a:no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ts val="1200"/>
              </a:lnSpc>
              <a:spcAft>
                <a:spcPts val="0"/>
              </a:spcAft>
              <a:buNone/>
              <a:defRPr/>
            </a:pPr>
            <a:r>
              <a:rPr lang="de-DE" altLang="de-DE" sz="1000" b="1" dirty="0">
                <a:solidFill>
                  <a:schemeClr val="tx1"/>
                </a:solidFill>
                <a:latin typeface="Calibri" panose="020F0502020204030204" pitchFamily="34" charset="0"/>
                <a:cs typeface="Calibri" panose="020F0502020204030204" pitchFamily="34" charset="0"/>
              </a:rPr>
              <a:t>PD – Berater der öffentlichen Hand GmbH</a:t>
            </a:r>
            <a:br>
              <a:rPr lang="de-DE" altLang="de-DE" sz="1000" b="1" dirty="0">
                <a:solidFill>
                  <a:schemeClr val="tx1"/>
                </a:solidFill>
                <a:latin typeface="Calibri" panose="020F0502020204030204" pitchFamily="34" charset="0"/>
                <a:cs typeface="Calibri" panose="020F0502020204030204" pitchFamily="34" charset="0"/>
              </a:rPr>
            </a:br>
            <a:r>
              <a:rPr lang="de-DE" altLang="de-DE" sz="1000" dirty="0">
                <a:solidFill>
                  <a:schemeClr val="tx1"/>
                </a:solidFill>
                <a:latin typeface="Calibri" panose="020F0502020204030204" pitchFamily="34" charset="0"/>
                <a:cs typeface="Calibri" panose="020F0502020204030204" pitchFamily="34" charset="0"/>
              </a:rPr>
              <a:t>Friedrichstraße 149, 10117 Berlin</a:t>
            </a:r>
            <a:br>
              <a:rPr lang="de-DE" altLang="de-DE" sz="1000" dirty="0">
                <a:solidFill>
                  <a:schemeClr val="tx1"/>
                </a:solidFill>
                <a:latin typeface="Calibri" panose="020F0502020204030204" pitchFamily="34" charset="0"/>
                <a:cs typeface="Calibri" panose="020F0502020204030204" pitchFamily="34" charset="0"/>
              </a:rPr>
            </a:br>
            <a:r>
              <a:rPr lang="de-DE" altLang="de-DE" sz="1000" dirty="0">
                <a:solidFill>
                  <a:schemeClr val="tx1"/>
                </a:solidFill>
                <a:latin typeface="Calibri" panose="020F0502020204030204" pitchFamily="34" charset="0"/>
                <a:cs typeface="Calibri" panose="020F0502020204030204" pitchFamily="34" charset="0"/>
              </a:rPr>
              <a:t>T +49 30 25 76 79 - 0			</a:t>
            </a:r>
            <a:br>
              <a:rPr lang="de-DE" sz="1000" dirty="0">
                <a:solidFill>
                  <a:schemeClr val="tx1"/>
                </a:solidFill>
                <a:latin typeface="Calibri" panose="020F0502020204030204" pitchFamily="34" charset="0"/>
                <a:cs typeface="Calibri" panose="020F0502020204030204" pitchFamily="34" charset="0"/>
              </a:rPr>
            </a:br>
            <a:r>
              <a:rPr lang="de-DE" altLang="de-DE" sz="1000" dirty="0">
                <a:solidFill>
                  <a:schemeClr val="tx1"/>
                </a:solidFill>
                <a:latin typeface="Calibri" panose="020F0502020204030204" pitchFamily="34" charset="0"/>
                <a:cs typeface="Calibri" panose="020F0502020204030204" pitchFamily="34" charset="0"/>
              </a:rPr>
              <a:t>F</a:t>
            </a:r>
            <a:r>
              <a:rPr lang="de-DE" altLang="de-DE" sz="1000" baseline="0" dirty="0">
                <a:solidFill>
                  <a:schemeClr val="tx1"/>
                </a:solidFill>
                <a:latin typeface="Calibri" panose="020F0502020204030204" pitchFamily="34" charset="0"/>
                <a:cs typeface="Calibri" panose="020F0502020204030204" pitchFamily="34" charset="0"/>
              </a:rPr>
              <a:t> </a:t>
            </a:r>
            <a:r>
              <a:rPr lang="de-DE" altLang="de-DE" sz="1000" dirty="0">
                <a:solidFill>
                  <a:schemeClr val="tx1"/>
                </a:solidFill>
                <a:latin typeface="Calibri" panose="020F0502020204030204" pitchFamily="34" charset="0"/>
                <a:cs typeface="Calibri" panose="020F0502020204030204" pitchFamily="34" charset="0"/>
              </a:rPr>
              <a:t>+49 30 25 76 79 - 199					</a:t>
            </a:r>
            <a:endParaRPr lang="de-DE" sz="1000" dirty="0">
              <a:solidFill>
                <a:schemeClr val="tx1"/>
              </a:solidFill>
              <a:latin typeface="Calibri" panose="020F0502020204030204" pitchFamily="34" charset="0"/>
              <a:cs typeface="Calibri" panose="020F0502020204030204" pitchFamily="34" charset="0"/>
            </a:endParaRPr>
          </a:p>
        </p:txBody>
      </p:sp>
      <p:sp>
        <p:nvSpPr>
          <p:cNvPr id="13" name="Inhaltsplatzhalter 3">
            <a:hlinkClick r:id="" action="ppaction://noaction"/>
            <a:extLst>
              <a:ext uri="{FF2B5EF4-FFF2-40B4-BE49-F238E27FC236}">
                <a16:creationId xmlns:a16="http://schemas.microsoft.com/office/drawing/2014/main" id="{C52E7BFA-99D1-B848-BB73-657C91402277}"/>
              </a:ext>
            </a:extLst>
          </p:cNvPr>
          <p:cNvSpPr txBox="1">
            <a:spLocks/>
          </p:cNvSpPr>
          <p:nvPr userDrawn="1"/>
        </p:nvSpPr>
        <p:spPr>
          <a:xfrm>
            <a:off x="701959" y="2493326"/>
            <a:ext cx="868598" cy="186352"/>
          </a:xfrm>
          <a:prstGeom prst="rect">
            <a:avLst/>
          </a:prstGeom>
        </p:spPr>
        <p:txBody>
          <a:bodyPr lIns="0" tIns="0" rIns="0" bIns="0" rtlCol="0">
            <a:no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ts val="1200"/>
              </a:lnSpc>
              <a:spcAft>
                <a:spcPts val="0"/>
              </a:spcAft>
              <a:buNone/>
              <a:defRPr/>
            </a:pPr>
            <a:r>
              <a:rPr lang="de-DE" altLang="de-DE" sz="1000" dirty="0">
                <a:solidFill>
                  <a:schemeClr val="tx1"/>
                </a:solidFill>
                <a:latin typeface="Calibri" panose="020F0502020204030204" pitchFamily="34" charset="0"/>
                <a:cs typeface="Calibri" panose="020F0502020204030204" pitchFamily="34" charset="0"/>
              </a:rPr>
              <a:t>info@pd-g.de</a:t>
            </a:r>
            <a:endParaRPr lang="de-DE" sz="1000" dirty="0">
              <a:solidFill>
                <a:schemeClr val="tx1"/>
              </a:solidFill>
              <a:latin typeface="Calibri" panose="020F0502020204030204" pitchFamily="34" charset="0"/>
              <a:cs typeface="Calibri" panose="020F0502020204030204" pitchFamily="34" charset="0"/>
            </a:endParaRPr>
          </a:p>
        </p:txBody>
      </p:sp>
      <p:grpSp>
        <p:nvGrpSpPr>
          <p:cNvPr id="2" name="Gruppieren 1">
            <a:extLst>
              <a:ext uri="{FF2B5EF4-FFF2-40B4-BE49-F238E27FC236}">
                <a16:creationId xmlns:a16="http://schemas.microsoft.com/office/drawing/2014/main" id="{5550854C-E056-459D-8FBC-06FA9FC6D1F4}"/>
              </a:ext>
            </a:extLst>
          </p:cNvPr>
          <p:cNvGrpSpPr/>
          <p:nvPr userDrawn="1"/>
        </p:nvGrpSpPr>
        <p:grpSpPr>
          <a:xfrm>
            <a:off x="-6350" y="4966797"/>
            <a:ext cx="12204699" cy="1891204"/>
            <a:chOff x="-6350" y="4966797"/>
            <a:chExt cx="12204699" cy="1891204"/>
          </a:xfrm>
        </p:grpSpPr>
        <p:pic>
          <p:nvPicPr>
            <p:cNvPr id="14" name="Grafik 13"/>
            <p:cNvPicPr>
              <a:picLocks noChangeAspect="1"/>
            </p:cNvPicPr>
            <p:nvPr userDrawn="1"/>
          </p:nvPicPr>
          <p:blipFill rotWithShape="1">
            <a:blip r:embed="rId8" cstate="print">
              <a:extLst>
                <a:ext uri="{28A0092B-C50C-407E-A947-70E740481C1C}">
                  <a14:useLocalDpi xmlns:a14="http://schemas.microsoft.com/office/drawing/2010/main" val="0"/>
                </a:ext>
              </a:extLst>
            </a:blip>
            <a:srcRect l="208" r="138"/>
            <a:stretch/>
          </p:blipFill>
          <p:spPr>
            <a:xfrm>
              <a:off x="-6350" y="4966797"/>
              <a:ext cx="12204699" cy="1891204"/>
            </a:xfrm>
            <a:prstGeom prst="rect">
              <a:avLst/>
            </a:prstGeom>
          </p:spPr>
        </p:pic>
        <p:sp>
          <p:nvSpPr>
            <p:cNvPr id="11" name="Inhaltsplatzhalter 3">
              <a:extLst>
                <a:ext uri="{FF2B5EF4-FFF2-40B4-BE49-F238E27FC236}">
                  <a16:creationId xmlns:a16="http://schemas.microsoft.com/office/drawing/2014/main" id="{B4DBBE2F-D7F4-0D44-A6B9-2CAA90BA4656}"/>
                </a:ext>
              </a:extLst>
            </p:cNvPr>
            <p:cNvSpPr txBox="1">
              <a:spLocks/>
            </p:cNvSpPr>
            <p:nvPr userDrawn="1"/>
          </p:nvSpPr>
          <p:spPr bwMode="gray">
            <a:xfrm>
              <a:off x="701959" y="6374735"/>
              <a:ext cx="4572452" cy="323165"/>
            </a:xfrm>
            <a:prstGeom prst="rect">
              <a:avLst/>
            </a:prstGeom>
          </p:spPr>
          <p:txBody>
            <a:bodyPr wrap="square" lIns="0" tIns="0" rIns="0" bIns="0" rtlCol="0" anchor="b" anchorCtr="0">
              <a:sp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ct val="100000"/>
                </a:lnSpc>
                <a:spcBef>
                  <a:spcPts val="0"/>
                </a:spcBef>
                <a:spcAft>
                  <a:spcPts val="0"/>
                </a:spcAft>
                <a:buNone/>
                <a:defRPr/>
              </a:pPr>
              <a:r>
                <a:rPr lang="de-DE" altLang="de-DE" sz="700" b="0" dirty="0">
                  <a:solidFill>
                    <a:schemeClr val="bg1"/>
                  </a:solidFill>
                  <a:latin typeface="Calibri" panose="020F0502020204030204" pitchFamily="34" charset="0"/>
                  <a:cs typeface="Calibri" panose="020F0502020204030204" pitchFamily="34" charset="0"/>
                </a:rPr>
                <a:t>Diese Präsentation ist Eigentum der PD – Berater der öffentlichen Hand GmbH. </a:t>
              </a:r>
              <a:br>
                <a:rPr lang="de-DE" altLang="de-DE" sz="700" b="0" dirty="0">
                  <a:solidFill>
                    <a:schemeClr val="bg1"/>
                  </a:solidFill>
                  <a:latin typeface="Calibri" panose="020F0502020204030204" pitchFamily="34" charset="0"/>
                  <a:cs typeface="Calibri" panose="020F0502020204030204" pitchFamily="34" charset="0"/>
                </a:rPr>
              </a:br>
              <a:r>
                <a:rPr lang="de-DE" altLang="de-DE" sz="700" b="0" dirty="0">
                  <a:solidFill>
                    <a:schemeClr val="bg1"/>
                  </a:solidFill>
                  <a:latin typeface="Calibri" panose="020F0502020204030204" pitchFamily="34" charset="0"/>
                  <a:cs typeface="Calibri" panose="020F0502020204030204" pitchFamily="34" charset="0"/>
                </a:rPr>
                <a:t>Jede Verwertung, Weitergabe oder Verwendung ohne Zustimmung ist unzulässig.</a:t>
              </a:r>
            </a:p>
            <a:p>
              <a:pPr marL="0" indent="0" rtl="0" fontAlgn="auto">
                <a:lnSpc>
                  <a:spcPct val="100000"/>
                </a:lnSpc>
                <a:spcBef>
                  <a:spcPts val="0"/>
                </a:spcBef>
                <a:spcAft>
                  <a:spcPts val="0"/>
                </a:spcAft>
                <a:buNone/>
                <a:defRPr/>
              </a:pPr>
              <a:r>
                <a:rPr lang="de-DE" altLang="de-DE" sz="700" b="0" dirty="0">
                  <a:solidFill>
                    <a:schemeClr val="bg1"/>
                  </a:solidFill>
                  <a:latin typeface="Calibri" panose="020F0502020204030204" pitchFamily="34" charset="0"/>
                  <a:cs typeface="Calibri" panose="020F0502020204030204" pitchFamily="34" charset="0"/>
                </a:rPr>
                <a:t>© 2022 PD – Berater der öffentlichen Hand GmbH</a:t>
              </a:r>
            </a:p>
          </p:txBody>
        </p:sp>
      </p:grpSp>
      <p:sp>
        <p:nvSpPr>
          <p:cNvPr id="16" name="Inhaltsplatzhalter 3">
            <a:hlinkClick r:id="" action="ppaction://noaction"/>
            <a:extLst>
              <a:ext uri="{FF2B5EF4-FFF2-40B4-BE49-F238E27FC236}">
                <a16:creationId xmlns:a16="http://schemas.microsoft.com/office/drawing/2014/main" id="{C03378B2-87EC-43F6-BC2A-4CBB9C39DBCF}"/>
              </a:ext>
            </a:extLst>
          </p:cNvPr>
          <p:cNvSpPr txBox="1">
            <a:spLocks/>
          </p:cNvSpPr>
          <p:nvPr userDrawn="1"/>
        </p:nvSpPr>
        <p:spPr>
          <a:xfrm>
            <a:off x="701959" y="2666584"/>
            <a:ext cx="868598" cy="186352"/>
          </a:xfrm>
          <a:prstGeom prst="rect">
            <a:avLst/>
          </a:prstGeom>
        </p:spPr>
        <p:txBody>
          <a:bodyPr lIns="0" tIns="0" rIns="0" bIns="0" rtlCol="0">
            <a:noAutofit/>
          </a:bodyPr>
          <a:lstStyle>
            <a:lvl1pPr marL="285750" indent="-285750" algn="l" defTabSz="457200" rtl="0" eaLnBrk="1" fontAlgn="base" latinLnBrk="0" hangingPunct="1">
              <a:spcBef>
                <a:spcPts val="500"/>
              </a:spcBef>
              <a:spcAft>
                <a:spcPct val="0"/>
              </a:spcAft>
              <a:buFont typeface="Symbol" panose="05050102010706020507" pitchFamily="18" charset="2"/>
              <a:buChar char="-"/>
              <a:defRPr lang="de-DE" altLang="de-DE" sz="1500" b="0" kern="1200" dirty="0" smtClean="0">
                <a:solidFill>
                  <a:schemeClr val="tx1"/>
                </a:solidFill>
                <a:latin typeface="Arial" panose="020B0604020202020204" pitchFamily="34" charset="0"/>
                <a:ea typeface="+mn-ea"/>
                <a:cs typeface="Arial" panose="020B0604020202020204" pitchFamily="34" charset="0"/>
              </a:defRPr>
            </a:lvl1pPr>
            <a:lvl2pPr marL="141124" indent="0" algn="l" defTabSz="685792" rtl="0" eaLnBrk="1" latinLnBrk="0" hangingPunct="1">
              <a:spcBef>
                <a:spcPts val="635"/>
              </a:spcBef>
              <a:buFont typeface="Arial" pitchFamily="34" charset="0"/>
              <a:buNone/>
              <a:defRPr sz="1500" b="0" kern="1200">
                <a:solidFill>
                  <a:srgbClr val="003764"/>
                </a:solidFill>
                <a:latin typeface="Arial" pitchFamily="34" charset="0"/>
                <a:ea typeface="+mn-ea"/>
                <a:cs typeface="Arial" pitchFamily="34" charset="0"/>
              </a:defRPr>
            </a:lvl2pPr>
            <a:lvl3pPr marL="287288"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3pPr>
            <a:lvl4pPr marL="428413" indent="0" algn="l" defTabSz="685792" rtl="0" eaLnBrk="1" latinLnBrk="0" hangingPunct="1">
              <a:spcBef>
                <a:spcPts val="476"/>
              </a:spcBef>
              <a:buFont typeface="Arial" pitchFamily="34" charset="0"/>
              <a:buNone/>
              <a:defRPr sz="1500" b="0" kern="1200">
                <a:solidFill>
                  <a:srgbClr val="003764"/>
                </a:solidFill>
                <a:latin typeface="Arial" pitchFamily="34" charset="0"/>
                <a:ea typeface="+mn-ea"/>
                <a:cs typeface="Arial" pitchFamily="34" charset="0"/>
              </a:defRPr>
            </a:lvl4pPr>
            <a:lvl5pPr marL="0" indent="0" algn="l" defTabSz="685792" rtl="0" eaLnBrk="1" latinLnBrk="0" hangingPunct="1">
              <a:spcBef>
                <a:spcPts val="1270"/>
              </a:spcBef>
              <a:buFont typeface="Arial" panose="020B0604020202020204" pitchFamily="34" charset="0"/>
              <a:buNone/>
              <a:defRPr sz="1500" b="0" kern="1200">
                <a:solidFill>
                  <a:srgbClr val="003764"/>
                </a:solidFill>
                <a:latin typeface="Arial" pitchFamily="34" charset="0"/>
                <a:ea typeface="+mn-ea"/>
                <a:cs typeface="Arial" pitchFamily="34" charset="0"/>
              </a:defRPr>
            </a:lvl5pPr>
            <a:lvl6pPr marL="1885927"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6pPr>
            <a:lvl7pPr marL="2228823"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7pPr>
            <a:lvl8pPr marL="2571719"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8pPr>
            <a:lvl9pPr marL="2914614" indent="-171448" algn="l" defTabSz="685792" rtl="0" eaLnBrk="1" latinLnBrk="0" hangingPunct="1">
              <a:spcBef>
                <a:spcPct val="20000"/>
              </a:spcBef>
              <a:buFont typeface="Arial" pitchFamily="34" charset="0"/>
              <a:buChar char="•"/>
              <a:defRPr sz="1508" kern="1200">
                <a:solidFill>
                  <a:schemeClr val="tx1"/>
                </a:solidFill>
                <a:latin typeface="+mn-lt"/>
                <a:ea typeface="+mn-ea"/>
                <a:cs typeface="+mn-cs"/>
              </a:defRPr>
            </a:lvl9pPr>
          </a:lstStyle>
          <a:p>
            <a:pPr marL="0" indent="0" rtl="0" fontAlgn="auto">
              <a:lnSpc>
                <a:spcPts val="1200"/>
              </a:lnSpc>
              <a:spcAft>
                <a:spcPts val="0"/>
              </a:spcAft>
              <a:buNone/>
              <a:defRPr/>
            </a:pPr>
            <a:r>
              <a:rPr lang="de-DE" altLang="de-DE" sz="1000" dirty="0">
                <a:solidFill>
                  <a:schemeClr val="tx1"/>
                </a:solidFill>
                <a:latin typeface="Calibri" panose="020F0502020204030204" pitchFamily="34" charset="0"/>
                <a:cs typeface="Calibri" panose="020F0502020204030204" pitchFamily="34" charset="0"/>
              </a:rPr>
              <a:t>www.pd-g.de</a:t>
            </a:r>
            <a:endParaRPr lang="de-DE" sz="1000" dirty="0">
              <a:solidFill>
                <a:schemeClr val="tx1"/>
              </a:solidFill>
              <a:latin typeface="Calibri" panose="020F0502020204030204" pitchFamily="34" charset="0"/>
              <a:cs typeface="Calibri" panose="020F0502020204030204" pitchFamily="34" charset="0"/>
            </a:endParaRPr>
          </a:p>
        </p:txBody>
      </p:sp>
      <p:pic>
        <p:nvPicPr>
          <p:cNvPr id="17" name="Grafik 16"/>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376886" y="5537145"/>
            <a:ext cx="687504" cy="1145193"/>
          </a:xfrm>
          <a:prstGeom prst="rect">
            <a:avLst/>
          </a:prstGeom>
        </p:spPr>
      </p:pic>
    </p:spTree>
    <p:extLst>
      <p:ext uri="{BB962C8B-B14F-4D97-AF65-F5344CB8AC3E}">
        <p14:creationId xmlns:p14="http://schemas.microsoft.com/office/powerpoint/2010/main" val="403561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511951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de-DE" sz="3600" b="1" i="1" baseline="0" dirty="0">
              <a:latin typeface="Calibri" panose="020F0502020204030204" pitchFamily="34" charset="0"/>
              <a:ea typeface="+mj-ea"/>
              <a:cs typeface="+mj-cs"/>
              <a:sym typeface="Calibri" panose="020F0502020204030204" pitchFamily="34" charset="0"/>
            </a:endParaRPr>
          </a:p>
        </p:txBody>
      </p:sp>
      <p:sp>
        <p:nvSpPr>
          <p:cNvPr id="12" name="Freihandform 11"/>
          <p:cNvSpPr/>
          <p:nvPr userDrawn="1"/>
        </p:nvSpPr>
        <p:spPr>
          <a:xfrm>
            <a:off x="-5862" y="-19050"/>
            <a:ext cx="10152185" cy="4767385"/>
          </a:xfrm>
          <a:custGeom>
            <a:avLst/>
            <a:gdLst>
              <a:gd name="connsiteX0" fmla="*/ 0 w 10152185"/>
              <a:gd name="connsiteY0" fmla="*/ 0 h 4753708"/>
              <a:gd name="connsiteX1" fmla="*/ 0 w 10152185"/>
              <a:gd name="connsiteY1" fmla="*/ 4753708 h 4753708"/>
              <a:gd name="connsiteX2" fmla="*/ 10152185 w 10152185"/>
              <a:gd name="connsiteY2" fmla="*/ 2022231 h 4753708"/>
              <a:gd name="connsiteX3" fmla="*/ 2620108 w 10152185"/>
              <a:gd name="connsiteY3" fmla="*/ 11723 h 4753708"/>
              <a:gd name="connsiteX4" fmla="*/ 0 w 10152185"/>
              <a:gd name="connsiteY4" fmla="*/ 0 h 4753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52185" h="4753708">
                <a:moveTo>
                  <a:pt x="0" y="0"/>
                </a:moveTo>
                <a:lnTo>
                  <a:pt x="0" y="4753708"/>
                </a:lnTo>
                <a:lnTo>
                  <a:pt x="10152185" y="2022231"/>
                </a:lnTo>
                <a:lnTo>
                  <a:pt x="2620108" y="11723"/>
                </a:lnTo>
                <a:lnTo>
                  <a:pt x="0" y="0"/>
                </a:lnTo>
                <a:close/>
              </a:path>
            </a:pathLst>
          </a:custGeom>
          <a:solidFill>
            <a:srgbClr val="FFD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sp>
        <p:nvSpPr>
          <p:cNvPr id="13" name="Freihandform 12"/>
          <p:cNvSpPr/>
          <p:nvPr userDrawn="1"/>
        </p:nvSpPr>
        <p:spPr>
          <a:xfrm>
            <a:off x="10104120" y="1454150"/>
            <a:ext cx="2098040" cy="1107440"/>
          </a:xfrm>
          <a:custGeom>
            <a:avLst/>
            <a:gdLst>
              <a:gd name="connsiteX0" fmla="*/ 2098040 w 2098040"/>
              <a:gd name="connsiteY0" fmla="*/ 0 h 1107440"/>
              <a:gd name="connsiteX1" fmla="*/ 2098040 w 2098040"/>
              <a:gd name="connsiteY1" fmla="*/ 1107440 h 1107440"/>
              <a:gd name="connsiteX2" fmla="*/ 0 w 2098040"/>
              <a:gd name="connsiteY2" fmla="*/ 558800 h 1107440"/>
              <a:gd name="connsiteX3" fmla="*/ 2098040 w 2098040"/>
              <a:gd name="connsiteY3" fmla="*/ 0 h 1107440"/>
            </a:gdLst>
            <a:ahLst/>
            <a:cxnLst>
              <a:cxn ang="0">
                <a:pos x="connsiteX0" y="connsiteY0"/>
              </a:cxn>
              <a:cxn ang="0">
                <a:pos x="connsiteX1" y="connsiteY1"/>
              </a:cxn>
              <a:cxn ang="0">
                <a:pos x="connsiteX2" y="connsiteY2"/>
              </a:cxn>
              <a:cxn ang="0">
                <a:pos x="connsiteX3" y="connsiteY3"/>
              </a:cxn>
            </a:cxnLst>
            <a:rect l="l" t="t" r="r" b="b"/>
            <a:pathLst>
              <a:path w="2098040" h="1107440">
                <a:moveTo>
                  <a:pt x="2098040" y="0"/>
                </a:moveTo>
                <a:lnTo>
                  <a:pt x="2098040" y="1107440"/>
                </a:lnTo>
                <a:lnTo>
                  <a:pt x="0" y="558800"/>
                </a:lnTo>
                <a:lnTo>
                  <a:pt x="2098040" y="0"/>
                </a:lnTo>
                <a:close/>
              </a:path>
            </a:pathLst>
          </a:custGeom>
          <a:solidFill>
            <a:srgbClr val="FFD4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dirty="0"/>
          </a:p>
        </p:txBody>
      </p:sp>
      <p:pic>
        <p:nvPicPr>
          <p:cNvPr id="10" name="Grafik 9">
            <a:extLst>
              <a:ext uri="{FF2B5EF4-FFF2-40B4-BE49-F238E27FC236}">
                <a16:creationId xmlns:a16="http://schemas.microsoft.com/office/drawing/2014/main" id="{6BC388CC-E7B9-B34D-83CF-9F70C8F6C195}"/>
              </a:ext>
            </a:extLst>
          </p:cNvPr>
          <p:cNvPicPr>
            <a:picLocks noChangeAspect="1"/>
          </p:cNvPicPr>
          <p:nvPr userDrawn="1"/>
        </p:nvPicPr>
        <p:blipFill>
          <a:blip r:embed="rId6"/>
          <a:stretch>
            <a:fillRect/>
          </a:stretch>
        </p:blipFill>
        <p:spPr>
          <a:xfrm>
            <a:off x="9525686" y="1689"/>
            <a:ext cx="1899683" cy="1440000"/>
          </a:xfrm>
          <a:prstGeom prst="rect">
            <a:avLst/>
          </a:prstGeom>
        </p:spPr>
      </p:pic>
      <p:sp>
        <p:nvSpPr>
          <p:cNvPr id="11" name="Picture Placeholder 4"/>
          <p:cNvSpPr>
            <a:spLocks noGrp="1"/>
          </p:cNvSpPr>
          <p:nvPr>
            <p:ph type="pic" sz="quarter" idx="10"/>
          </p:nvPr>
        </p:nvSpPr>
        <p:spPr>
          <a:xfrm>
            <a:off x="-15254" y="2009660"/>
            <a:ext cx="12227478" cy="4880513"/>
          </a:xfrm>
          <a:custGeom>
            <a:avLst/>
            <a:gdLst>
              <a:gd name="connsiteX0" fmla="*/ 1007834 w 4911359"/>
              <a:gd name="connsiteY0" fmla="*/ 0 h 2260600"/>
              <a:gd name="connsiteX1" fmla="*/ 4911359 w 4911359"/>
              <a:gd name="connsiteY1" fmla="*/ 0 h 2260600"/>
              <a:gd name="connsiteX2" fmla="*/ 1947725 w 4911359"/>
              <a:gd name="connsiteY2" fmla="*/ 2260600 h 2260600"/>
              <a:gd name="connsiteX3" fmla="*/ 0 w 4911359"/>
              <a:gd name="connsiteY3" fmla="*/ 2260600 h 2260600"/>
              <a:gd name="connsiteX4" fmla="*/ 1007834 w 4911359"/>
              <a:gd name="connsiteY4" fmla="*/ 0 h 2260600"/>
              <a:gd name="connsiteX0" fmla="*/ 1007834 w 4911359"/>
              <a:gd name="connsiteY0" fmla="*/ 0 h 2260600"/>
              <a:gd name="connsiteX1" fmla="*/ 4911359 w 4911359"/>
              <a:gd name="connsiteY1" fmla="*/ 0 h 2260600"/>
              <a:gd name="connsiteX2" fmla="*/ 4906825 w 4911359"/>
              <a:gd name="connsiteY2" fmla="*/ 2247900 h 2260600"/>
              <a:gd name="connsiteX3" fmla="*/ 0 w 4911359"/>
              <a:gd name="connsiteY3" fmla="*/ 2260600 h 2260600"/>
              <a:gd name="connsiteX4" fmla="*/ 1007834 w 4911359"/>
              <a:gd name="connsiteY4" fmla="*/ 0 h 2260600"/>
              <a:gd name="connsiteX0" fmla="*/ 1566634 w 4911359"/>
              <a:gd name="connsiteY0" fmla="*/ 0 h 3517900"/>
              <a:gd name="connsiteX1" fmla="*/ 4911359 w 4911359"/>
              <a:gd name="connsiteY1" fmla="*/ 1257300 h 3517900"/>
              <a:gd name="connsiteX2" fmla="*/ 4906825 w 4911359"/>
              <a:gd name="connsiteY2" fmla="*/ 3505200 h 3517900"/>
              <a:gd name="connsiteX3" fmla="*/ 0 w 4911359"/>
              <a:gd name="connsiteY3" fmla="*/ 3517900 h 3517900"/>
              <a:gd name="connsiteX4" fmla="*/ 1566634 w 4911359"/>
              <a:gd name="connsiteY4" fmla="*/ 0 h 3517900"/>
              <a:gd name="connsiteX0" fmla="*/ 1566634 w 4911359"/>
              <a:gd name="connsiteY0" fmla="*/ 0 h 3517900"/>
              <a:gd name="connsiteX1" fmla="*/ 4911359 w 4911359"/>
              <a:gd name="connsiteY1" fmla="*/ 0 h 3517900"/>
              <a:gd name="connsiteX2" fmla="*/ 4906825 w 4911359"/>
              <a:gd name="connsiteY2" fmla="*/ 3505200 h 3517900"/>
              <a:gd name="connsiteX3" fmla="*/ 0 w 4911359"/>
              <a:gd name="connsiteY3" fmla="*/ 3517900 h 3517900"/>
              <a:gd name="connsiteX4" fmla="*/ 1566634 w 4911359"/>
              <a:gd name="connsiteY4" fmla="*/ 0 h 3517900"/>
              <a:gd name="connsiteX0" fmla="*/ 5878283 w 9223008"/>
              <a:gd name="connsiteY0" fmla="*/ 0 h 3524956"/>
              <a:gd name="connsiteX1" fmla="*/ 9223008 w 9223008"/>
              <a:gd name="connsiteY1" fmla="*/ 0 h 3524956"/>
              <a:gd name="connsiteX2" fmla="*/ 9218474 w 9223008"/>
              <a:gd name="connsiteY2" fmla="*/ 3505200 h 3524956"/>
              <a:gd name="connsiteX3" fmla="*/ 0 w 9223008"/>
              <a:gd name="connsiteY3" fmla="*/ 3524956 h 3524956"/>
              <a:gd name="connsiteX4" fmla="*/ 5878283 w 9223008"/>
              <a:gd name="connsiteY4" fmla="*/ 0 h 3524956"/>
              <a:gd name="connsiteX0" fmla="*/ 7586433 w 9223008"/>
              <a:gd name="connsiteY0" fmla="*/ 7056 h 3524956"/>
              <a:gd name="connsiteX1" fmla="*/ 9223008 w 9223008"/>
              <a:gd name="connsiteY1" fmla="*/ 0 h 3524956"/>
              <a:gd name="connsiteX2" fmla="*/ 9218474 w 9223008"/>
              <a:gd name="connsiteY2" fmla="*/ 3505200 h 3524956"/>
              <a:gd name="connsiteX3" fmla="*/ 0 w 9223008"/>
              <a:gd name="connsiteY3" fmla="*/ 3524956 h 3524956"/>
              <a:gd name="connsiteX4" fmla="*/ 7586433 w 9223008"/>
              <a:gd name="connsiteY4" fmla="*/ 7056 h 3524956"/>
              <a:gd name="connsiteX0" fmla="*/ 7586433 w 9223008"/>
              <a:gd name="connsiteY0" fmla="*/ 7056 h 3524956"/>
              <a:gd name="connsiteX1" fmla="*/ 9223008 w 9223008"/>
              <a:gd name="connsiteY1" fmla="*/ 0 h 3524956"/>
              <a:gd name="connsiteX2" fmla="*/ 9218474 w 9223008"/>
              <a:gd name="connsiteY2" fmla="*/ 3505200 h 3524956"/>
              <a:gd name="connsiteX3" fmla="*/ 0 w 9223008"/>
              <a:gd name="connsiteY3" fmla="*/ 3524956 h 3524956"/>
              <a:gd name="connsiteX4" fmla="*/ 3707141 w 9223008"/>
              <a:gd name="connsiteY4" fmla="*/ 1804811 h 3524956"/>
              <a:gd name="connsiteX5" fmla="*/ 7586433 w 9223008"/>
              <a:gd name="connsiteY5" fmla="*/ 7056 h 3524956"/>
              <a:gd name="connsiteX0" fmla="*/ 7587691 w 9224266"/>
              <a:gd name="connsiteY0" fmla="*/ 7056 h 3524956"/>
              <a:gd name="connsiteX1" fmla="*/ 9224266 w 9224266"/>
              <a:gd name="connsiteY1" fmla="*/ 0 h 3524956"/>
              <a:gd name="connsiteX2" fmla="*/ 9219732 w 9224266"/>
              <a:gd name="connsiteY2" fmla="*/ 3505200 h 3524956"/>
              <a:gd name="connsiteX3" fmla="*/ 1258 w 9224266"/>
              <a:gd name="connsiteY3" fmla="*/ 3524956 h 3524956"/>
              <a:gd name="connsiteX4" fmla="*/ 0 w 9224266"/>
              <a:gd name="connsiteY4" fmla="*/ 231422 h 3524956"/>
              <a:gd name="connsiteX5" fmla="*/ 7587691 w 9224266"/>
              <a:gd name="connsiteY5" fmla="*/ 7056 h 3524956"/>
              <a:gd name="connsiteX0" fmla="*/ 7549591 w 9224266"/>
              <a:gd name="connsiteY0" fmla="*/ 0 h 4117622"/>
              <a:gd name="connsiteX1" fmla="*/ 9224266 w 9224266"/>
              <a:gd name="connsiteY1" fmla="*/ 592666 h 4117622"/>
              <a:gd name="connsiteX2" fmla="*/ 9219732 w 9224266"/>
              <a:gd name="connsiteY2" fmla="*/ 4097866 h 4117622"/>
              <a:gd name="connsiteX3" fmla="*/ 1258 w 9224266"/>
              <a:gd name="connsiteY3" fmla="*/ 4117622 h 4117622"/>
              <a:gd name="connsiteX4" fmla="*/ 0 w 9224266"/>
              <a:gd name="connsiteY4" fmla="*/ 824088 h 4117622"/>
              <a:gd name="connsiteX5" fmla="*/ 7549591 w 9224266"/>
              <a:gd name="connsiteY5" fmla="*/ 0 h 4117622"/>
              <a:gd name="connsiteX0" fmla="*/ 7703457 w 9224266"/>
              <a:gd name="connsiteY0" fmla="*/ 0 h 3824545"/>
              <a:gd name="connsiteX1" fmla="*/ 9224266 w 9224266"/>
              <a:gd name="connsiteY1" fmla="*/ 299589 h 3824545"/>
              <a:gd name="connsiteX2" fmla="*/ 9219732 w 9224266"/>
              <a:gd name="connsiteY2" fmla="*/ 3804789 h 3824545"/>
              <a:gd name="connsiteX3" fmla="*/ 1258 w 9224266"/>
              <a:gd name="connsiteY3" fmla="*/ 3824545 h 3824545"/>
              <a:gd name="connsiteX4" fmla="*/ 0 w 9224266"/>
              <a:gd name="connsiteY4" fmla="*/ 531011 h 3824545"/>
              <a:gd name="connsiteX5" fmla="*/ 7703457 w 9224266"/>
              <a:gd name="connsiteY5" fmla="*/ 0 h 3824545"/>
              <a:gd name="connsiteX0" fmla="*/ 7637515 w 9224266"/>
              <a:gd name="connsiteY0" fmla="*/ 0 h 4029699"/>
              <a:gd name="connsiteX1" fmla="*/ 9224266 w 9224266"/>
              <a:gd name="connsiteY1" fmla="*/ 504743 h 4029699"/>
              <a:gd name="connsiteX2" fmla="*/ 9219732 w 9224266"/>
              <a:gd name="connsiteY2" fmla="*/ 4009943 h 4029699"/>
              <a:gd name="connsiteX3" fmla="*/ 1258 w 9224266"/>
              <a:gd name="connsiteY3" fmla="*/ 4029699 h 4029699"/>
              <a:gd name="connsiteX4" fmla="*/ 0 w 9224266"/>
              <a:gd name="connsiteY4" fmla="*/ 736165 h 4029699"/>
              <a:gd name="connsiteX5" fmla="*/ 7637515 w 9224266"/>
              <a:gd name="connsiteY5" fmla="*/ 0 h 4029699"/>
              <a:gd name="connsiteX0" fmla="*/ 7637515 w 9219767"/>
              <a:gd name="connsiteY0" fmla="*/ 0 h 4029699"/>
              <a:gd name="connsiteX1" fmla="*/ 9175908 w 9219767"/>
              <a:gd name="connsiteY1" fmla="*/ 441243 h 4029699"/>
              <a:gd name="connsiteX2" fmla="*/ 9219732 w 9219767"/>
              <a:gd name="connsiteY2" fmla="*/ 4009943 h 4029699"/>
              <a:gd name="connsiteX3" fmla="*/ 1258 w 9219767"/>
              <a:gd name="connsiteY3" fmla="*/ 4029699 h 4029699"/>
              <a:gd name="connsiteX4" fmla="*/ 0 w 9219767"/>
              <a:gd name="connsiteY4" fmla="*/ 736165 h 4029699"/>
              <a:gd name="connsiteX5" fmla="*/ 7637515 w 9219767"/>
              <a:gd name="connsiteY5" fmla="*/ 0 h 4029699"/>
              <a:gd name="connsiteX0" fmla="*/ 7637515 w 9176223"/>
              <a:gd name="connsiteY0" fmla="*/ 0 h 4029699"/>
              <a:gd name="connsiteX1" fmla="*/ 9175908 w 9176223"/>
              <a:gd name="connsiteY1" fmla="*/ 441243 h 4029699"/>
              <a:gd name="connsiteX2" fmla="*/ 9175771 w 9176223"/>
              <a:gd name="connsiteY2" fmla="*/ 4019712 h 4029699"/>
              <a:gd name="connsiteX3" fmla="*/ 1258 w 9176223"/>
              <a:gd name="connsiteY3" fmla="*/ 4029699 h 4029699"/>
              <a:gd name="connsiteX4" fmla="*/ 0 w 9176223"/>
              <a:gd name="connsiteY4" fmla="*/ 736165 h 4029699"/>
              <a:gd name="connsiteX5" fmla="*/ 7637515 w 9176223"/>
              <a:gd name="connsiteY5" fmla="*/ 0 h 4029699"/>
              <a:gd name="connsiteX0" fmla="*/ 7636264 w 9174972"/>
              <a:gd name="connsiteY0" fmla="*/ 0 h 4029699"/>
              <a:gd name="connsiteX1" fmla="*/ 9174657 w 9174972"/>
              <a:gd name="connsiteY1" fmla="*/ 441243 h 4029699"/>
              <a:gd name="connsiteX2" fmla="*/ 9174520 w 9174972"/>
              <a:gd name="connsiteY2" fmla="*/ 4019712 h 4029699"/>
              <a:gd name="connsiteX3" fmla="*/ 7 w 9174972"/>
              <a:gd name="connsiteY3" fmla="*/ 4029699 h 4029699"/>
              <a:gd name="connsiteX4" fmla="*/ 20729 w 9174972"/>
              <a:gd name="connsiteY4" fmla="*/ 736165 h 4029699"/>
              <a:gd name="connsiteX5" fmla="*/ 7636264 w 9174972"/>
              <a:gd name="connsiteY5" fmla="*/ 0 h 4029699"/>
              <a:gd name="connsiteX0" fmla="*/ 7636263 w 9174971"/>
              <a:gd name="connsiteY0" fmla="*/ 0 h 4029699"/>
              <a:gd name="connsiteX1" fmla="*/ 9174656 w 9174971"/>
              <a:gd name="connsiteY1" fmla="*/ 441243 h 4029699"/>
              <a:gd name="connsiteX2" fmla="*/ 9174519 w 9174971"/>
              <a:gd name="connsiteY2" fmla="*/ 4019712 h 4029699"/>
              <a:gd name="connsiteX3" fmla="*/ 6 w 9174971"/>
              <a:gd name="connsiteY3" fmla="*/ 4029699 h 4029699"/>
              <a:gd name="connsiteX4" fmla="*/ 25124 w 9174971"/>
              <a:gd name="connsiteY4" fmla="*/ 1537242 h 4029699"/>
              <a:gd name="connsiteX5" fmla="*/ 7636263 w 9174971"/>
              <a:gd name="connsiteY5" fmla="*/ 0 h 4029699"/>
              <a:gd name="connsiteX0" fmla="*/ 7636259 w 9174967"/>
              <a:gd name="connsiteY0" fmla="*/ 0 h 4029699"/>
              <a:gd name="connsiteX1" fmla="*/ 9174652 w 9174967"/>
              <a:gd name="connsiteY1" fmla="*/ 441243 h 4029699"/>
              <a:gd name="connsiteX2" fmla="*/ 9174515 w 9174967"/>
              <a:gd name="connsiteY2" fmla="*/ 4019712 h 4029699"/>
              <a:gd name="connsiteX3" fmla="*/ 2 w 9174967"/>
              <a:gd name="connsiteY3" fmla="*/ 4029699 h 4029699"/>
              <a:gd name="connsiteX4" fmla="*/ 82270 w 9174967"/>
              <a:gd name="connsiteY4" fmla="*/ 2357857 h 4029699"/>
              <a:gd name="connsiteX5" fmla="*/ 7636259 w 9174967"/>
              <a:gd name="connsiteY5" fmla="*/ 0 h 4029699"/>
              <a:gd name="connsiteX0" fmla="*/ 7636262 w 9174970"/>
              <a:gd name="connsiteY0" fmla="*/ 0 h 4029699"/>
              <a:gd name="connsiteX1" fmla="*/ 9174655 w 9174970"/>
              <a:gd name="connsiteY1" fmla="*/ 441243 h 4029699"/>
              <a:gd name="connsiteX2" fmla="*/ 9174518 w 9174970"/>
              <a:gd name="connsiteY2" fmla="*/ 4019712 h 4029699"/>
              <a:gd name="connsiteX3" fmla="*/ 5 w 9174970"/>
              <a:gd name="connsiteY3" fmla="*/ 4029699 h 4029699"/>
              <a:gd name="connsiteX4" fmla="*/ 25123 w 9174970"/>
              <a:gd name="connsiteY4" fmla="*/ 2260165 h 4029699"/>
              <a:gd name="connsiteX5" fmla="*/ 7636262 w 9174970"/>
              <a:gd name="connsiteY5" fmla="*/ 0 h 4029699"/>
              <a:gd name="connsiteX0" fmla="*/ 7636262 w 9174970"/>
              <a:gd name="connsiteY0" fmla="*/ 0 h 4029699"/>
              <a:gd name="connsiteX1" fmla="*/ 9174655 w 9174970"/>
              <a:gd name="connsiteY1" fmla="*/ 441243 h 4029699"/>
              <a:gd name="connsiteX2" fmla="*/ 9174518 w 9174970"/>
              <a:gd name="connsiteY2" fmla="*/ 4019712 h 4029699"/>
              <a:gd name="connsiteX3" fmla="*/ 5 w 9174970"/>
              <a:gd name="connsiteY3" fmla="*/ 4029699 h 4029699"/>
              <a:gd name="connsiteX4" fmla="*/ 25123 w 9174970"/>
              <a:gd name="connsiteY4" fmla="*/ 2260165 h 4029699"/>
              <a:gd name="connsiteX5" fmla="*/ 7636262 w 9174970"/>
              <a:gd name="connsiteY5" fmla="*/ 0 h 4029699"/>
              <a:gd name="connsiteX0" fmla="*/ 7636257 w 9174965"/>
              <a:gd name="connsiteY0" fmla="*/ 0 h 4029699"/>
              <a:gd name="connsiteX1" fmla="*/ 9174650 w 9174965"/>
              <a:gd name="connsiteY1" fmla="*/ 441243 h 4029699"/>
              <a:gd name="connsiteX2" fmla="*/ 9174513 w 9174965"/>
              <a:gd name="connsiteY2" fmla="*/ 4019712 h 4029699"/>
              <a:gd name="connsiteX3" fmla="*/ 0 w 9174965"/>
              <a:gd name="connsiteY3" fmla="*/ 4029699 h 4029699"/>
              <a:gd name="connsiteX4" fmla="*/ 25118 w 9174965"/>
              <a:gd name="connsiteY4" fmla="*/ 2260165 h 4029699"/>
              <a:gd name="connsiteX5" fmla="*/ 7636257 w 9174965"/>
              <a:gd name="connsiteY5" fmla="*/ 0 h 4029699"/>
              <a:gd name="connsiteX0" fmla="*/ 7617207 w 9174965"/>
              <a:gd name="connsiteY0" fmla="*/ 0 h 4040282"/>
              <a:gd name="connsiteX1" fmla="*/ 9174650 w 9174965"/>
              <a:gd name="connsiteY1" fmla="*/ 451826 h 4040282"/>
              <a:gd name="connsiteX2" fmla="*/ 9174513 w 9174965"/>
              <a:gd name="connsiteY2" fmla="*/ 4030295 h 4040282"/>
              <a:gd name="connsiteX3" fmla="*/ 0 w 9174965"/>
              <a:gd name="connsiteY3" fmla="*/ 4040282 h 4040282"/>
              <a:gd name="connsiteX4" fmla="*/ 25118 w 9174965"/>
              <a:gd name="connsiteY4" fmla="*/ 2270748 h 4040282"/>
              <a:gd name="connsiteX5" fmla="*/ 7617207 w 9174965"/>
              <a:gd name="connsiteY5" fmla="*/ 0 h 4040282"/>
              <a:gd name="connsiteX0" fmla="*/ 7598157 w 9155915"/>
              <a:gd name="connsiteY0" fmla="*/ 0 h 4052982"/>
              <a:gd name="connsiteX1" fmla="*/ 9155600 w 9155915"/>
              <a:gd name="connsiteY1" fmla="*/ 451826 h 4052982"/>
              <a:gd name="connsiteX2" fmla="*/ 9155463 w 9155915"/>
              <a:gd name="connsiteY2" fmla="*/ 4030295 h 4052982"/>
              <a:gd name="connsiteX3" fmla="*/ 0 w 9155915"/>
              <a:gd name="connsiteY3" fmla="*/ 4052982 h 4052982"/>
              <a:gd name="connsiteX4" fmla="*/ 6068 w 9155915"/>
              <a:gd name="connsiteY4" fmla="*/ 2270748 h 4052982"/>
              <a:gd name="connsiteX5" fmla="*/ 7598157 w 9155915"/>
              <a:gd name="connsiteY5" fmla="*/ 0 h 4052982"/>
              <a:gd name="connsiteX0" fmla="*/ 7598157 w 9159496"/>
              <a:gd name="connsiteY0" fmla="*/ 0 h 4052982"/>
              <a:gd name="connsiteX1" fmla="*/ 9155600 w 9159496"/>
              <a:gd name="connsiteY1" fmla="*/ 451826 h 4052982"/>
              <a:gd name="connsiteX2" fmla="*/ 9159273 w 9159496"/>
              <a:gd name="connsiteY2" fmla="*/ 4042995 h 4052982"/>
              <a:gd name="connsiteX3" fmla="*/ 0 w 9159496"/>
              <a:gd name="connsiteY3" fmla="*/ 4052982 h 4052982"/>
              <a:gd name="connsiteX4" fmla="*/ 6068 w 9159496"/>
              <a:gd name="connsiteY4" fmla="*/ 2270748 h 4052982"/>
              <a:gd name="connsiteX5" fmla="*/ 7598157 w 9159496"/>
              <a:gd name="connsiteY5" fmla="*/ 0 h 4052982"/>
              <a:gd name="connsiteX0" fmla="*/ 7598438 w 9159777"/>
              <a:gd name="connsiteY0" fmla="*/ 0 h 4052982"/>
              <a:gd name="connsiteX1" fmla="*/ 9155881 w 9159777"/>
              <a:gd name="connsiteY1" fmla="*/ 451826 h 4052982"/>
              <a:gd name="connsiteX2" fmla="*/ 9159554 w 9159777"/>
              <a:gd name="connsiteY2" fmla="*/ 4042995 h 4052982"/>
              <a:gd name="connsiteX3" fmla="*/ 281 w 9159777"/>
              <a:gd name="connsiteY3" fmla="*/ 4052982 h 4052982"/>
              <a:gd name="connsiteX4" fmla="*/ 0 w 9159777"/>
              <a:gd name="connsiteY4" fmla="*/ 2274276 h 4052982"/>
              <a:gd name="connsiteX5" fmla="*/ 7598438 w 9159777"/>
              <a:gd name="connsiteY5" fmla="*/ 0 h 4052982"/>
              <a:gd name="connsiteX0" fmla="*/ 7604507 w 9165846"/>
              <a:gd name="connsiteY0" fmla="*/ 0 h 4070620"/>
              <a:gd name="connsiteX1" fmla="*/ 9161950 w 9165846"/>
              <a:gd name="connsiteY1" fmla="*/ 451826 h 4070620"/>
              <a:gd name="connsiteX2" fmla="*/ 9165623 w 9165846"/>
              <a:gd name="connsiteY2" fmla="*/ 4042995 h 4070620"/>
              <a:gd name="connsiteX3" fmla="*/ 0 w 9165846"/>
              <a:gd name="connsiteY3" fmla="*/ 4070620 h 4070620"/>
              <a:gd name="connsiteX4" fmla="*/ 6069 w 9165846"/>
              <a:gd name="connsiteY4" fmla="*/ 2274276 h 4070620"/>
              <a:gd name="connsiteX5" fmla="*/ 7604507 w 9165846"/>
              <a:gd name="connsiteY5" fmla="*/ 0 h 4070620"/>
              <a:gd name="connsiteX0" fmla="*/ 7604507 w 9165846"/>
              <a:gd name="connsiteY0" fmla="*/ 0 h 4070620"/>
              <a:gd name="connsiteX1" fmla="*/ 9161950 w 9165846"/>
              <a:gd name="connsiteY1" fmla="*/ 451826 h 4070620"/>
              <a:gd name="connsiteX2" fmla="*/ 9165623 w 9165846"/>
              <a:gd name="connsiteY2" fmla="*/ 4042995 h 4070620"/>
              <a:gd name="connsiteX3" fmla="*/ 0 w 9165846"/>
              <a:gd name="connsiteY3" fmla="*/ 4070620 h 4070620"/>
              <a:gd name="connsiteX4" fmla="*/ 2893 w 9165846"/>
              <a:gd name="connsiteY4" fmla="*/ 2277804 h 4070620"/>
              <a:gd name="connsiteX5" fmla="*/ 7604507 w 9165846"/>
              <a:gd name="connsiteY5" fmla="*/ 0 h 4070620"/>
              <a:gd name="connsiteX0" fmla="*/ 7609269 w 9170608"/>
              <a:gd name="connsiteY0" fmla="*/ 0 h 4067093"/>
              <a:gd name="connsiteX1" fmla="*/ 9166712 w 9170608"/>
              <a:gd name="connsiteY1" fmla="*/ 451826 h 4067093"/>
              <a:gd name="connsiteX2" fmla="*/ 9170385 w 9170608"/>
              <a:gd name="connsiteY2" fmla="*/ 4042995 h 4067093"/>
              <a:gd name="connsiteX3" fmla="*/ 0 w 9170608"/>
              <a:gd name="connsiteY3" fmla="*/ 4067093 h 4067093"/>
              <a:gd name="connsiteX4" fmla="*/ 7655 w 9170608"/>
              <a:gd name="connsiteY4" fmla="*/ 2277804 h 4067093"/>
              <a:gd name="connsiteX5" fmla="*/ 7609269 w 9170608"/>
              <a:gd name="connsiteY5" fmla="*/ 0 h 4067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0608" h="4067093">
                <a:moveTo>
                  <a:pt x="7609269" y="0"/>
                </a:moveTo>
                <a:lnTo>
                  <a:pt x="9166712" y="451826"/>
                </a:lnTo>
                <a:cubicBezTo>
                  <a:pt x="9165201" y="1201126"/>
                  <a:pt x="9171896" y="3293695"/>
                  <a:pt x="9170385" y="4042995"/>
                </a:cubicBezTo>
                <a:lnTo>
                  <a:pt x="0" y="4067093"/>
                </a:lnTo>
                <a:cubicBezTo>
                  <a:pt x="12559" y="3182326"/>
                  <a:pt x="8074" y="3356111"/>
                  <a:pt x="7655" y="2277804"/>
                </a:cubicBezTo>
                <a:lnTo>
                  <a:pt x="7609269" y="0"/>
                </a:lnTo>
                <a:close/>
              </a:path>
            </a:pathLst>
          </a:custGeom>
          <a:solidFill>
            <a:schemeClr val="bg1">
              <a:lumMod val="95000"/>
            </a:schemeClr>
          </a:solidFill>
        </p:spPr>
        <p:txBody>
          <a:bodyPr vert="horz" anchor="ctr"/>
          <a:lstStyle>
            <a:lvl1pPr marL="0" indent="0" algn="ctr" rtl="0">
              <a:buNone/>
              <a:defRPr sz="1867"/>
            </a:lvl1pPr>
          </a:lstStyle>
          <a:p>
            <a:r>
              <a:rPr lang="de-DE" dirty="0"/>
              <a:t>Bild durch Klicken auf Symbol hinzufügen</a:t>
            </a:r>
          </a:p>
        </p:txBody>
      </p:sp>
      <p:sp>
        <p:nvSpPr>
          <p:cNvPr id="14" name="Titel 1"/>
          <p:cNvSpPr>
            <a:spLocks noGrp="1"/>
          </p:cNvSpPr>
          <p:nvPr>
            <p:ph type="ctrTitle" hasCustomPrompt="1"/>
          </p:nvPr>
        </p:nvSpPr>
        <p:spPr>
          <a:xfrm>
            <a:off x="696116" y="1233577"/>
            <a:ext cx="6624000" cy="1074781"/>
          </a:xfrm>
        </p:spPr>
        <p:txBody>
          <a:bodyPr vert="horz" wrap="square" anchor="b" anchorCtr="0">
            <a:spAutoFit/>
          </a:bodyPr>
          <a:lstStyle>
            <a:lvl1pPr algn="l" rtl="0">
              <a:lnSpc>
                <a:spcPct val="97000"/>
              </a:lnSpc>
              <a:defRPr sz="3600"/>
            </a:lvl1pPr>
          </a:lstStyle>
          <a:p>
            <a:pPr lvl="0"/>
            <a:r>
              <a:rPr lang="de-DE" dirty="0"/>
              <a:t>Headline – Calibri </a:t>
            </a:r>
            <a:r>
              <a:rPr lang="de-DE" dirty="0" err="1"/>
              <a:t>Bold</a:t>
            </a:r>
            <a:r>
              <a:rPr lang="de-DE" dirty="0"/>
              <a:t> + Italic, </a:t>
            </a:r>
            <a:br>
              <a:rPr lang="de-DE" dirty="0"/>
            </a:br>
            <a:r>
              <a:rPr lang="de-DE" dirty="0"/>
              <a:t>36 </a:t>
            </a:r>
            <a:r>
              <a:rPr lang="de-DE" dirty="0" err="1"/>
              <a:t>pt</a:t>
            </a:r>
            <a:r>
              <a:rPr lang="de-DE" dirty="0"/>
              <a:t>, schwarz, zweizeilig</a:t>
            </a:r>
          </a:p>
        </p:txBody>
      </p:sp>
      <p:sp>
        <p:nvSpPr>
          <p:cNvPr id="15" name="Untertitel 2"/>
          <p:cNvSpPr>
            <a:spLocks noGrp="1"/>
          </p:cNvSpPr>
          <p:nvPr>
            <p:ph type="subTitle" idx="1" hasCustomPrompt="1"/>
          </p:nvPr>
        </p:nvSpPr>
        <p:spPr>
          <a:xfrm>
            <a:off x="696117" y="2614551"/>
            <a:ext cx="5760000" cy="477695"/>
          </a:xfrm>
        </p:spPr>
        <p:txBody>
          <a:bodyPr wrap="square" anchor="ctr" anchorCtr="0">
            <a:spAutoFit/>
          </a:bodyPr>
          <a:lstStyle>
            <a:lvl1pPr marL="0" indent="0" algn="l" rtl="0">
              <a:lnSpc>
                <a:spcPct val="97000"/>
              </a:lnSpc>
              <a:buNone/>
              <a:defRPr sz="1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zeile – Calibri </a:t>
            </a:r>
            <a:r>
              <a:rPr lang="de-DE" dirty="0" err="1"/>
              <a:t>Bold</a:t>
            </a:r>
            <a:r>
              <a:rPr lang="de-DE" dirty="0"/>
              <a:t>, 16 </a:t>
            </a:r>
            <a:r>
              <a:rPr lang="de-DE" dirty="0" err="1"/>
              <a:t>pt</a:t>
            </a:r>
            <a:r>
              <a:rPr lang="de-DE" dirty="0"/>
              <a:t>, schwarz, </a:t>
            </a:r>
            <a:br>
              <a:rPr lang="de-DE" dirty="0"/>
            </a:br>
            <a:r>
              <a:rPr lang="de-DE" dirty="0"/>
              <a:t>zweizeilig</a:t>
            </a:r>
          </a:p>
        </p:txBody>
      </p:sp>
      <p:sp>
        <p:nvSpPr>
          <p:cNvPr id="16" name="Textplatzhalter 17"/>
          <p:cNvSpPr>
            <a:spLocks noGrp="1"/>
          </p:cNvSpPr>
          <p:nvPr>
            <p:ph type="body" sz="quarter" idx="13" hasCustomPrompt="1"/>
          </p:nvPr>
        </p:nvSpPr>
        <p:spPr>
          <a:xfrm>
            <a:off x="696118" y="3398439"/>
            <a:ext cx="3280710" cy="252000"/>
          </a:xfrm>
        </p:spPr>
        <p:txBody>
          <a:bodyPr wrap="square">
            <a:spAutoFit/>
          </a:bodyPr>
          <a:lstStyle>
            <a:lvl1pPr marL="0" indent="0" rtl="0">
              <a:buNone/>
              <a:defRPr/>
            </a:lvl1pPr>
          </a:lstStyle>
          <a:p>
            <a:pPr lvl="0"/>
            <a:r>
              <a:rPr lang="de-DE" dirty="0"/>
              <a:t>Ort, Datum</a:t>
            </a:r>
          </a:p>
        </p:txBody>
      </p:sp>
    </p:spTree>
    <p:extLst>
      <p:ext uri="{BB962C8B-B14F-4D97-AF65-F5344CB8AC3E}">
        <p14:creationId xmlns:p14="http://schemas.microsoft.com/office/powerpoint/2010/main" val="41774470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Standardlayout">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358157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7" imgH="348" progId="TCLayout.ActiveDocument.1">
                  <p:embed/>
                </p:oleObj>
              </mc:Choice>
              <mc:Fallback>
                <p:oleObj name="think-cell Folie" r:id="rId3" imgW="347" imgH="348" progId="TCLayout.ActiveDocument.1">
                  <p:embed/>
                  <p:pic>
                    <p:nvPicPr>
                      <p:cNvPr id="10" name="Objekt 9"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448FAB1-63A6-4CBE-8C1A-B2016587FBA5}"/>
              </a:ext>
            </a:extLst>
          </p:cNvPr>
          <p:cNvSpPr>
            <a:spLocks noGrp="1"/>
          </p:cNvSpPr>
          <p:nvPr>
            <p:ph type="title"/>
          </p:nvPr>
        </p:nvSpPr>
        <p:spPr/>
        <p:txBody>
          <a:bodyPr vert="horz"/>
          <a:lstStyle>
            <a:lvl1pPr rtl="0">
              <a:defRPr/>
            </a:lvl1pPr>
          </a:lstStyle>
          <a:p>
            <a:r>
              <a:rPr lang="de-DE" dirty="0"/>
              <a:t>Titelmasterformat durch Klicken bearbeiten</a:t>
            </a:r>
          </a:p>
        </p:txBody>
      </p:sp>
      <p:sp>
        <p:nvSpPr>
          <p:cNvPr id="3" name="Fußzeilenplatzhalter 2">
            <a:extLst>
              <a:ext uri="{FF2B5EF4-FFF2-40B4-BE49-F238E27FC236}">
                <a16:creationId xmlns:a16="http://schemas.microsoft.com/office/drawing/2014/main" id="{15796829-FD49-4B2A-9CC3-CDC3E22E7D03}"/>
              </a:ext>
            </a:extLst>
          </p:cNvPr>
          <p:cNvSpPr>
            <a:spLocks noGrp="1"/>
          </p:cNvSpPr>
          <p:nvPr>
            <p:ph type="ftr" sz="quarter" idx="10"/>
          </p:nvPr>
        </p:nvSpPr>
        <p:spPr/>
        <p:txBody>
          <a:bodyPr/>
          <a:lstStyle>
            <a:lvl1pPr rtl="0">
              <a:defRPr/>
            </a:lvl1pPr>
          </a:lstStyle>
          <a:p>
            <a:pPr>
              <a:defRPr/>
            </a:pPr>
            <a:r>
              <a:rPr lang="de-DE"/>
              <a:t>Factbook Verwaltungsdigitalisierung</a:t>
            </a:r>
            <a:endParaRPr lang="de-DE" dirty="0"/>
          </a:p>
        </p:txBody>
      </p:sp>
      <p:sp>
        <p:nvSpPr>
          <p:cNvPr id="4" name="Datumsplatzhalter 3">
            <a:extLst>
              <a:ext uri="{FF2B5EF4-FFF2-40B4-BE49-F238E27FC236}">
                <a16:creationId xmlns:a16="http://schemas.microsoft.com/office/drawing/2014/main" id="{50CF6E16-EDA3-45CD-B435-3D8E6D060B1F}"/>
              </a:ext>
            </a:extLst>
          </p:cNvPr>
          <p:cNvSpPr>
            <a:spLocks noGrp="1"/>
          </p:cNvSpPr>
          <p:nvPr>
            <p:ph type="dt" sz="half" idx="11"/>
          </p:nvPr>
        </p:nvSpPr>
        <p:spPr/>
        <p:txBody>
          <a:bodyPr/>
          <a:lstStyle>
            <a:lvl1pPr rtl="0">
              <a:defRPr/>
            </a:lvl1pPr>
          </a:lstStyle>
          <a:p>
            <a:fld id="{091DE136-EFBC-49C1-BC04-18A7BC633F58}" type="datetime1">
              <a:rPr lang="de-DE" smtClean="0"/>
              <a:t>12.04.2023</a:t>
            </a:fld>
            <a:endParaRPr lang="de-DE" dirty="0"/>
          </a:p>
        </p:txBody>
      </p:sp>
      <p:sp>
        <p:nvSpPr>
          <p:cNvPr id="5" name="Foliennummernplatzhalter 4">
            <a:extLst>
              <a:ext uri="{FF2B5EF4-FFF2-40B4-BE49-F238E27FC236}">
                <a16:creationId xmlns:a16="http://schemas.microsoft.com/office/drawing/2014/main" id="{1B794ED2-AD28-4277-BB7D-CF0F68E5012B}"/>
              </a:ext>
            </a:extLst>
          </p:cNvPr>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6" name="Textplatzhalter 13">
            <a:extLst>
              <a:ext uri="{FF2B5EF4-FFF2-40B4-BE49-F238E27FC236}">
                <a16:creationId xmlns:a16="http://schemas.microsoft.com/office/drawing/2014/main" id="{278B5872-F0D3-4AC2-A24B-697C7F3E9587}"/>
              </a:ext>
            </a:extLst>
          </p:cNvPr>
          <p:cNvSpPr>
            <a:spLocks noGrp="1"/>
          </p:cNvSpPr>
          <p:nvPr>
            <p:ph type="body" sz="quarter" idx="14" hasCustomPrompt="1"/>
          </p:nvPr>
        </p:nvSpPr>
        <p:spPr>
          <a:xfrm>
            <a:off x="693211" y="191947"/>
            <a:ext cx="1920398"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Plattformbasierte Verwaltungsdigitalisierung</a:t>
            </a:r>
          </a:p>
        </p:txBody>
      </p:sp>
      <p:sp>
        <p:nvSpPr>
          <p:cNvPr id="7" name="Textplatzhalter 10">
            <a:extLst>
              <a:ext uri="{FF2B5EF4-FFF2-40B4-BE49-F238E27FC236}">
                <a16:creationId xmlns:a16="http://schemas.microsoft.com/office/drawing/2014/main" id="{2BCA9ED1-B4C0-44F9-89EE-30A783BCDB15}"/>
              </a:ext>
            </a:extLst>
          </p:cNvPr>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9" name="Textplatzhalter 16">
            <a:extLst>
              <a:ext uri="{FF2B5EF4-FFF2-40B4-BE49-F238E27FC236}">
                <a16:creationId xmlns:a16="http://schemas.microsoft.com/office/drawing/2014/main" id="{969CBC91-B42C-47F6-995A-CA84E0ACFF89}"/>
              </a:ext>
            </a:extLst>
          </p:cNvPr>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Tree>
    <p:extLst>
      <p:ext uri="{BB962C8B-B14F-4D97-AF65-F5344CB8AC3E}">
        <p14:creationId xmlns:p14="http://schemas.microsoft.com/office/powerpoint/2010/main" val="2441794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ein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096467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3" name="Inhaltsplatzhalter 2"/>
          <p:cNvSpPr>
            <a:spLocks noGrp="1"/>
          </p:cNvSpPr>
          <p:nvPr>
            <p:ph idx="1" hasCustomPrompt="1"/>
          </p:nvPr>
        </p:nvSpPr>
        <p:spPr>
          <a:xfrm>
            <a:off x="695399" y="1628800"/>
            <a:ext cx="10801201" cy="4680521"/>
          </a:xfrm>
        </p:spPr>
        <p:txBody>
          <a:bodyPr>
            <a:noAutofit/>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rtl="0">
              <a:defRPr/>
            </a:lvl1pPr>
          </a:lstStyle>
          <a:p>
            <a:fld id="{571EE30D-33D3-485F-8500-01FBB78690CE}"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11" name="Textplatzhalter 10"/>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
        <p:nvSpPr>
          <p:cNvPr id="13" name="Fußzeilenplatzhalter 4"/>
          <p:cNvSpPr>
            <a:spLocks noGrp="1"/>
          </p:cNvSpPr>
          <p:nvPr>
            <p:ph type="ftr" sz="quarter" idx="3"/>
          </p:nvPr>
        </p:nvSpPr>
        <p:spPr bwMode="gray">
          <a:xfrm>
            <a:off x="6451600" y="6534187"/>
            <a:ext cx="4018756"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12" name="Titel 11">
            <a:extLst>
              <a:ext uri="{FF2B5EF4-FFF2-40B4-BE49-F238E27FC236}">
                <a16:creationId xmlns:a16="http://schemas.microsoft.com/office/drawing/2014/main" id="{54D46028-3F67-4C8D-859B-A947BDE88DCD}"/>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2402613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zwei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235718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3" name="Inhaltsplatzhalter 2"/>
          <p:cNvSpPr>
            <a:spLocks noGrp="1"/>
          </p:cNvSpPr>
          <p:nvPr>
            <p:ph idx="1" hasCustomPrompt="1"/>
          </p:nvPr>
        </p:nvSpPr>
        <p:spPr>
          <a:xfrm>
            <a:off x="695399" y="1628800"/>
            <a:ext cx="5040561" cy="4680521"/>
          </a:xfrm>
        </p:spPr>
        <p:txBody>
          <a:bodyPr>
            <a:noAutofit/>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rtl="0">
              <a:defRPr/>
            </a:lvl1pPr>
          </a:lstStyle>
          <a:p>
            <a:fld id="{49854478-DDC0-499C-A905-AC6818BC2E73}"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11" name="Textplatzhalter 10"/>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
        <p:nvSpPr>
          <p:cNvPr id="13" name="Inhaltsplatzhalter 2"/>
          <p:cNvSpPr>
            <a:spLocks noGrp="1"/>
          </p:cNvSpPr>
          <p:nvPr>
            <p:ph idx="17" hasCustomPrompt="1"/>
          </p:nvPr>
        </p:nvSpPr>
        <p:spPr>
          <a:xfrm>
            <a:off x="6456040" y="1628800"/>
            <a:ext cx="5040561" cy="4680521"/>
          </a:xfrm>
        </p:spPr>
        <p:txBody>
          <a:bodyPr>
            <a:noAutofit/>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Fußzeilenplatzhalter 4"/>
          <p:cNvSpPr>
            <a:spLocks noGrp="1"/>
          </p:cNvSpPr>
          <p:nvPr>
            <p:ph type="ftr" sz="quarter" idx="3"/>
          </p:nvPr>
        </p:nvSpPr>
        <p:spPr bwMode="gray">
          <a:xfrm>
            <a:off x="6451600" y="6534187"/>
            <a:ext cx="4018756"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9" name="Titel 8">
            <a:extLst>
              <a:ext uri="{FF2B5EF4-FFF2-40B4-BE49-F238E27FC236}">
                <a16:creationId xmlns:a16="http://schemas.microsoft.com/office/drawing/2014/main" id="{6D2A1E91-1B68-4FAA-882B-E0D853919344}"/>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193787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drei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77615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3" name="Inhaltsplatzhalter 2"/>
          <p:cNvSpPr>
            <a:spLocks noGrp="1"/>
          </p:cNvSpPr>
          <p:nvPr>
            <p:ph idx="1"/>
          </p:nvPr>
        </p:nvSpPr>
        <p:spPr>
          <a:xfrm>
            <a:off x="695399" y="1628800"/>
            <a:ext cx="3266230" cy="4680521"/>
          </a:xfrm>
        </p:spPr>
        <p:txBody>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rtl="0">
              <a:defRPr/>
            </a:lvl1pPr>
          </a:lstStyle>
          <a:p>
            <a:fld id="{1574FA3B-AE37-44D5-BA9B-591EC488EB27}"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11" name="Textplatzhalter 10"/>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
        <p:nvSpPr>
          <p:cNvPr id="18" name="Fußzeilenplatzhalter 4"/>
          <p:cNvSpPr>
            <a:spLocks noGrp="1"/>
          </p:cNvSpPr>
          <p:nvPr>
            <p:ph type="ftr" sz="quarter" idx="3"/>
          </p:nvPr>
        </p:nvSpPr>
        <p:spPr bwMode="gray">
          <a:xfrm>
            <a:off x="6451600" y="6534187"/>
            <a:ext cx="4018756"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21" name="Inhaltsplatzhalter 2"/>
          <p:cNvSpPr>
            <a:spLocks noGrp="1"/>
          </p:cNvSpPr>
          <p:nvPr>
            <p:ph idx="16"/>
          </p:nvPr>
        </p:nvSpPr>
        <p:spPr>
          <a:xfrm>
            <a:off x="4461829" y="1628800"/>
            <a:ext cx="3266230" cy="4680521"/>
          </a:xfrm>
        </p:spPr>
        <p:txBody>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2" name="Inhaltsplatzhalter 2"/>
          <p:cNvSpPr>
            <a:spLocks noGrp="1"/>
          </p:cNvSpPr>
          <p:nvPr>
            <p:ph idx="17"/>
          </p:nvPr>
        </p:nvSpPr>
        <p:spPr>
          <a:xfrm>
            <a:off x="8230370" y="1628800"/>
            <a:ext cx="3266230" cy="4680521"/>
          </a:xfrm>
        </p:spPr>
        <p:txBody>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 8">
            <a:extLst>
              <a:ext uri="{FF2B5EF4-FFF2-40B4-BE49-F238E27FC236}">
                <a16:creationId xmlns:a16="http://schemas.microsoft.com/office/drawing/2014/main" id="{0C0F8750-4646-4AF3-B795-F7A66A623BB3}"/>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993136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und Bild zwei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542622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3" name="Inhaltsplatzhalter 2"/>
          <p:cNvSpPr>
            <a:spLocks noGrp="1"/>
          </p:cNvSpPr>
          <p:nvPr>
            <p:ph idx="1"/>
          </p:nvPr>
        </p:nvSpPr>
        <p:spPr>
          <a:xfrm>
            <a:off x="695399" y="1630870"/>
            <a:ext cx="5040000" cy="4680521"/>
          </a:xfrm>
        </p:spPr>
        <p:txBody>
          <a:bodyPr/>
          <a:lstStyle>
            <a:lvl1pPr rtl="0">
              <a:defRPr/>
            </a:lvl1pPr>
            <a:lvl2pPr rtl="0">
              <a:defRPr/>
            </a:lvl2pPr>
            <a:lvl3pPr rtl="0">
              <a:defRPr/>
            </a:lvl3pPr>
            <a:lvl4pPr rtl="0">
              <a:defRPr/>
            </a:lvl4pPr>
            <a:lvl5pPr rtl="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rtl="0">
              <a:defRPr/>
            </a:lvl1pPr>
          </a:lstStyle>
          <a:p>
            <a:fld id="{68768E5A-BC3C-4DDA-9A6A-F8107EADA62C}"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11" name="Textplatzhalter 10"/>
          <p:cNvSpPr>
            <a:spLocks noGrp="1"/>
          </p:cNvSpPr>
          <p:nvPr>
            <p:ph type="body" sz="quarter" idx="13"/>
          </p:nvPr>
        </p:nvSpPr>
        <p:spPr>
          <a:xfrm>
            <a:off x="693211" y="1089965"/>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
        <p:nvSpPr>
          <p:cNvPr id="10" name="Bildplatzhalter 9"/>
          <p:cNvSpPr>
            <a:spLocks noGrp="1"/>
          </p:cNvSpPr>
          <p:nvPr>
            <p:ph type="pic" sz="quarter" idx="17"/>
          </p:nvPr>
        </p:nvSpPr>
        <p:spPr>
          <a:xfrm>
            <a:off x="6456600" y="1629916"/>
            <a:ext cx="5040000" cy="4680521"/>
          </a:xfrm>
          <a:solidFill>
            <a:schemeClr val="bg1">
              <a:lumMod val="95000"/>
            </a:schemeClr>
          </a:solidFill>
        </p:spPr>
        <p:txBody>
          <a:bodyPr/>
          <a:lstStyle>
            <a:lvl1pPr marL="0" indent="0" algn="ctr" rtl="0">
              <a:buNone/>
              <a:defRPr/>
            </a:lvl1pPr>
          </a:lstStyle>
          <a:p>
            <a:r>
              <a:rPr lang="de-DE" dirty="0"/>
              <a:t>Bild durch Klicken auf Symbol hinzufügen</a:t>
            </a:r>
          </a:p>
        </p:txBody>
      </p:sp>
      <p:sp>
        <p:nvSpPr>
          <p:cNvPr id="15" name="Fußzeilenplatzhalter 4"/>
          <p:cNvSpPr>
            <a:spLocks noGrp="1"/>
          </p:cNvSpPr>
          <p:nvPr>
            <p:ph type="ftr" sz="quarter" idx="3"/>
          </p:nvPr>
        </p:nvSpPr>
        <p:spPr bwMode="gray">
          <a:xfrm>
            <a:off x="6451599" y="6534187"/>
            <a:ext cx="4016375"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9" name="Titel 8">
            <a:extLst>
              <a:ext uri="{FF2B5EF4-FFF2-40B4-BE49-F238E27FC236}">
                <a16:creationId xmlns:a16="http://schemas.microsoft.com/office/drawing/2014/main" id="{10497069-841F-442B-9A20-A5AD7F1C1EF0}"/>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10664243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Bild einspalti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1912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10" name="Bildplatzhalter 9"/>
          <p:cNvSpPr>
            <a:spLocks noGrp="1"/>
          </p:cNvSpPr>
          <p:nvPr>
            <p:ph type="pic" sz="quarter" idx="17"/>
          </p:nvPr>
        </p:nvSpPr>
        <p:spPr>
          <a:xfrm>
            <a:off x="695399" y="1628800"/>
            <a:ext cx="5040561" cy="4680521"/>
          </a:xfrm>
          <a:solidFill>
            <a:schemeClr val="bg1">
              <a:lumMod val="95000"/>
            </a:schemeClr>
          </a:solidFill>
        </p:spPr>
        <p:txBody>
          <a:bodyPr>
            <a:noAutofit/>
          </a:bodyPr>
          <a:lstStyle>
            <a:lvl1pPr marL="0" indent="0" algn="ctr" rtl="0">
              <a:buNone/>
              <a:defRPr/>
            </a:lvl1pPr>
          </a:lstStyle>
          <a:p>
            <a:r>
              <a:rPr lang="de-DE" dirty="0"/>
              <a:t>Bild durch Klicken auf Symbol hinzufügen</a:t>
            </a:r>
          </a:p>
        </p:txBody>
      </p:sp>
      <p:sp>
        <p:nvSpPr>
          <p:cNvPr id="4" name="Datumsplatzhalter 3"/>
          <p:cNvSpPr>
            <a:spLocks noGrp="1"/>
          </p:cNvSpPr>
          <p:nvPr>
            <p:ph type="dt" sz="half" idx="10"/>
          </p:nvPr>
        </p:nvSpPr>
        <p:spPr/>
        <p:txBody>
          <a:bodyPr/>
          <a:lstStyle>
            <a:lvl1pPr rtl="0">
              <a:defRPr/>
            </a:lvl1pPr>
          </a:lstStyle>
          <a:p>
            <a:fld id="{AB10EF5E-FBF9-4AE3-BB2D-428E6708273D}"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lvl1pPr>
          </a:lstStyle>
          <a:p>
            <a:fld id="{D4A18DF9-8FF6-4BA5-BC52-5FB4772E2292}" type="slidenum">
              <a:rPr lang="de-DE" smtClean="0"/>
              <a:pPr/>
              <a:t>‹Nr.›</a:t>
            </a:fld>
            <a:endParaRPr lang="de-DE" dirty="0"/>
          </a:p>
        </p:txBody>
      </p:sp>
      <p:sp>
        <p:nvSpPr>
          <p:cNvPr id="11" name="Textplatzhalter 10"/>
          <p:cNvSpPr>
            <a:spLocks noGrp="1"/>
          </p:cNvSpPr>
          <p:nvPr>
            <p:ph type="body" sz="quarter" idx="13"/>
          </p:nvPr>
        </p:nvSpPr>
        <p:spPr>
          <a:xfrm>
            <a:off x="693211" y="1089964"/>
            <a:ext cx="10808493" cy="252000"/>
          </a:xfrm>
        </p:spPr>
        <p:txBody>
          <a:bodyPr wrap="square">
            <a:spAutoFit/>
          </a:bodyPr>
          <a:lstStyle>
            <a:lvl1pPr marL="0" indent="0" rtl="0">
              <a:buNone/>
              <a:defRPr i="1"/>
            </a:lvl1pPr>
          </a:lstStyle>
          <a:p>
            <a:pPr lvl="0"/>
            <a:r>
              <a:rPr lang="de-DE" dirty="0"/>
              <a:t>Formatvorlagen des Textmasters bearbeiten</a:t>
            </a:r>
          </a:p>
        </p:txBody>
      </p:sp>
      <p:sp>
        <p:nvSpPr>
          <p:cNvPr id="14" name="Textplatzhalter 13"/>
          <p:cNvSpPr>
            <a:spLocks noGrp="1"/>
          </p:cNvSpPr>
          <p:nvPr>
            <p:ph type="body" sz="quarter" idx="14"/>
          </p:nvPr>
        </p:nvSpPr>
        <p:spPr>
          <a:xfrm>
            <a:off x="693211" y="191947"/>
            <a:ext cx="1885131" cy="123111"/>
          </a:xfrm>
        </p:spPr>
        <p:txBody>
          <a:bodyPr wrap="none">
            <a:spAutoFit/>
          </a:bodyPr>
          <a:lstStyle>
            <a:lvl1pPr marL="0" indent="0" rtl="0">
              <a:lnSpc>
                <a:spcPct val="100000"/>
              </a:lnSpc>
              <a:spcBef>
                <a:spcPts val="0"/>
              </a:spcBef>
              <a:buNone/>
              <a:defRPr sz="800" b="1">
                <a:solidFill>
                  <a:schemeClr val="tx2"/>
                </a:solidFill>
              </a:defRPr>
            </a:lvl1pPr>
          </a:lstStyle>
          <a:p>
            <a:pPr lvl="0"/>
            <a:r>
              <a:rPr lang="de-DE" dirty="0"/>
              <a:t>Formatvorlagen des Textmasters bearbeiten</a:t>
            </a:r>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sp>
        <p:nvSpPr>
          <p:cNvPr id="15" name="Fußzeilenplatzhalter 4"/>
          <p:cNvSpPr>
            <a:spLocks noGrp="1"/>
          </p:cNvSpPr>
          <p:nvPr>
            <p:ph type="ftr" sz="quarter" idx="3"/>
          </p:nvPr>
        </p:nvSpPr>
        <p:spPr bwMode="gray">
          <a:xfrm>
            <a:off x="6451600" y="6534187"/>
            <a:ext cx="4018756"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9" name="Titel 8">
            <a:extLst>
              <a:ext uri="{FF2B5EF4-FFF2-40B4-BE49-F238E27FC236}">
                <a16:creationId xmlns:a16="http://schemas.microsoft.com/office/drawing/2014/main" id="{95F0ABA5-BFCF-4E19-BF86-AB36EEE2FECD}"/>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32122171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021574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16" imgH="416" progId="TCLayout.ActiveDocument.1">
                  <p:embed/>
                </p:oleObj>
              </mc:Choice>
              <mc:Fallback>
                <p:oleObj name="think-cell Folie" r:id="rId4" imgW="416" imgH="41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pic>
        <p:nvPicPr>
          <p:cNvPr id="13" name="Grafik 12">
            <a:extLst>
              <a:ext uri="{FF2B5EF4-FFF2-40B4-BE49-F238E27FC236}">
                <a16:creationId xmlns:a16="http://schemas.microsoft.com/office/drawing/2014/main" id="{641BDD89-E2CB-6C43-BDAE-91F2CF95EA9E}"/>
              </a:ext>
            </a:extLst>
          </p:cNvPr>
          <p:cNvPicPr>
            <a:picLocks noChangeAspect="1"/>
          </p:cNvPicPr>
          <p:nvPr userDrawn="1"/>
        </p:nvPicPr>
        <p:blipFill rotWithShape="1">
          <a:blip r:embed="rId6"/>
          <a:srcRect t="-1" r="3129" b="954"/>
          <a:stretch/>
        </p:blipFill>
        <p:spPr>
          <a:xfrm>
            <a:off x="4223792" y="3870733"/>
            <a:ext cx="7968208" cy="2987267"/>
          </a:xfrm>
          <a:prstGeom prst="rect">
            <a:avLst/>
          </a:prstGeom>
        </p:spPr>
      </p:pic>
      <p:sp>
        <p:nvSpPr>
          <p:cNvPr id="4" name="Datumsplatzhalter 3"/>
          <p:cNvSpPr>
            <a:spLocks noGrp="1"/>
          </p:cNvSpPr>
          <p:nvPr>
            <p:ph type="dt" sz="half" idx="10"/>
          </p:nvPr>
        </p:nvSpPr>
        <p:spPr/>
        <p:txBody>
          <a:bodyPr/>
          <a:lstStyle>
            <a:lvl1pPr rtl="0">
              <a:defRPr>
                <a:solidFill>
                  <a:schemeClr val="tx1"/>
                </a:solidFill>
              </a:defRPr>
            </a:lvl1pPr>
          </a:lstStyle>
          <a:p>
            <a:fld id="{68AFE6A2-0C86-47BD-9033-AF221FB625C3}" type="datetime1">
              <a:rPr lang="de-DE" smtClean="0"/>
              <a:t>12.04.2023</a:t>
            </a:fld>
            <a:endParaRPr lang="de-DE" dirty="0"/>
          </a:p>
        </p:txBody>
      </p:sp>
      <p:sp>
        <p:nvSpPr>
          <p:cNvPr id="6" name="Foliennummernplatzhalter 5"/>
          <p:cNvSpPr>
            <a:spLocks noGrp="1"/>
          </p:cNvSpPr>
          <p:nvPr>
            <p:ph type="sldNum" sz="quarter" idx="12"/>
          </p:nvPr>
        </p:nvSpPr>
        <p:spPr/>
        <p:txBody>
          <a:bodyPr/>
          <a:lstStyle>
            <a:lvl1pPr rtl="0">
              <a:defRPr>
                <a:solidFill>
                  <a:schemeClr val="tx1"/>
                </a:solidFill>
              </a:defRPr>
            </a:lvl1pPr>
          </a:lstStyle>
          <a:p>
            <a:fld id="{D4A18DF9-8FF6-4BA5-BC52-5FB4772E2292}" type="slidenum">
              <a:rPr lang="de-DE" smtClean="0"/>
              <a:pPr/>
              <a:t>‹Nr.›</a:t>
            </a:fld>
            <a:endParaRPr lang="de-DE" dirty="0"/>
          </a:p>
        </p:txBody>
      </p:sp>
      <p:sp>
        <p:nvSpPr>
          <p:cNvPr id="17" name="Textplatzhalter 16"/>
          <p:cNvSpPr>
            <a:spLocks noGrp="1"/>
          </p:cNvSpPr>
          <p:nvPr>
            <p:ph type="body" sz="quarter" idx="15" hasCustomPrompt="1"/>
          </p:nvPr>
        </p:nvSpPr>
        <p:spPr>
          <a:xfrm>
            <a:off x="693211" y="6454254"/>
            <a:ext cx="5044808" cy="246221"/>
          </a:xfrm>
        </p:spPr>
        <p:txBody>
          <a:bodyPr wrap="square" anchor="b" anchorCtr="0">
            <a:spAutoFit/>
          </a:bodyPr>
          <a:lstStyle>
            <a:lvl1pPr marL="0" indent="0" rtl="0">
              <a:lnSpc>
                <a:spcPct val="100000"/>
              </a:lnSpc>
              <a:spcBef>
                <a:spcPts val="0"/>
              </a:spcBef>
              <a:spcAft>
                <a:spcPts val="0"/>
              </a:spcAft>
              <a:buNone/>
              <a:defRPr sz="800" b="1">
                <a:solidFill>
                  <a:schemeClr val="tx2"/>
                </a:solidFill>
              </a:defRPr>
            </a:lvl1pPr>
          </a:lstStyle>
          <a:p>
            <a:pPr lvl="0"/>
            <a:r>
              <a:rPr lang="de-DE" dirty="0"/>
              <a:t>Fußnote </a:t>
            </a:r>
          </a:p>
          <a:p>
            <a:pPr lvl="0"/>
            <a:r>
              <a:rPr lang="de-DE" dirty="0"/>
              <a:t>Quellenangabe</a:t>
            </a:r>
          </a:p>
        </p:txBody>
      </p:sp>
      <p:pic>
        <p:nvPicPr>
          <p:cNvPr id="15" name="Grafik 14">
            <a:extLst>
              <a:ext uri="{FF2B5EF4-FFF2-40B4-BE49-F238E27FC236}">
                <a16:creationId xmlns:a16="http://schemas.microsoft.com/office/drawing/2014/main" id="{01EC46C6-39B9-764E-81C4-926D2DDE59AA}"/>
              </a:ext>
            </a:extLst>
          </p:cNvPr>
          <p:cNvPicPr>
            <a:picLocks noChangeAspect="1"/>
          </p:cNvPicPr>
          <p:nvPr userDrawn="1"/>
        </p:nvPicPr>
        <p:blipFill>
          <a:blip r:embed="rId7"/>
          <a:stretch>
            <a:fillRect/>
          </a:stretch>
        </p:blipFill>
        <p:spPr>
          <a:xfrm>
            <a:off x="11326296" y="59936"/>
            <a:ext cx="713524" cy="540866"/>
          </a:xfrm>
          <a:prstGeom prst="rect">
            <a:avLst/>
          </a:prstGeom>
        </p:spPr>
      </p:pic>
      <p:grpSp>
        <p:nvGrpSpPr>
          <p:cNvPr id="16" name="Gruppieren 15"/>
          <p:cNvGrpSpPr/>
          <p:nvPr userDrawn="1"/>
        </p:nvGrpSpPr>
        <p:grpSpPr>
          <a:xfrm>
            <a:off x="696649" y="6867625"/>
            <a:ext cx="10803834" cy="414000"/>
            <a:chOff x="696649" y="-304800"/>
            <a:chExt cx="10803834" cy="7298267"/>
          </a:xfrm>
        </p:grpSpPr>
        <p:cxnSp>
          <p:nvCxnSpPr>
            <p:cNvPr id="18" name="Gerader Verbinder 17"/>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a:xfrm>
              <a:off x="6096000"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2" name="Gruppieren 21"/>
          <p:cNvGrpSpPr/>
          <p:nvPr userDrawn="1"/>
        </p:nvGrpSpPr>
        <p:grpSpPr>
          <a:xfrm>
            <a:off x="-442761" y="196265"/>
            <a:ext cx="413886" cy="6481459"/>
            <a:chOff x="-442761" y="196265"/>
            <a:chExt cx="413886" cy="6481459"/>
          </a:xfrm>
        </p:grpSpPr>
        <p:cxnSp>
          <p:nvCxnSpPr>
            <p:cNvPr id="23" name="Gerader Verbinder 22"/>
            <p:cNvCxnSpPr/>
            <p:nvPr userDrawn="1"/>
          </p:nvCxnSpPr>
          <p:spPr>
            <a:xfrm>
              <a:off x="-442761" y="19626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a:xfrm>
              <a:off x="-442761" y="96633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a:xfrm>
              <a:off x="-442761" y="1273597"/>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a:off x="-442761" y="630872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a:xfrm>
              <a:off x="-442761" y="667772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a:xfrm>
              <a:off x="-442761" y="1633261"/>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a:xfrm>
              <a:off x="-442761" y="3429000"/>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0" name="Gruppieren 29"/>
          <p:cNvGrpSpPr/>
          <p:nvPr userDrawn="1"/>
        </p:nvGrpSpPr>
        <p:grpSpPr>
          <a:xfrm>
            <a:off x="12211250" y="196265"/>
            <a:ext cx="413886" cy="6481459"/>
            <a:chOff x="12211250" y="196265"/>
            <a:chExt cx="413886" cy="6481459"/>
          </a:xfrm>
        </p:grpSpPr>
        <p:grpSp>
          <p:nvGrpSpPr>
            <p:cNvPr id="31" name="Gruppieren 30"/>
            <p:cNvGrpSpPr/>
            <p:nvPr userDrawn="1"/>
          </p:nvGrpSpPr>
          <p:grpSpPr>
            <a:xfrm>
              <a:off x="12211250" y="196265"/>
              <a:ext cx="413886" cy="6481459"/>
              <a:chOff x="-728133" y="196265"/>
              <a:chExt cx="13140266" cy="6481459"/>
            </a:xfrm>
          </p:grpSpPr>
          <p:cxnSp>
            <p:nvCxnSpPr>
              <p:cNvPr id="33" name="Gerader Verbinder 32"/>
              <p:cNvCxnSpPr/>
              <p:nvPr userDrawn="1"/>
            </p:nvCxnSpPr>
            <p:spPr>
              <a:xfrm>
                <a:off x="-728133" y="19626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728133" y="96633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728133" y="1273597"/>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728133" y="630872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728133" y="667772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728133" y="1633261"/>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32" name="Gerader Verbinder 31"/>
            <p:cNvCxnSpPr/>
            <p:nvPr userDrawn="1"/>
          </p:nvCxnSpPr>
          <p:spPr>
            <a:xfrm>
              <a:off x="12211250" y="3429000"/>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uppieren 38"/>
          <p:cNvGrpSpPr/>
          <p:nvPr userDrawn="1"/>
        </p:nvGrpSpPr>
        <p:grpSpPr>
          <a:xfrm>
            <a:off x="696649" y="-442875"/>
            <a:ext cx="10803834" cy="414000"/>
            <a:chOff x="696649" y="-304800"/>
            <a:chExt cx="10803834" cy="7298267"/>
          </a:xfrm>
        </p:grpSpPr>
        <p:cxnSp>
          <p:nvCxnSpPr>
            <p:cNvPr id="40" name="Gerader Verbinder 39"/>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userDrawn="1"/>
          </p:nvCxnSpPr>
          <p:spPr>
            <a:xfrm>
              <a:off x="6096000"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43" name="Gerader Verbinder 42"/>
          <p:cNvCxnSpPr/>
          <p:nvPr userDrawn="1"/>
        </p:nvCxnSpPr>
        <p:spPr>
          <a:xfrm>
            <a:off x="11324724" y="-442875"/>
            <a:ext cx="0" cy="41400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5" name="Fußzeilenplatzhalter 4"/>
          <p:cNvSpPr>
            <a:spLocks noGrp="1"/>
          </p:cNvSpPr>
          <p:nvPr>
            <p:ph type="ftr" sz="quarter" idx="3"/>
          </p:nvPr>
        </p:nvSpPr>
        <p:spPr bwMode="gray">
          <a:xfrm>
            <a:off x="6451599" y="6534187"/>
            <a:ext cx="4018011"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5" name="Titel 4">
            <a:extLst>
              <a:ext uri="{FF2B5EF4-FFF2-40B4-BE49-F238E27FC236}">
                <a16:creationId xmlns:a16="http://schemas.microsoft.com/office/drawing/2014/main" id="{B34F813C-2638-4801-8C90-75989DF64434}"/>
              </a:ext>
            </a:extLst>
          </p:cNvPr>
          <p:cNvSpPr>
            <a:spLocks noGrp="1"/>
          </p:cNvSpPr>
          <p:nvPr>
            <p:ph type="title"/>
          </p:nvPr>
        </p:nvSpPr>
        <p:spPr/>
        <p:txBody>
          <a:bodyPr vert="horz"/>
          <a:lstStyle>
            <a:lvl1pPr rtl="0">
              <a:defRPr/>
            </a:lvl1pPr>
          </a:lstStyle>
          <a:p>
            <a:r>
              <a:rPr lang="de-DE" dirty="0"/>
              <a:t>Titelmasterformat durch Klicken bearbeiten</a:t>
            </a:r>
          </a:p>
        </p:txBody>
      </p:sp>
    </p:spTree>
    <p:extLst>
      <p:ext uri="{BB962C8B-B14F-4D97-AF65-F5344CB8AC3E}">
        <p14:creationId xmlns:p14="http://schemas.microsoft.com/office/powerpoint/2010/main" val="42824364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jp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7"/>
            </p:custDataLst>
            <p:extLst>
              <p:ext uri="{D42A27DB-BD31-4B8C-83A1-F6EECF244321}">
                <p14:modId xmlns:p14="http://schemas.microsoft.com/office/powerpoint/2010/main" val="270416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416" imgH="416" progId="TCLayout.ActiveDocument.1">
                  <p:embed/>
                </p:oleObj>
              </mc:Choice>
              <mc:Fallback>
                <p:oleObj name="think-cell Folie" r:id="rId19" imgW="416" imgH="416" progId="TCLayout.ActiveDocument.1">
                  <p:embed/>
                  <p:pic>
                    <p:nvPicPr>
                      <p:cNvPr id="8" name="Objekt 7"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de-DE" sz="2400" b="1" i="1" baseline="0" dirty="0">
              <a:latin typeface="Calibri" panose="020F0502020204030204" pitchFamily="34" charset="0"/>
              <a:ea typeface="+mj-ea"/>
              <a:cs typeface="+mj-cs"/>
              <a:sym typeface="Calibri" panose="020F0502020204030204" pitchFamily="34" charset="0"/>
            </a:endParaRPr>
          </a:p>
        </p:txBody>
      </p:sp>
      <p:sp>
        <p:nvSpPr>
          <p:cNvPr id="37" name="Fußzeilenplatzhalter 4"/>
          <p:cNvSpPr>
            <a:spLocks noGrp="1"/>
          </p:cNvSpPr>
          <p:nvPr>
            <p:ph type="ftr" sz="quarter" idx="3"/>
          </p:nvPr>
        </p:nvSpPr>
        <p:spPr bwMode="gray">
          <a:xfrm>
            <a:off x="6451600" y="6534187"/>
            <a:ext cx="4012600" cy="167076"/>
          </a:xfrm>
          <a:prstGeom prst="rect">
            <a:avLst/>
          </a:prstGeom>
        </p:spPr>
        <p:txBody>
          <a:bodyPr vert="horz" lIns="0" tIns="0" rIns="0" bIns="0" rtlCol="0" anchor="b" anchorCtr="0"/>
          <a:lstStyle>
            <a:lvl1pPr algn="l" rtl="0" eaLnBrk="1" fontAlgn="auto" hangingPunct="1">
              <a:spcBef>
                <a:spcPts val="0"/>
              </a:spcBef>
              <a:spcAft>
                <a:spcPts val="0"/>
              </a:spcAft>
              <a:defRPr sz="800" b="1" smtClean="0">
                <a:solidFill>
                  <a:schemeClr val="tx2"/>
                </a:solidFill>
                <a:latin typeface="+mn-lt"/>
                <a:cs typeface="Arial" panose="020B0604020202020204" pitchFamily="34" charset="0"/>
              </a:defRPr>
            </a:lvl1pPr>
          </a:lstStyle>
          <a:p>
            <a:pPr>
              <a:defRPr/>
            </a:pPr>
            <a:r>
              <a:rPr lang="de-DE"/>
              <a:t>Factbook Verwaltungsdigitalisierung</a:t>
            </a:r>
            <a:endParaRPr lang="de-DE" dirty="0"/>
          </a:p>
        </p:txBody>
      </p:sp>
      <p:sp>
        <p:nvSpPr>
          <p:cNvPr id="2" name="Titelplatzhalter 1"/>
          <p:cNvSpPr>
            <a:spLocks noGrp="1"/>
          </p:cNvSpPr>
          <p:nvPr>
            <p:ph type="title"/>
          </p:nvPr>
        </p:nvSpPr>
        <p:spPr>
          <a:xfrm>
            <a:off x="693210" y="315058"/>
            <a:ext cx="10801201" cy="725959"/>
          </a:xfrm>
          <a:prstGeom prst="rect">
            <a:avLst/>
          </a:prstGeom>
          <a:noFill/>
        </p:spPr>
        <p:txBody>
          <a:bodyPr vert="horz" lIns="0" tIns="0" rIns="0" bIns="0" rtlCol="0" anchor="b" anchorCtr="0">
            <a:noAutofit/>
          </a:bodyPr>
          <a:lstStyle/>
          <a:p>
            <a:r>
              <a:rPr lang="de-DE" dirty="0"/>
              <a:t>Titelmasterformat durch Klicken bearbeiten</a:t>
            </a:r>
          </a:p>
        </p:txBody>
      </p:sp>
      <p:sp>
        <p:nvSpPr>
          <p:cNvPr id="3" name="Textplatzhalter 2"/>
          <p:cNvSpPr>
            <a:spLocks noGrp="1"/>
          </p:cNvSpPr>
          <p:nvPr>
            <p:ph type="body" idx="1"/>
          </p:nvPr>
        </p:nvSpPr>
        <p:spPr>
          <a:xfrm>
            <a:off x="695399" y="1628800"/>
            <a:ext cx="10801201" cy="4680521"/>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Grafik 8">
            <a:extLst>
              <a:ext uri="{FF2B5EF4-FFF2-40B4-BE49-F238E27FC236}">
                <a16:creationId xmlns:a16="http://schemas.microsoft.com/office/drawing/2014/main" id="{01EC46C6-39B9-764E-81C4-926D2DDE59AA}"/>
              </a:ext>
            </a:extLst>
          </p:cNvPr>
          <p:cNvPicPr>
            <a:picLocks noChangeAspect="1"/>
          </p:cNvPicPr>
          <p:nvPr userDrawn="1"/>
        </p:nvPicPr>
        <p:blipFill>
          <a:blip r:embed="rId21"/>
          <a:stretch>
            <a:fillRect/>
          </a:stretch>
        </p:blipFill>
        <p:spPr>
          <a:xfrm>
            <a:off x="11326296" y="59936"/>
            <a:ext cx="713524" cy="540866"/>
          </a:xfrm>
          <a:prstGeom prst="rect">
            <a:avLst/>
          </a:prstGeom>
        </p:spPr>
      </p:pic>
      <p:grpSp>
        <p:nvGrpSpPr>
          <p:cNvPr id="10" name="Grafik 372">
            <a:extLst>
              <a:ext uri="{FF2B5EF4-FFF2-40B4-BE49-F238E27FC236}">
                <a16:creationId xmlns:a16="http://schemas.microsoft.com/office/drawing/2014/main" id="{9C9BADBD-04AC-4878-9883-7758C9535618}"/>
              </a:ext>
            </a:extLst>
          </p:cNvPr>
          <p:cNvGrpSpPr/>
          <p:nvPr userDrawn="1"/>
        </p:nvGrpSpPr>
        <p:grpSpPr>
          <a:xfrm>
            <a:off x="9875521" y="6241678"/>
            <a:ext cx="2316480" cy="618410"/>
            <a:chOff x="7705537" y="6399078"/>
            <a:chExt cx="1726881" cy="461010"/>
          </a:xfrm>
        </p:grpSpPr>
        <p:sp>
          <p:nvSpPr>
            <p:cNvPr id="11" name="Freihandform: Form 4">
              <a:extLst>
                <a:ext uri="{FF2B5EF4-FFF2-40B4-BE49-F238E27FC236}">
                  <a16:creationId xmlns:a16="http://schemas.microsoft.com/office/drawing/2014/main" id="{AA796108-266F-46B7-8CCB-1060FE134087}"/>
                </a:ext>
              </a:extLst>
            </p:cNvPr>
            <p:cNvSpPr/>
            <p:nvPr/>
          </p:nvSpPr>
          <p:spPr>
            <a:xfrm>
              <a:off x="8208456" y="6399078"/>
              <a:ext cx="1223962" cy="461010"/>
            </a:xfrm>
            <a:custGeom>
              <a:avLst/>
              <a:gdLst>
                <a:gd name="connsiteX0" fmla="*/ 0 w 1223962"/>
                <a:gd name="connsiteY0" fmla="*/ 325755 h 461010"/>
                <a:gd name="connsiteX1" fmla="*/ 507683 w 1223962"/>
                <a:gd name="connsiteY1" fmla="*/ 461010 h 461010"/>
                <a:gd name="connsiteX2" fmla="*/ 1223963 w 1223962"/>
                <a:gd name="connsiteY2" fmla="*/ 461010 h 461010"/>
                <a:gd name="connsiteX3" fmla="*/ 1223963 w 1223962"/>
                <a:gd name="connsiteY3" fmla="*/ 0 h 461010"/>
              </a:gdLst>
              <a:ahLst/>
              <a:cxnLst>
                <a:cxn ang="0">
                  <a:pos x="connsiteX0" y="connsiteY0"/>
                </a:cxn>
                <a:cxn ang="0">
                  <a:pos x="connsiteX1" y="connsiteY1"/>
                </a:cxn>
                <a:cxn ang="0">
                  <a:pos x="connsiteX2" y="connsiteY2"/>
                </a:cxn>
                <a:cxn ang="0">
                  <a:pos x="connsiteX3" y="connsiteY3"/>
                </a:cxn>
              </a:cxnLst>
              <a:rect l="l" t="t" r="r" b="b"/>
              <a:pathLst>
                <a:path w="1223962" h="461010">
                  <a:moveTo>
                    <a:pt x="0" y="325755"/>
                  </a:moveTo>
                  <a:lnTo>
                    <a:pt x="507683" y="461010"/>
                  </a:lnTo>
                  <a:lnTo>
                    <a:pt x="1223963" y="461010"/>
                  </a:lnTo>
                  <a:lnTo>
                    <a:pt x="1223963" y="0"/>
                  </a:lnTo>
                  <a:close/>
                </a:path>
              </a:pathLst>
            </a:custGeom>
            <a:solidFill>
              <a:srgbClr val="FFD100"/>
            </a:solidFill>
            <a:ln w="9525" cap="flat">
              <a:noFill/>
              <a:prstDash val="solid"/>
              <a:miter/>
            </a:ln>
          </p:spPr>
          <p:txBody>
            <a:bodyPr rtlCol="0" anchor="ctr"/>
            <a:lstStyle/>
            <a:p>
              <a:pPr rtl="0"/>
              <a:endParaRPr lang="de-DE" dirty="0"/>
            </a:p>
          </p:txBody>
        </p:sp>
        <p:sp>
          <p:nvSpPr>
            <p:cNvPr id="12" name="Freihandform: Form 5">
              <a:extLst>
                <a:ext uri="{FF2B5EF4-FFF2-40B4-BE49-F238E27FC236}">
                  <a16:creationId xmlns:a16="http://schemas.microsoft.com/office/drawing/2014/main" id="{5DBCD011-0917-43A0-AD09-B100AE8EAA60}"/>
                </a:ext>
              </a:extLst>
            </p:cNvPr>
            <p:cNvSpPr/>
            <p:nvPr/>
          </p:nvSpPr>
          <p:spPr>
            <a:xfrm>
              <a:off x="7705537" y="6724833"/>
              <a:ext cx="1010602" cy="135255"/>
            </a:xfrm>
            <a:custGeom>
              <a:avLst/>
              <a:gdLst>
                <a:gd name="connsiteX0" fmla="*/ 0 w 1010602"/>
                <a:gd name="connsiteY0" fmla="*/ 135255 h 135255"/>
                <a:gd name="connsiteX1" fmla="*/ 1010603 w 1010602"/>
                <a:gd name="connsiteY1" fmla="*/ 135255 h 135255"/>
                <a:gd name="connsiteX2" fmla="*/ 502920 w 1010602"/>
                <a:gd name="connsiteY2" fmla="*/ 0 h 135255"/>
              </a:gdLst>
              <a:ahLst/>
              <a:cxnLst>
                <a:cxn ang="0">
                  <a:pos x="connsiteX0" y="connsiteY0"/>
                </a:cxn>
                <a:cxn ang="0">
                  <a:pos x="connsiteX1" y="connsiteY1"/>
                </a:cxn>
                <a:cxn ang="0">
                  <a:pos x="connsiteX2" y="connsiteY2"/>
                </a:cxn>
              </a:cxnLst>
              <a:rect l="l" t="t" r="r" b="b"/>
              <a:pathLst>
                <a:path w="1010602" h="135255">
                  <a:moveTo>
                    <a:pt x="0" y="135255"/>
                  </a:moveTo>
                  <a:lnTo>
                    <a:pt x="1010603" y="135255"/>
                  </a:lnTo>
                  <a:lnTo>
                    <a:pt x="502920" y="0"/>
                  </a:lnTo>
                  <a:close/>
                </a:path>
              </a:pathLst>
            </a:custGeom>
            <a:solidFill>
              <a:srgbClr val="FFC203"/>
            </a:solidFill>
            <a:ln w="9525" cap="flat">
              <a:noFill/>
              <a:prstDash val="solid"/>
              <a:miter/>
            </a:ln>
          </p:spPr>
          <p:txBody>
            <a:bodyPr rtlCol="0" anchor="ctr"/>
            <a:lstStyle/>
            <a:p>
              <a:pPr rtl="0"/>
              <a:endParaRPr lang="de-DE" dirty="0"/>
            </a:p>
          </p:txBody>
        </p:sp>
      </p:grpSp>
      <p:grpSp>
        <p:nvGrpSpPr>
          <p:cNvPr id="13" name="Gruppieren 12"/>
          <p:cNvGrpSpPr/>
          <p:nvPr userDrawn="1"/>
        </p:nvGrpSpPr>
        <p:grpSpPr>
          <a:xfrm>
            <a:off x="696649" y="6867625"/>
            <a:ext cx="10803834" cy="414000"/>
            <a:chOff x="696649" y="-304800"/>
            <a:chExt cx="10803834" cy="7298267"/>
          </a:xfrm>
        </p:grpSpPr>
        <p:cxnSp>
          <p:nvCxnSpPr>
            <p:cNvPr id="14" name="Gerader Verbinder 13"/>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uppieren 38"/>
          <p:cNvGrpSpPr/>
          <p:nvPr userDrawn="1"/>
        </p:nvGrpSpPr>
        <p:grpSpPr>
          <a:xfrm>
            <a:off x="-442761" y="196265"/>
            <a:ext cx="413886" cy="6481459"/>
            <a:chOff x="-442761" y="196265"/>
            <a:chExt cx="413886" cy="6481459"/>
          </a:xfrm>
        </p:grpSpPr>
        <p:cxnSp>
          <p:nvCxnSpPr>
            <p:cNvPr id="18" name="Gerader Verbinder 17"/>
            <p:cNvCxnSpPr/>
            <p:nvPr userDrawn="1"/>
          </p:nvCxnSpPr>
          <p:spPr>
            <a:xfrm>
              <a:off x="-442761" y="19626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a:xfrm>
              <a:off x="-442761" y="96633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a:xfrm>
              <a:off x="-442761" y="1273597"/>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a:xfrm>
              <a:off x="-442761" y="6308725"/>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a:xfrm>
              <a:off x="-442761" y="6677724"/>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442761" y="1633261"/>
              <a:ext cx="41388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26" name="Gruppieren 25"/>
          <p:cNvGrpSpPr/>
          <p:nvPr userDrawn="1"/>
        </p:nvGrpSpPr>
        <p:grpSpPr>
          <a:xfrm>
            <a:off x="12211250" y="196265"/>
            <a:ext cx="413886" cy="6481459"/>
            <a:chOff x="-728133" y="196265"/>
            <a:chExt cx="13140266" cy="6481459"/>
          </a:xfrm>
        </p:grpSpPr>
        <p:cxnSp>
          <p:nvCxnSpPr>
            <p:cNvPr id="28" name="Gerader Verbinder 27"/>
            <p:cNvCxnSpPr/>
            <p:nvPr userDrawn="1"/>
          </p:nvCxnSpPr>
          <p:spPr>
            <a:xfrm>
              <a:off x="-728133" y="19626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a:xfrm>
              <a:off x="-728133" y="96633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0" name="Gerader Verbinder 29"/>
            <p:cNvCxnSpPr/>
            <p:nvPr userDrawn="1"/>
          </p:nvCxnSpPr>
          <p:spPr>
            <a:xfrm>
              <a:off x="-728133" y="1273597"/>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userDrawn="1"/>
          </p:nvCxnSpPr>
          <p:spPr>
            <a:xfrm>
              <a:off x="-728133" y="6308725"/>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2" name="Gerader Verbinder 31"/>
            <p:cNvCxnSpPr/>
            <p:nvPr userDrawn="1"/>
          </p:nvCxnSpPr>
          <p:spPr>
            <a:xfrm>
              <a:off x="-728133" y="6677724"/>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a:xfrm>
              <a:off x="-728133" y="1633261"/>
              <a:ext cx="13140266" cy="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nvGrpSpPr>
          <p:cNvPr id="34" name="Gruppieren 33"/>
          <p:cNvGrpSpPr/>
          <p:nvPr userDrawn="1"/>
        </p:nvGrpSpPr>
        <p:grpSpPr>
          <a:xfrm>
            <a:off x="696649" y="-442875"/>
            <a:ext cx="10803834" cy="414000"/>
            <a:chOff x="696649" y="-304800"/>
            <a:chExt cx="10803834" cy="7298267"/>
          </a:xfrm>
        </p:grpSpPr>
        <p:cxnSp>
          <p:nvCxnSpPr>
            <p:cNvPr id="35" name="Gerader Verbinder 34"/>
            <p:cNvCxnSpPr/>
            <p:nvPr userDrawn="1"/>
          </p:nvCxnSpPr>
          <p:spPr>
            <a:xfrm>
              <a:off x="696649"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11500483" y="-304800"/>
              <a:ext cx="0" cy="7298267"/>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4" name="Datumsplatzhalter 3"/>
          <p:cNvSpPr>
            <a:spLocks noGrp="1"/>
          </p:cNvSpPr>
          <p:nvPr>
            <p:ph type="dt" sz="half" idx="2"/>
          </p:nvPr>
        </p:nvSpPr>
        <p:spPr>
          <a:xfrm>
            <a:off x="11031804" y="6578152"/>
            <a:ext cx="464871" cy="123111"/>
          </a:xfrm>
          <a:prstGeom prst="rect">
            <a:avLst/>
          </a:prstGeom>
        </p:spPr>
        <p:txBody>
          <a:bodyPr vert="horz" wrap="none" lIns="0" tIns="0" rIns="0" bIns="0" rtlCol="0" anchor="ctr">
            <a:spAutoFit/>
          </a:bodyPr>
          <a:lstStyle>
            <a:lvl1pPr algn="r" rtl="0">
              <a:defRPr sz="800" b="0">
                <a:solidFill>
                  <a:schemeClr val="tx1"/>
                </a:solidFill>
              </a:defRPr>
            </a:lvl1pPr>
          </a:lstStyle>
          <a:p>
            <a:fld id="{BED13377-AAC7-4B7B-9C72-542B49A3C0A3}" type="datetime1">
              <a:rPr lang="de-DE" smtClean="0"/>
              <a:t>12.04.2023</a:t>
            </a:fld>
            <a:endParaRPr lang="de-DE" dirty="0"/>
          </a:p>
        </p:txBody>
      </p:sp>
      <p:sp>
        <p:nvSpPr>
          <p:cNvPr id="6" name="Foliennummernplatzhalter 5"/>
          <p:cNvSpPr>
            <a:spLocks noGrp="1"/>
          </p:cNvSpPr>
          <p:nvPr>
            <p:ph type="sldNum" sz="quarter" idx="4"/>
          </p:nvPr>
        </p:nvSpPr>
        <p:spPr>
          <a:xfrm>
            <a:off x="11683058" y="6578152"/>
            <a:ext cx="201978" cy="123111"/>
          </a:xfrm>
          <a:prstGeom prst="rect">
            <a:avLst/>
          </a:prstGeom>
        </p:spPr>
        <p:txBody>
          <a:bodyPr vert="horz" wrap="none" lIns="0" tIns="0" rIns="0" bIns="0" rtlCol="0" anchor="ctr">
            <a:noAutofit/>
          </a:bodyPr>
          <a:lstStyle>
            <a:lvl1pPr algn="r" rtl="0">
              <a:defRPr sz="800" b="1">
                <a:solidFill>
                  <a:schemeClr val="tx1"/>
                </a:solidFill>
              </a:defRPr>
            </a:lvl1pPr>
          </a:lstStyle>
          <a:p>
            <a:fld id="{D4A18DF9-8FF6-4BA5-BC52-5FB4772E2292}" type="slidenum">
              <a:rPr lang="de-DE" smtClean="0"/>
              <a:pPr/>
              <a:t>‹Nr.›</a:t>
            </a:fld>
            <a:endParaRPr lang="de-DE" dirty="0"/>
          </a:p>
        </p:txBody>
      </p:sp>
      <p:cxnSp>
        <p:nvCxnSpPr>
          <p:cNvPr id="38" name="Gerader Verbinder 37"/>
          <p:cNvCxnSpPr/>
          <p:nvPr userDrawn="1"/>
        </p:nvCxnSpPr>
        <p:spPr>
          <a:xfrm>
            <a:off x="11324724" y="-442875"/>
            <a:ext cx="0" cy="414000"/>
          </a:xfrm>
          <a:prstGeom prst="line">
            <a:avLst/>
          </a:prstGeom>
          <a:ln w="6350">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818515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Lst>
  <p:hf hdr="0" dt="0"/>
  <p:txStyles>
    <p:titleStyle>
      <a:lvl1pPr algn="l" defTabSz="914400" rtl="0" eaLnBrk="1" latinLnBrk="0" hangingPunct="1">
        <a:lnSpc>
          <a:spcPct val="90000"/>
        </a:lnSpc>
        <a:spcBef>
          <a:spcPct val="0"/>
        </a:spcBef>
        <a:buNone/>
        <a:defRPr sz="2400" b="1" i="1" kern="1200">
          <a:solidFill>
            <a:schemeClr val="tx1"/>
          </a:solidFill>
          <a:latin typeface="+mj-lt"/>
          <a:ea typeface="+mj-ea"/>
          <a:cs typeface="+mj-cs"/>
        </a:defRPr>
      </a:lvl1pPr>
    </p:titleStyle>
    <p:bodyStyle>
      <a:lvl1pPr marL="27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1pPr>
      <a:lvl2pPr marL="54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2pPr>
      <a:lvl3pPr marL="81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3pPr>
      <a:lvl4pPr marL="108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438" userDrawn="1">
          <p15:clr>
            <a:srgbClr val="F26B43"/>
          </p15:clr>
        </p15:guide>
        <p15:guide id="3" pos="7242" userDrawn="1">
          <p15:clr>
            <a:srgbClr val="F26B43"/>
          </p15:clr>
        </p15:guide>
        <p15:guide id="4" orient="horz" pos="2160" userDrawn="1">
          <p15:clr>
            <a:srgbClr val="F26B43"/>
          </p15:clr>
        </p15:guide>
        <p15:guide id="5" orient="horz" pos="3974" userDrawn="1">
          <p15:clr>
            <a:srgbClr val="F26B43"/>
          </p15:clr>
        </p15:guide>
        <p15:guide id="6" orient="horz" pos="4208" userDrawn="1">
          <p15:clr>
            <a:srgbClr val="F26B43"/>
          </p15:clr>
        </p15:guide>
        <p15:guide id="7" orient="horz" pos="1026" userDrawn="1">
          <p15:clr>
            <a:srgbClr val="F26B43"/>
          </p15:clr>
        </p15:guide>
        <p15:guide id="8" orient="horz" pos="803" userDrawn="1">
          <p15:clr>
            <a:srgbClr val="F26B43"/>
          </p15:clr>
        </p15:guide>
        <p15:guide id="9" orient="horz" pos="608" userDrawn="1">
          <p15:clr>
            <a:srgbClr val="F26B43"/>
          </p15:clr>
        </p15:guide>
        <p15:guide id="10" orient="horz" pos="122" userDrawn="1">
          <p15:clr>
            <a:srgbClr val="F26B43"/>
          </p15:clr>
        </p15:guide>
        <p15:guide id="11" pos="3616" userDrawn="1">
          <p15:clr>
            <a:srgbClr val="A4A3A4"/>
          </p15:clr>
        </p15:guide>
        <p15:guide id="12" pos="406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6.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33.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em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34.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6.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oleObject" Target="../embeddings/oleObject35.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0.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2.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22.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2.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2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25.bin"/><Relationship Id="rId13" Type="http://schemas.openxmlformats.org/officeDocument/2006/relationships/image" Target="../media/image15.wmf"/><Relationship Id="rId3" Type="http://schemas.openxmlformats.org/officeDocument/2006/relationships/tags" Target="../tags/tag51.xml"/><Relationship Id="rId7" Type="http://schemas.openxmlformats.org/officeDocument/2006/relationships/image" Target="../media/image6.emf"/><Relationship Id="rId12" Type="http://schemas.openxmlformats.org/officeDocument/2006/relationships/oleObject" Target="../embeddings/oleObject27.bin"/><Relationship Id="rId17" Type="http://schemas.openxmlformats.org/officeDocument/2006/relationships/image" Target="../media/image17.wmf"/><Relationship Id="rId2" Type="http://schemas.openxmlformats.org/officeDocument/2006/relationships/tags" Target="../tags/tag50.xml"/><Relationship Id="rId16" Type="http://schemas.openxmlformats.org/officeDocument/2006/relationships/oleObject" Target="../embeddings/oleObject29.bin"/><Relationship Id="rId1" Type="http://schemas.openxmlformats.org/officeDocument/2006/relationships/tags" Target="../tags/tag49.xml"/><Relationship Id="rId6" Type="http://schemas.openxmlformats.org/officeDocument/2006/relationships/oleObject" Target="../embeddings/oleObject24.bin"/><Relationship Id="rId11" Type="http://schemas.openxmlformats.org/officeDocument/2006/relationships/image" Target="../media/image14.wmf"/><Relationship Id="rId5" Type="http://schemas.openxmlformats.org/officeDocument/2006/relationships/notesSlide" Target="../notesSlides/notesSlide7.xml"/><Relationship Id="rId15" Type="http://schemas.openxmlformats.org/officeDocument/2006/relationships/image" Target="../media/image16.wmf"/><Relationship Id="rId10" Type="http://schemas.openxmlformats.org/officeDocument/2006/relationships/oleObject" Target="../embeddings/oleObject26.bin"/><Relationship Id="rId4" Type="http://schemas.openxmlformats.org/officeDocument/2006/relationships/slideLayout" Target="../slideLayouts/slideLayout3.xml"/><Relationship Id="rId9" Type="http://schemas.openxmlformats.org/officeDocument/2006/relationships/image" Target="../media/image13.wmf"/><Relationship Id="rId14" Type="http://schemas.openxmlformats.org/officeDocument/2006/relationships/oleObject" Target="../embeddings/oleObject28.bin"/></Relationships>
</file>

<file path=ppt/slides/_rels/slide9.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180829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6" imgH="416" progId="TCLayout.ActiveDocument.1">
                  <p:embed/>
                </p:oleObj>
              </mc:Choice>
              <mc:Fallback>
                <p:oleObj name="think-cell Folie" r:id="rId5" imgW="416" imgH="416"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297F526E-4379-478C-ACC2-73768E5807A0}"/>
              </a:ext>
            </a:extLst>
          </p:cNvPr>
          <p:cNvSpPr>
            <a:spLocks noGrp="1"/>
          </p:cNvSpPr>
          <p:nvPr>
            <p:ph type="ctrTitle"/>
          </p:nvPr>
        </p:nvSpPr>
        <p:spPr>
          <a:xfrm>
            <a:off x="696115" y="1233577"/>
            <a:ext cx="9119003" cy="1074781"/>
          </a:xfrm>
        </p:spPr>
        <p:txBody>
          <a:bodyPr vert="horz"/>
          <a:lstStyle/>
          <a:p>
            <a:r>
              <a:rPr lang="de-DE" dirty="0" err="1"/>
              <a:t>Factbook</a:t>
            </a:r>
            <a:r>
              <a:rPr lang="de-DE" dirty="0"/>
              <a:t> Verwaltungsdigitalisierung</a:t>
            </a:r>
            <a:br>
              <a:rPr lang="de-DE" dirty="0"/>
            </a:br>
            <a:r>
              <a:rPr lang="de-DE" dirty="0"/>
              <a:t>Widerspruchsverfahren</a:t>
            </a:r>
          </a:p>
        </p:txBody>
      </p:sp>
      <p:sp>
        <p:nvSpPr>
          <p:cNvPr id="9" name="Untertitel 8">
            <a:extLst>
              <a:ext uri="{FF2B5EF4-FFF2-40B4-BE49-F238E27FC236}">
                <a16:creationId xmlns:a16="http://schemas.microsoft.com/office/drawing/2014/main" id="{75D48A9A-06A1-4E09-9213-D3CFD04BAFAA}"/>
              </a:ext>
            </a:extLst>
          </p:cNvPr>
          <p:cNvSpPr>
            <a:spLocks noGrp="1"/>
          </p:cNvSpPr>
          <p:nvPr>
            <p:ph type="subTitle" idx="1"/>
          </p:nvPr>
        </p:nvSpPr>
        <p:spPr>
          <a:xfrm>
            <a:off x="696117" y="2733974"/>
            <a:ext cx="5760000" cy="238848"/>
          </a:xfrm>
        </p:spPr>
        <p:txBody>
          <a:bodyPr/>
          <a:lstStyle/>
          <a:p>
            <a:r>
              <a:rPr lang="de-DE" dirty="0"/>
              <a:t>Vor den Hintergrund OZG/SDG, Registermodernisierung etc.</a:t>
            </a:r>
          </a:p>
        </p:txBody>
      </p:sp>
      <p:sp>
        <p:nvSpPr>
          <p:cNvPr id="10" name="Textplatzhalter 9">
            <a:extLst>
              <a:ext uri="{FF2B5EF4-FFF2-40B4-BE49-F238E27FC236}">
                <a16:creationId xmlns:a16="http://schemas.microsoft.com/office/drawing/2014/main" id="{63575EC2-1B99-4378-A52E-01DD43A6896B}"/>
              </a:ext>
            </a:extLst>
          </p:cNvPr>
          <p:cNvSpPr>
            <a:spLocks noGrp="1"/>
          </p:cNvSpPr>
          <p:nvPr>
            <p:ph type="body" sz="quarter" idx="13"/>
          </p:nvPr>
        </p:nvSpPr>
        <p:spPr>
          <a:xfrm>
            <a:off x="696118" y="3398439"/>
            <a:ext cx="3280710" cy="246221"/>
          </a:xfrm>
        </p:spPr>
        <p:txBody>
          <a:bodyPr/>
          <a:lstStyle/>
          <a:p>
            <a:r>
              <a:rPr lang="de-DE" dirty="0"/>
              <a:t>Berlin, Dezember 2022</a:t>
            </a:r>
          </a:p>
        </p:txBody>
      </p:sp>
    </p:spTree>
    <p:custDataLst>
      <p:tags r:id="rId1"/>
    </p:custDataLst>
    <p:extLst>
      <p:ext uri="{BB962C8B-B14F-4D97-AF65-F5344CB8AC3E}">
        <p14:creationId xmlns:p14="http://schemas.microsoft.com/office/powerpoint/2010/main" val="40150317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1903651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7" imgH="348" progId="TCLayout.ActiveDocument.1">
                  <p:embed/>
                </p:oleObj>
              </mc:Choice>
              <mc:Fallback>
                <p:oleObj name="think-cell Foli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altLang="de-DE" dirty="0"/>
              <a:t>Prozessbeschreibung Förderverfahren „Unser Dorf soll schöner werden“</a:t>
            </a:r>
            <a:endParaRPr lang="de-DE" dirty="0"/>
          </a:p>
        </p:txBody>
      </p:sp>
      <p:sp>
        <p:nvSpPr>
          <p:cNvPr id="3" name="Fußzeilenplatzhalter 2"/>
          <p:cNvSpPr>
            <a:spLocks noGrp="1"/>
          </p:cNvSpPr>
          <p:nvPr>
            <p:ph type="ftr" sz="quarter" idx="10"/>
          </p:nvPr>
        </p:nvSpPr>
        <p:spPr/>
        <p:txBody>
          <a:bodyPr/>
          <a:lstStyle/>
          <a:p>
            <a:pPr>
              <a:defRPr/>
            </a:pPr>
            <a:r>
              <a:rPr lang="de-DE"/>
              <a:t>Factbook Verwaltungsdigitalisierung</a:t>
            </a:r>
            <a:endParaRPr lang="de-DE" dirty="0"/>
          </a:p>
        </p:txBody>
      </p:sp>
      <p:sp>
        <p:nvSpPr>
          <p:cNvPr id="4" name="Foliennummernplatzhalter 3"/>
          <p:cNvSpPr>
            <a:spLocks noGrp="1"/>
          </p:cNvSpPr>
          <p:nvPr>
            <p:ph type="sldNum" sz="quarter" idx="12"/>
          </p:nvPr>
        </p:nvSpPr>
        <p:spPr/>
        <p:txBody>
          <a:bodyPr/>
          <a:lstStyle/>
          <a:p>
            <a:fld id="{D4A18DF9-8FF6-4BA5-BC52-5FB4772E2292}" type="slidenum">
              <a:rPr lang="de-DE" smtClean="0"/>
              <a:pPr/>
              <a:t>10</a:t>
            </a:fld>
            <a:endParaRPr lang="de-DE" dirty="0"/>
          </a:p>
        </p:txBody>
      </p:sp>
      <p:sp>
        <p:nvSpPr>
          <p:cNvPr id="5" name="Textplatzhalter 4"/>
          <p:cNvSpPr>
            <a:spLocks noGrp="1"/>
          </p:cNvSpPr>
          <p:nvPr>
            <p:ph type="body" sz="quarter" idx="14"/>
          </p:nvPr>
        </p:nvSpPr>
        <p:spPr>
          <a:xfrm>
            <a:off x="693211" y="191947"/>
            <a:ext cx="1920398" cy="123111"/>
          </a:xfrm>
        </p:spPr>
        <p:txBody>
          <a:bodyPr/>
          <a:lstStyle/>
          <a:p>
            <a:r>
              <a:rPr lang="de-DE" dirty="0"/>
              <a:t>Plattformbasierte Verwaltungsdigitalisierung</a:t>
            </a:r>
          </a:p>
        </p:txBody>
      </p:sp>
      <p:sp>
        <p:nvSpPr>
          <p:cNvPr id="6" name="Textplatzhalter 5"/>
          <p:cNvSpPr>
            <a:spLocks noGrp="1"/>
          </p:cNvSpPr>
          <p:nvPr>
            <p:ph type="body" sz="quarter" idx="13"/>
          </p:nvPr>
        </p:nvSpPr>
        <p:spPr/>
        <p:txBody>
          <a:bodyPr/>
          <a:lstStyle/>
          <a:p>
            <a:r>
              <a:rPr lang="de-DE" dirty="0"/>
              <a:t>Prozessbeschreibung</a:t>
            </a:r>
          </a:p>
        </p:txBody>
      </p:sp>
      <p:sp>
        <p:nvSpPr>
          <p:cNvPr id="10" name="Rectangle 6">
            <a:extLst>
              <a:ext uri="{FF2B5EF4-FFF2-40B4-BE49-F238E27FC236}">
                <a16:creationId xmlns:a16="http://schemas.microsoft.com/office/drawing/2014/main" id="{32E09671-CE98-4E40-BA8E-8EC7F64BDBE5}"/>
              </a:ext>
            </a:extLst>
          </p:cNvPr>
          <p:cNvSpPr>
            <a:spLocks noChangeArrowheads="1"/>
          </p:cNvSpPr>
          <p:nvPr/>
        </p:nvSpPr>
        <p:spPr bwMode="auto">
          <a:xfrm>
            <a:off x="695325" y="1628775"/>
            <a:ext cx="10810800" cy="306002"/>
          </a:xfrm>
          <a:prstGeom prst="rect">
            <a:avLst/>
          </a:prstGeom>
          <a:solidFill>
            <a:schemeClr val="accent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altLang="de-DE" sz="1400" b="0" dirty="0">
                <a:solidFill>
                  <a:srgbClr val="FFFFFF"/>
                </a:solidFill>
                <a:latin typeface="+mn-lt"/>
              </a:rPr>
              <a:t>Verrichtung Widerspruchsverfahren (2/3)</a:t>
            </a:r>
            <a:endParaRPr lang="de-DE" altLang="de-DE" sz="3600" b="0" dirty="0">
              <a:solidFill>
                <a:schemeClr val="tx1"/>
              </a:solidFill>
              <a:latin typeface="+mn-lt"/>
            </a:endParaRPr>
          </a:p>
        </p:txBody>
      </p:sp>
      <p:grpSp>
        <p:nvGrpSpPr>
          <p:cNvPr id="11" name="Gruppieren 10"/>
          <p:cNvGrpSpPr/>
          <p:nvPr/>
        </p:nvGrpSpPr>
        <p:grpSpPr>
          <a:xfrm>
            <a:off x="695325" y="4680700"/>
            <a:ext cx="10800000" cy="1047291"/>
            <a:chOff x="704793" y="4656507"/>
            <a:chExt cx="11073894" cy="1432720"/>
          </a:xfrm>
        </p:grpSpPr>
        <p:sp>
          <p:nvSpPr>
            <p:cNvPr id="12" name="Rectangle 13">
              <a:extLst>
                <a:ext uri="{FF2B5EF4-FFF2-40B4-BE49-F238E27FC236}">
                  <a16:creationId xmlns:a16="http://schemas.microsoft.com/office/drawing/2014/main" id="{D342D121-1021-4364-8676-69662C9754EB}"/>
                </a:ext>
              </a:extLst>
            </p:cNvPr>
            <p:cNvSpPr>
              <a:spLocks noChangeArrowheads="1"/>
            </p:cNvSpPr>
            <p:nvPr/>
          </p:nvSpPr>
          <p:spPr bwMode="auto">
            <a:xfrm>
              <a:off x="1298405" y="4656507"/>
              <a:ext cx="10480282" cy="1432720"/>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latin typeface="+mn-lt"/>
              </a:endParaRPr>
            </a:p>
          </p:txBody>
        </p:sp>
        <p:sp>
          <p:nvSpPr>
            <p:cNvPr id="13" name="Rectangle 14">
              <a:extLst>
                <a:ext uri="{FF2B5EF4-FFF2-40B4-BE49-F238E27FC236}">
                  <a16:creationId xmlns:a16="http://schemas.microsoft.com/office/drawing/2014/main" id="{D1D2E309-6355-4FEE-B64F-5498BA981CDA}"/>
                </a:ext>
              </a:extLst>
            </p:cNvPr>
            <p:cNvSpPr>
              <a:spLocks noChangeArrowheads="1"/>
            </p:cNvSpPr>
            <p:nvPr/>
          </p:nvSpPr>
          <p:spPr bwMode="auto">
            <a:xfrm>
              <a:off x="704793" y="4656507"/>
              <a:ext cx="593613" cy="1432720"/>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200" b="0" dirty="0">
                  <a:solidFill>
                    <a:schemeClr val="bg1"/>
                  </a:solidFill>
                  <a:latin typeface="+mn-lt"/>
                </a:rPr>
                <a:t>IT-Systeme</a:t>
              </a:r>
            </a:p>
          </p:txBody>
        </p:sp>
      </p:grpSp>
      <p:grpSp>
        <p:nvGrpSpPr>
          <p:cNvPr id="14" name="Gruppieren 13"/>
          <p:cNvGrpSpPr/>
          <p:nvPr/>
        </p:nvGrpSpPr>
        <p:grpSpPr>
          <a:xfrm>
            <a:off x="695325" y="1934778"/>
            <a:ext cx="10800000" cy="936000"/>
            <a:chOff x="704793" y="2296012"/>
            <a:chExt cx="11073894" cy="1132449"/>
          </a:xfrm>
        </p:grpSpPr>
        <p:sp>
          <p:nvSpPr>
            <p:cNvPr id="15" name="Rectangle 9">
              <a:extLst>
                <a:ext uri="{FF2B5EF4-FFF2-40B4-BE49-F238E27FC236}">
                  <a16:creationId xmlns:a16="http://schemas.microsoft.com/office/drawing/2014/main" id="{398D2A2D-DD1D-4948-8598-5A56A7BAE3B7}"/>
                </a:ext>
              </a:extLst>
            </p:cNvPr>
            <p:cNvSpPr>
              <a:spLocks noChangeArrowheads="1"/>
            </p:cNvSpPr>
            <p:nvPr/>
          </p:nvSpPr>
          <p:spPr bwMode="auto">
            <a:xfrm>
              <a:off x="1298405" y="2296012"/>
              <a:ext cx="10480282" cy="1132449"/>
            </a:xfrm>
            <a:prstGeom prst="rect">
              <a:avLst/>
            </a:prstGeom>
            <a:noFill/>
            <a:ln w="4763" cap="rnd">
              <a:solidFill>
                <a:srgbClr val="254F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000" dirty="0">
                <a:latin typeface="+mn-lt"/>
              </a:endParaRPr>
            </a:p>
          </p:txBody>
        </p:sp>
        <p:sp>
          <p:nvSpPr>
            <p:cNvPr id="16" name="Rectangle 10">
              <a:extLst>
                <a:ext uri="{FF2B5EF4-FFF2-40B4-BE49-F238E27FC236}">
                  <a16:creationId xmlns:a16="http://schemas.microsoft.com/office/drawing/2014/main" id="{A67BBDEC-4A9D-4BC1-BF8C-46DC3E54CCED}"/>
                </a:ext>
              </a:extLst>
            </p:cNvPr>
            <p:cNvSpPr>
              <a:spLocks noChangeArrowheads="1"/>
            </p:cNvSpPr>
            <p:nvPr/>
          </p:nvSpPr>
          <p:spPr bwMode="auto">
            <a:xfrm>
              <a:off x="704793" y="2296012"/>
              <a:ext cx="593613" cy="1132449"/>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050" b="0" dirty="0">
                  <a:solidFill>
                    <a:schemeClr val="bg1"/>
                  </a:solidFill>
                  <a:latin typeface="+mn-lt"/>
                </a:rPr>
                <a:t>Antragssteller</a:t>
              </a:r>
            </a:p>
          </p:txBody>
        </p:sp>
      </p:grpSp>
      <p:grpSp>
        <p:nvGrpSpPr>
          <p:cNvPr id="17" name="Gruppieren 16"/>
          <p:cNvGrpSpPr/>
          <p:nvPr/>
        </p:nvGrpSpPr>
        <p:grpSpPr>
          <a:xfrm>
            <a:off x="695325" y="2870584"/>
            <a:ext cx="10800000" cy="1810116"/>
            <a:chOff x="704793" y="3428461"/>
            <a:chExt cx="11073893" cy="1228046"/>
          </a:xfrm>
        </p:grpSpPr>
        <p:sp>
          <p:nvSpPr>
            <p:cNvPr id="18" name="Rectangle 18">
              <a:extLst>
                <a:ext uri="{FF2B5EF4-FFF2-40B4-BE49-F238E27FC236}">
                  <a16:creationId xmlns:a16="http://schemas.microsoft.com/office/drawing/2014/main" id="{917DD591-168F-421A-8AA6-528A1A8BF4D9}"/>
                </a:ext>
              </a:extLst>
            </p:cNvPr>
            <p:cNvSpPr>
              <a:spLocks noChangeArrowheads="1"/>
            </p:cNvSpPr>
            <p:nvPr/>
          </p:nvSpPr>
          <p:spPr bwMode="auto">
            <a:xfrm>
              <a:off x="1298405" y="3428461"/>
              <a:ext cx="10480281" cy="1228046"/>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latin typeface="+mn-lt"/>
              </a:endParaRPr>
            </a:p>
          </p:txBody>
        </p:sp>
        <p:sp>
          <p:nvSpPr>
            <p:cNvPr id="19" name="Rectangle 19">
              <a:extLst>
                <a:ext uri="{FF2B5EF4-FFF2-40B4-BE49-F238E27FC236}">
                  <a16:creationId xmlns:a16="http://schemas.microsoft.com/office/drawing/2014/main" id="{B0A7F657-D396-4384-940E-BA7AE49CB37D}"/>
                </a:ext>
              </a:extLst>
            </p:cNvPr>
            <p:cNvSpPr>
              <a:spLocks noChangeArrowheads="1"/>
            </p:cNvSpPr>
            <p:nvPr/>
          </p:nvSpPr>
          <p:spPr bwMode="auto">
            <a:xfrm>
              <a:off x="704793" y="3428461"/>
              <a:ext cx="593613" cy="1228046"/>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100" b="0" dirty="0">
                  <a:solidFill>
                    <a:schemeClr val="bg1"/>
                  </a:solidFill>
                  <a:latin typeface="+mn-lt"/>
                </a:rPr>
                <a:t>Verwaltung</a:t>
              </a:r>
            </a:p>
          </p:txBody>
        </p:sp>
      </p:grpSp>
      <p:grpSp>
        <p:nvGrpSpPr>
          <p:cNvPr id="20" name="Gruppieren 19"/>
          <p:cNvGrpSpPr/>
          <p:nvPr/>
        </p:nvGrpSpPr>
        <p:grpSpPr>
          <a:xfrm>
            <a:off x="2415156" y="5885090"/>
            <a:ext cx="7452698" cy="290137"/>
            <a:chOff x="2554484" y="6177297"/>
            <a:chExt cx="7452698" cy="290137"/>
          </a:xfrm>
        </p:grpSpPr>
        <p:sp>
          <p:nvSpPr>
            <p:cNvPr id="21" name="noun_project_00453.eps"/>
            <p:cNvSpPr>
              <a:spLocks noChangeAspect="1" noEditPoints="1"/>
            </p:cNvSpPr>
            <p:nvPr/>
          </p:nvSpPr>
          <p:spPr bwMode="auto">
            <a:xfrm>
              <a:off x="2554484" y="6208306"/>
              <a:ext cx="180000" cy="22811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p>
          </p:txBody>
        </p:sp>
        <p:grpSp>
          <p:nvGrpSpPr>
            <p:cNvPr id="22" name="noun_project_00456.eps"/>
            <p:cNvGrpSpPr>
              <a:grpSpLocks noChangeAspect="1"/>
            </p:cNvGrpSpPr>
            <p:nvPr/>
          </p:nvGrpSpPr>
          <p:grpSpPr bwMode="auto">
            <a:xfrm>
              <a:off x="7623664" y="6277365"/>
              <a:ext cx="180000" cy="90000"/>
              <a:chOff x="3400" y="3056"/>
              <a:chExt cx="384" cy="192"/>
            </a:xfrm>
            <a:solidFill>
              <a:schemeClr val="tx1"/>
            </a:solidFill>
          </p:grpSpPr>
          <p:sp>
            <p:nvSpPr>
              <p:cNvPr id="56" name="Freeform 379"/>
              <p:cNvSpPr>
                <a:spLocks noChangeAspect="1"/>
              </p:cNvSpPr>
              <p:nvPr/>
            </p:nvSpPr>
            <p:spPr bwMode="auto">
              <a:xfrm>
                <a:off x="3688" y="3056"/>
                <a:ext cx="96" cy="192"/>
              </a:xfrm>
              <a:custGeom>
                <a:avLst/>
                <a:gdLst>
                  <a:gd name="T0" fmla="*/ 0 w 864"/>
                  <a:gd name="T1" fmla="*/ 0 h 1728"/>
                  <a:gd name="T2" fmla="*/ 864 w 864"/>
                  <a:gd name="T3" fmla="*/ 864 h 1728"/>
                  <a:gd name="T4" fmla="*/ 0 w 864"/>
                  <a:gd name="T5" fmla="*/ 1728 h 1728"/>
                  <a:gd name="T6" fmla="*/ 0 w 864"/>
                  <a:gd name="T7" fmla="*/ 1337 h 1728"/>
                  <a:gd name="T8" fmla="*/ 473 w 864"/>
                  <a:gd name="T9" fmla="*/ 864 h 1728"/>
                  <a:gd name="T10" fmla="*/ 0 w 864"/>
                  <a:gd name="T11" fmla="*/ 391 h 1728"/>
                  <a:gd name="T12" fmla="*/ 0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0" y="0"/>
                    </a:moveTo>
                    <a:lnTo>
                      <a:pt x="864" y="864"/>
                    </a:lnTo>
                    <a:lnTo>
                      <a:pt x="0" y="1728"/>
                    </a:lnTo>
                    <a:lnTo>
                      <a:pt x="0" y="1337"/>
                    </a:lnTo>
                    <a:lnTo>
                      <a:pt x="473" y="864"/>
                    </a:lnTo>
                    <a:lnTo>
                      <a:pt x="0" y="391"/>
                    </a:lnTo>
                    <a:lnTo>
                      <a:pt x="0" y="0"/>
                    </a:lnTo>
                    <a:close/>
                  </a:path>
                </a:pathLst>
              </a:custGeom>
              <a:grpFill/>
              <a:ln w="0">
                <a:solidFill>
                  <a:schemeClr val="tx1"/>
                </a:solidFill>
                <a:prstDash val="solid"/>
                <a:round/>
                <a:headEnd/>
                <a:tailEnd/>
              </a:ln>
            </p:spPr>
            <p:txBody>
              <a:bodyPr/>
              <a:lstStyle/>
              <a:p>
                <a:endParaRPr lang="de-DE" sz="800" b="0" dirty="0"/>
              </a:p>
            </p:txBody>
          </p:sp>
          <p:sp>
            <p:nvSpPr>
              <p:cNvPr id="57" name="Freeform 380"/>
              <p:cNvSpPr>
                <a:spLocks noChangeAspect="1"/>
              </p:cNvSpPr>
              <p:nvPr/>
            </p:nvSpPr>
            <p:spPr bwMode="auto">
              <a:xfrm>
                <a:off x="3400" y="3056"/>
                <a:ext cx="96" cy="192"/>
              </a:xfrm>
              <a:custGeom>
                <a:avLst/>
                <a:gdLst>
                  <a:gd name="T0" fmla="*/ 864 w 864"/>
                  <a:gd name="T1" fmla="*/ 0 h 1728"/>
                  <a:gd name="T2" fmla="*/ 864 w 864"/>
                  <a:gd name="T3" fmla="*/ 391 h 1728"/>
                  <a:gd name="T4" fmla="*/ 391 w 864"/>
                  <a:gd name="T5" fmla="*/ 864 h 1728"/>
                  <a:gd name="T6" fmla="*/ 864 w 864"/>
                  <a:gd name="T7" fmla="*/ 1337 h 1728"/>
                  <a:gd name="T8" fmla="*/ 864 w 864"/>
                  <a:gd name="T9" fmla="*/ 1728 h 1728"/>
                  <a:gd name="T10" fmla="*/ 0 w 864"/>
                  <a:gd name="T11" fmla="*/ 864 h 1728"/>
                  <a:gd name="T12" fmla="*/ 864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864" y="0"/>
                    </a:moveTo>
                    <a:lnTo>
                      <a:pt x="864" y="391"/>
                    </a:lnTo>
                    <a:lnTo>
                      <a:pt x="391" y="864"/>
                    </a:lnTo>
                    <a:lnTo>
                      <a:pt x="864" y="1337"/>
                    </a:lnTo>
                    <a:lnTo>
                      <a:pt x="864" y="1728"/>
                    </a:lnTo>
                    <a:lnTo>
                      <a:pt x="0" y="864"/>
                    </a:lnTo>
                    <a:lnTo>
                      <a:pt x="864" y="0"/>
                    </a:lnTo>
                    <a:close/>
                  </a:path>
                </a:pathLst>
              </a:custGeom>
              <a:grpFill/>
              <a:ln w="0">
                <a:solidFill>
                  <a:schemeClr val="tx1"/>
                </a:solidFill>
                <a:prstDash val="solid"/>
                <a:round/>
                <a:headEnd/>
                <a:tailEnd/>
              </a:ln>
            </p:spPr>
            <p:txBody>
              <a:bodyPr/>
              <a:lstStyle/>
              <a:p>
                <a:endParaRPr lang="de-DE" sz="800" b="0" dirty="0"/>
              </a:p>
            </p:txBody>
          </p:sp>
          <p:sp>
            <p:nvSpPr>
              <p:cNvPr id="58" name="Freeform 381"/>
              <p:cNvSpPr>
                <a:spLocks noChangeAspect="1"/>
              </p:cNvSpPr>
              <p:nvPr/>
            </p:nvSpPr>
            <p:spPr bwMode="auto">
              <a:xfrm>
                <a:off x="3569"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p>
            </p:txBody>
          </p:sp>
          <p:sp>
            <p:nvSpPr>
              <p:cNvPr id="59" name="Freeform 382"/>
              <p:cNvSpPr>
                <a:spLocks noChangeAspect="1"/>
              </p:cNvSpPr>
              <p:nvPr/>
            </p:nvSpPr>
            <p:spPr bwMode="auto">
              <a:xfrm>
                <a:off x="3500" y="3133"/>
                <a:ext cx="46" cy="46"/>
              </a:xfrm>
              <a:custGeom>
                <a:avLst/>
                <a:gdLst>
                  <a:gd name="T0" fmla="*/ 207 w 414"/>
                  <a:gd name="T1" fmla="*/ 0 h 415"/>
                  <a:gd name="T2" fmla="*/ 240 w 414"/>
                  <a:gd name="T3" fmla="*/ 3 h 415"/>
                  <a:gd name="T4" fmla="*/ 273 w 414"/>
                  <a:gd name="T5" fmla="*/ 11 h 415"/>
                  <a:gd name="T6" fmla="*/ 302 w 414"/>
                  <a:gd name="T7" fmla="*/ 23 h 415"/>
                  <a:gd name="T8" fmla="*/ 329 w 414"/>
                  <a:gd name="T9" fmla="*/ 40 h 415"/>
                  <a:gd name="T10" fmla="*/ 354 w 414"/>
                  <a:gd name="T11" fmla="*/ 61 h 415"/>
                  <a:gd name="T12" fmla="*/ 374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4 w 414"/>
                  <a:gd name="T29" fmla="*/ 330 h 415"/>
                  <a:gd name="T30" fmla="*/ 354 w 414"/>
                  <a:gd name="T31" fmla="*/ 354 h 415"/>
                  <a:gd name="T32" fmla="*/ 329 w 414"/>
                  <a:gd name="T33" fmla="*/ 375 h 415"/>
                  <a:gd name="T34" fmla="*/ 302 w 414"/>
                  <a:gd name="T35" fmla="*/ 392 h 415"/>
                  <a:gd name="T36" fmla="*/ 273 w 414"/>
                  <a:gd name="T37" fmla="*/ 404 h 415"/>
                  <a:gd name="T38" fmla="*/ 240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0" y="3"/>
                    </a:lnTo>
                    <a:lnTo>
                      <a:pt x="273" y="11"/>
                    </a:lnTo>
                    <a:lnTo>
                      <a:pt x="302" y="23"/>
                    </a:lnTo>
                    <a:lnTo>
                      <a:pt x="329" y="40"/>
                    </a:lnTo>
                    <a:lnTo>
                      <a:pt x="354" y="61"/>
                    </a:lnTo>
                    <a:lnTo>
                      <a:pt x="374" y="85"/>
                    </a:lnTo>
                    <a:lnTo>
                      <a:pt x="391" y="112"/>
                    </a:lnTo>
                    <a:lnTo>
                      <a:pt x="404" y="142"/>
                    </a:lnTo>
                    <a:lnTo>
                      <a:pt x="411" y="174"/>
                    </a:lnTo>
                    <a:lnTo>
                      <a:pt x="414" y="208"/>
                    </a:lnTo>
                    <a:lnTo>
                      <a:pt x="411" y="241"/>
                    </a:lnTo>
                    <a:lnTo>
                      <a:pt x="404" y="274"/>
                    </a:lnTo>
                    <a:lnTo>
                      <a:pt x="391" y="303"/>
                    </a:lnTo>
                    <a:lnTo>
                      <a:pt x="374" y="330"/>
                    </a:lnTo>
                    <a:lnTo>
                      <a:pt x="354" y="354"/>
                    </a:lnTo>
                    <a:lnTo>
                      <a:pt x="329" y="375"/>
                    </a:lnTo>
                    <a:lnTo>
                      <a:pt x="302" y="392"/>
                    </a:lnTo>
                    <a:lnTo>
                      <a:pt x="273" y="404"/>
                    </a:lnTo>
                    <a:lnTo>
                      <a:pt x="240"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p>
            </p:txBody>
          </p:sp>
          <p:sp>
            <p:nvSpPr>
              <p:cNvPr id="60" name="Freeform 383"/>
              <p:cNvSpPr>
                <a:spLocks noChangeAspect="1"/>
              </p:cNvSpPr>
              <p:nvPr/>
            </p:nvSpPr>
            <p:spPr bwMode="auto">
              <a:xfrm>
                <a:off x="3638"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4 w 414"/>
                  <a:gd name="T43" fmla="*/ 412 h 415"/>
                  <a:gd name="T44" fmla="*/ 141 w 414"/>
                  <a:gd name="T45" fmla="*/ 404 h 415"/>
                  <a:gd name="T46" fmla="*/ 112 w 414"/>
                  <a:gd name="T47" fmla="*/ 392 h 415"/>
                  <a:gd name="T48" fmla="*/ 85 w 414"/>
                  <a:gd name="T49" fmla="*/ 375 h 415"/>
                  <a:gd name="T50" fmla="*/ 60 w 414"/>
                  <a:gd name="T51" fmla="*/ 354 h 415"/>
                  <a:gd name="T52" fmla="*/ 40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40 w 414"/>
                  <a:gd name="T69" fmla="*/ 85 h 415"/>
                  <a:gd name="T70" fmla="*/ 60 w 414"/>
                  <a:gd name="T71" fmla="*/ 61 h 415"/>
                  <a:gd name="T72" fmla="*/ 85 w 414"/>
                  <a:gd name="T73" fmla="*/ 40 h 415"/>
                  <a:gd name="T74" fmla="*/ 112 w 414"/>
                  <a:gd name="T75" fmla="*/ 23 h 415"/>
                  <a:gd name="T76" fmla="*/ 141 w 414"/>
                  <a:gd name="T77" fmla="*/ 11 h 415"/>
                  <a:gd name="T78" fmla="*/ 174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4" y="412"/>
                    </a:lnTo>
                    <a:lnTo>
                      <a:pt x="141" y="404"/>
                    </a:lnTo>
                    <a:lnTo>
                      <a:pt x="112" y="392"/>
                    </a:lnTo>
                    <a:lnTo>
                      <a:pt x="85" y="375"/>
                    </a:lnTo>
                    <a:lnTo>
                      <a:pt x="60" y="354"/>
                    </a:lnTo>
                    <a:lnTo>
                      <a:pt x="40" y="330"/>
                    </a:lnTo>
                    <a:lnTo>
                      <a:pt x="23" y="303"/>
                    </a:lnTo>
                    <a:lnTo>
                      <a:pt x="10" y="274"/>
                    </a:lnTo>
                    <a:lnTo>
                      <a:pt x="3" y="241"/>
                    </a:lnTo>
                    <a:lnTo>
                      <a:pt x="0" y="208"/>
                    </a:lnTo>
                    <a:lnTo>
                      <a:pt x="3" y="174"/>
                    </a:lnTo>
                    <a:lnTo>
                      <a:pt x="10" y="142"/>
                    </a:lnTo>
                    <a:lnTo>
                      <a:pt x="23" y="112"/>
                    </a:lnTo>
                    <a:lnTo>
                      <a:pt x="40" y="85"/>
                    </a:lnTo>
                    <a:lnTo>
                      <a:pt x="60" y="61"/>
                    </a:lnTo>
                    <a:lnTo>
                      <a:pt x="85" y="40"/>
                    </a:lnTo>
                    <a:lnTo>
                      <a:pt x="112" y="23"/>
                    </a:lnTo>
                    <a:lnTo>
                      <a:pt x="141" y="11"/>
                    </a:lnTo>
                    <a:lnTo>
                      <a:pt x="174" y="3"/>
                    </a:lnTo>
                    <a:lnTo>
                      <a:pt x="207" y="0"/>
                    </a:lnTo>
                    <a:close/>
                  </a:path>
                </a:pathLst>
              </a:custGeom>
              <a:grpFill/>
              <a:ln w="0">
                <a:solidFill>
                  <a:schemeClr val="tx1"/>
                </a:solidFill>
                <a:prstDash val="solid"/>
                <a:round/>
                <a:headEnd/>
                <a:tailEnd/>
              </a:ln>
            </p:spPr>
            <p:txBody>
              <a:bodyPr/>
              <a:lstStyle/>
              <a:p>
                <a:endParaRPr lang="de-DE" sz="800" b="0" dirty="0"/>
              </a:p>
            </p:txBody>
          </p:sp>
        </p:grpSp>
        <p:sp>
          <p:nvSpPr>
            <p:cNvPr id="23" name="noun_project_01303.eps"/>
            <p:cNvSpPr>
              <a:spLocks noChangeAspect="1" noEditPoints="1"/>
            </p:cNvSpPr>
            <p:nvPr/>
          </p:nvSpPr>
          <p:spPr bwMode="auto">
            <a:xfrm>
              <a:off x="8886956" y="6233749"/>
              <a:ext cx="180000" cy="177232"/>
            </a:xfrm>
            <a:custGeom>
              <a:avLst/>
              <a:gdLst>
                <a:gd name="T0" fmla="*/ 1525 w 2899"/>
                <a:gd name="T1" fmla="*/ 2291 h 2891"/>
                <a:gd name="T2" fmla="*/ 1419 w 2899"/>
                <a:gd name="T3" fmla="*/ 2373 h 2891"/>
                <a:gd name="T4" fmla="*/ 1368 w 2899"/>
                <a:gd name="T5" fmla="*/ 2250 h 2891"/>
                <a:gd name="T6" fmla="*/ 902 w 2899"/>
                <a:gd name="T7" fmla="*/ 1987 h 2891"/>
                <a:gd name="T8" fmla="*/ 920 w 2899"/>
                <a:gd name="T9" fmla="*/ 2118 h 2891"/>
                <a:gd name="T10" fmla="*/ 788 w 2899"/>
                <a:gd name="T11" fmla="*/ 2101 h 2891"/>
                <a:gd name="T12" fmla="*/ 839 w 2899"/>
                <a:gd name="T13" fmla="*/ 1978 h 2891"/>
                <a:gd name="T14" fmla="*/ 2147 w 2899"/>
                <a:gd name="T15" fmla="*/ 2011 h 2891"/>
                <a:gd name="T16" fmla="*/ 2065 w 2899"/>
                <a:gd name="T17" fmla="*/ 2117 h 2891"/>
                <a:gd name="T18" fmla="*/ 1983 w 2899"/>
                <a:gd name="T19" fmla="*/ 2011 h 2891"/>
                <a:gd name="T20" fmla="*/ 2323 w 2899"/>
                <a:gd name="T21" fmla="*/ 1356 h 2891"/>
                <a:gd name="T22" fmla="*/ 2374 w 2899"/>
                <a:gd name="T23" fmla="*/ 1479 h 2891"/>
                <a:gd name="T24" fmla="*/ 2242 w 2899"/>
                <a:gd name="T25" fmla="*/ 1496 h 2891"/>
                <a:gd name="T26" fmla="*/ 2260 w 2899"/>
                <a:gd name="T27" fmla="*/ 1365 h 2891"/>
                <a:gd name="T28" fmla="*/ 665 w 2899"/>
                <a:gd name="T29" fmla="*/ 1395 h 2891"/>
                <a:gd name="T30" fmla="*/ 615 w 2899"/>
                <a:gd name="T31" fmla="*/ 1518 h 2891"/>
                <a:gd name="T32" fmla="*/ 509 w 2899"/>
                <a:gd name="T33" fmla="*/ 1437 h 2891"/>
                <a:gd name="T34" fmla="*/ 928 w 2899"/>
                <a:gd name="T35" fmla="*/ 746 h 2891"/>
                <a:gd name="T36" fmla="*/ 1907 w 2899"/>
                <a:gd name="T37" fmla="*/ 1301 h 2891"/>
                <a:gd name="T38" fmla="*/ 2026 w 2899"/>
                <a:gd name="T39" fmla="*/ 1403 h 2891"/>
                <a:gd name="T40" fmla="*/ 2002 w 2899"/>
                <a:gd name="T41" fmla="*/ 1556 h 2891"/>
                <a:gd name="T42" fmla="*/ 1423 w 2899"/>
                <a:gd name="T43" fmla="*/ 1619 h 2891"/>
                <a:gd name="T44" fmla="*/ 776 w 2899"/>
                <a:gd name="T45" fmla="*/ 986 h 2891"/>
                <a:gd name="T46" fmla="*/ 780 w 2899"/>
                <a:gd name="T47" fmla="*/ 821 h 2891"/>
                <a:gd name="T48" fmla="*/ 928 w 2899"/>
                <a:gd name="T49" fmla="*/ 746 h 2891"/>
                <a:gd name="T50" fmla="*/ 2123 w 2899"/>
                <a:gd name="T51" fmla="*/ 828 h 2891"/>
                <a:gd name="T52" fmla="*/ 2017 w 2899"/>
                <a:gd name="T53" fmla="*/ 910 h 2891"/>
                <a:gd name="T54" fmla="*/ 1965 w 2899"/>
                <a:gd name="T55" fmla="*/ 787 h 2891"/>
                <a:gd name="T56" fmla="*/ 1487 w 2899"/>
                <a:gd name="T57" fmla="*/ 524 h 2891"/>
                <a:gd name="T58" fmla="*/ 1504 w 2899"/>
                <a:gd name="T59" fmla="*/ 656 h 2891"/>
                <a:gd name="T60" fmla="*/ 1373 w 2899"/>
                <a:gd name="T61" fmla="*/ 639 h 2891"/>
                <a:gd name="T62" fmla="*/ 1423 w 2899"/>
                <a:gd name="T63" fmla="*/ 515 h 2891"/>
                <a:gd name="T64" fmla="*/ 1047 w 2899"/>
                <a:gd name="T65" fmla="*/ 390 h 2891"/>
                <a:gd name="T66" fmla="*/ 595 w 2899"/>
                <a:gd name="T67" fmla="*/ 703 h 2891"/>
                <a:gd name="T68" fmla="*/ 343 w 2899"/>
                <a:gd name="T69" fmla="*/ 1195 h 2891"/>
                <a:gd name="T70" fmla="*/ 364 w 2899"/>
                <a:gd name="T71" fmla="*/ 1767 h 2891"/>
                <a:gd name="T72" fmla="*/ 648 w 2899"/>
                <a:gd name="T73" fmla="*/ 2240 h 2891"/>
                <a:gd name="T74" fmla="*/ 1123 w 2899"/>
                <a:gd name="T75" fmla="*/ 2524 h 2891"/>
                <a:gd name="T76" fmla="*/ 1697 w 2899"/>
                <a:gd name="T77" fmla="*/ 2544 h 2891"/>
                <a:gd name="T78" fmla="*/ 2190 w 2899"/>
                <a:gd name="T79" fmla="*/ 2294 h 2891"/>
                <a:gd name="T80" fmla="*/ 2504 w 2899"/>
                <a:gd name="T81" fmla="*/ 1843 h 2891"/>
                <a:gd name="T82" fmla="*/ 2565 w 2899"/>
                <a:gd name="T83" fmla="*/ 1275 h 2891"/>
                <a:gd name="T84" fmla="*/ 2351 w 2899"/>
                <a:gd name="T85" fmla="*/ 764 h 2891"/>
                <a:gd name="T86" fmla="*/ 1926 w 2899"/>
                <a:gd name="T87" fmla="*/ 421 h 2891"/>
                <a:gd name="T88" fmla="*/ 1449 w 2899"/>
                <a:gd name="T89" fmla="*/ 0 h 2891"/>
                <a:gd name="T90" fmla="*/ 2074 w 2899"/>
                <a:gd name="T91" fmla="*/ 141 h 2891"/>
                <a:gd name="T92" fmla="*/ 2564 w 2899"/>
                <a:gd name="T93" fmla="*/ 521 h 2891"/>
                <a:gd name="T94" fmla="*/ 2851 w 2899"/>
                <a:gd name="T95" fmla="*/ 1076 h 2891"/>
                <a:gd name="T96" fmla="*/ 2872 w 2899"/>
                <a:gd name="T97" fmla="*/ 1725 h 2891"/>
                <a:gd name="T98" fmla="*/ 2619 w 2899"/>
                <a:gd name="T99" fmla="*/ 2299 h 2891"/>
                <a:gd name="T100" fmla="*/ 2155 w 2899"/>
                <a:gd name="T101" fmla="*/ 2709 h 2891"/>
                <a:gd name="T102" fmla="*/ 1544 w 2899"/>
                <a:gd name="T103" fmla="*/ 2888 h 2891"/>
                <a:gd name="T104" fmla="*/ 905 w 2899"/>
                <a:gd name="T105" fmla="*/ 2786 h 2891"/>
                <a:gd name="T106" fmla="*/ 392 w 2899"/>
                <a:gd name="T107" fmla="*/ 2436 h 2891"/>
                <a:gd name="T108" fmla="*/ 73 w 2899"/>
                <a:gd name="T109" fmla="*/ 1902 h 2891"/>
                <a:gd name="T110" fmla="*/ 12 w 2899"/>
                <a:gd name="T111" fmla="*/ 1257 h 2891"/>
                <a:gd name="T112" fmla="*/ 229 w 2899"/>
                <a:gd name="T113" fmla="*/ 665 h 2891"/>
                <a:gd name="T114" fmla="*/ 666 w 2899"/>
                <a:gd name="T115" fmla="*/ 228 h 2891"/>
                <a:gd name="T116" fmla="*/ 1260 w 2899"/>
                <a:gd name="T117" fmla="*/ 12 h 2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99" h="2891">
                  <a:moveTo>
                    <a:pt x="1441" y="2207"/>
                  </a:moveTo>
                  <a:lnTo>
                    <a:pt x="1462" y="2211"/>
                  </a:lnTo>
                  <a:lnTo>
                    <a:pt x="1482" y="2219"/>
                  </a:lnTo>
                  <a:lnTo>
                    <a:pt x="1499" y="2233"/>
                  </a:lnTo>
                  <a:lnTo>
                    <a:pt x="1513" y="2250"/>
                  </a:lnTo>
                  <a:lnTo>
                    <a:pt x="1522" y="2270"/>
                  </a:lnTo>
                  <a:lnTo>
                    <a:pt x="1525" y="2291"/>
                  </a:lnTo>
                  <a:lnTo>
                    <a:pt x="1522" y="2313"/>
                  </a:lnTo>
                  <a:lnTo>
                    <a:pt x="1513" y="2333"/>
                  </a:lnTo>
                  <a:lnTo>
                    <a:pt x="1499" y="2350"/>
                  </a:lnTo>
                  <a:lnTo>
                    <a:pt x="1482" y="2364"/>
                  </a:lnTo>
                  <a:lnTo>
                    <a:pt x="1462" y="2373"/>
                  </a:lnTo>
                  <a:lnTo>
                    <a:pt x="1441" y="2376"/>
                  </a:lnTo>
                  <a:lnTo>
                    <a:pt x="1419" y="2373"/>
                  </a:lnTo>
                  <a:lnTo>
                    <a:pt x="1399" y="2364"/>
                  </a:lnTo>
                  <a:lnTo>
                    <a:pt x="1382" y="2350"/>
                  </a:lnTo>
                  <a:lnTo>
                    <a:pt x="1368" y="2333"/>
                  </a:lnTo>
                  <a:lnTo>
                    <a:pt x="1359" y="2313"/>
                  </a:lnTo>
                  <a:lnTo>
                    <a:pt x="1356" y="2291"/>
                  </a:lnTo>
                  <a:lnTo>
                    <a:pt x="1359" y="2270"/>
                  </a:lnTo>
                  <a:lnTo>
                    <a:pt x="1368" y="2250"/>
                  </a:lnTo>
                  <a:lnTo>
                    <a:pt x="1382" y="2233"/>
                  </a:lnTo>
                  <a:lnTo>
                    <a:pt x="1399" y="2219"/>
                  </a:lnTo>
                  <a:lnTo>
                    <a:pt x="1419" y="2211"/>
                  </a:lnTo>
                  <a:lnTo>
                    <a:pt x="1441" y="2207"/>
                  </a:lnTo>
                  <a:close/>
                  <a:moveTo>
                    <a:pt x="860" y="1975"/>
                  </a:moveTo>
                  <a:lnTo>
                    <a:pt x="882" y="1978"/>
                  </a:lnTo>
                  <a:lnTo>
                    <a:pt x="902" y="1987"/>
                  </a:lnTo>
                  <a:lnTo>
                    <a:pt x="920" y="2000"/>
                  </a:lnTo>
                  <a:lnTo>
                    <a:pt x="933" y="2018"/>
                  </a:lnTo>
                  <a:lnTo>
                    <a:pt x="942" y="2038"/>
                  </a:lnTo>
                  <a:lnTo>
                    <a:pt x="946" y="2059"/>
                  </a:lnTo>
                  <a:lnTo>
                    <a:pt x="942" y="2081"/>
                  </a:lnTo>
                  <a:lnTo>
                    <a:pt x="933" y="2101"/>
                  </a:lnTo>
                  <a:lnTo>
                    <a:pt x="920" y="2118"/>
                  </a:lnTo>
                  <a:lnTo>
                    <a:pt x="902" y="2132"/>
                  </a:lnTo>
                  <a:lnTo>
                    <a:pt x="882" y="2140"/>
                  </a:lnTo>
                  <a:lnTo>
                    <a:pt x="860" y="2143"/>
                  </a:lnTo>
                  <a:lnTo>
                    <a:pt x="839" y="2140"/>
                  </a:lnTo>
                  <a:lnTo>
                    <a:pt x="819" y="2132"/>
                  </a:lnTo>
                  <a:lnTo>
                    <a:pt x="802" y="2118"/>
                  </a:lnTo>
                  <a:lnTo>
                    <a:pt x="788" y="2101"/>
                  </a:lnTo>
                  <a:lnTo>
                    <a:pt x="780" y="2081"/>
                  </a:lnTo>
                  <a:lnTo>
                    <a:pt x="776" y="2059"/>
                  </a:lnTo>
                  <a:lnTo>
                    <a:pt x="780" y="2038"/>
                  </a:lnTo>
                  <a:lnTo>
                    <a:pt x="788" y="2018"/>
                  </a:lnTo>
                  <a:lnTo>
                    <a:pt x="802" y="2000"/>
                  </a:lnTo>
                  <a:lnTo>
                    <a:pt x="819" y="1987"/>
                  </a:lnTo>
                  <a:lnTo>
                    <a:pt x="839" y="1978"/>
                  </a:lnTo>
                  <a:lnTo>
                    <a:pt x="860" y="1975"/>
                  </a:lnTo>
                  <a:close/>
                  <a:moveTo>
                    <a:pt x="2065" y="1949"/>
                  </a:moveTo>
                  <a:lnTo>
                    <a:pt x="2086" y="1952"/>
                  </a:lnTo>
                  <a:lnTo>
                    <a:pt x="2106" y="1960"/>
                  </a:lnTo>
                  <a:lnTo>
                    <a:pt x="2124" y="1974"/>
                  </a:lnTo>
                  <a:lnTo>
                    <a:pt x="2137" y="1991"/>
                  </a:lnTo>
                  <a:lnTo>
                    <a:pt x="2147" y="2011"/>
                  </a:lnTo>
                  <a:lnTo>
                    <a:pt x="2150" y="2033"/>
                  </a:lnTo>
                  <a:lnTo>
                    <a:pt x="2147" y="2054"/>
                  </a:lnTo>
                  <a:lnTo>
                    <a:pt x="2137" y="2074"/>
                  </a:lnTo>
                  <a:lnTo>
                    <a:pt x="2124" y="2092"/>
                  </a:lnTo>
                  <a:lnTo>
                    <a:pt x="2106" y="2105"/>
                  </a:lnTo>
                  <a:lnTo>
                    <a:pt x="2086" y="2114"/>
                  </a:lnTo>
                  <a:lnTo>
                    <a:pt x="2065" y="2117"/>
                  </a:lnTo>
                  <a:lnTo>
                    <a:pt x="2043" y="2114"/>
                  </a:lnTo>
                  <a:lnTo>
                    <a:pt x="2023" y="2105"/>
                  </a:lnTo>
                  <a:lnTo>
                    <a:pt x="2006" y="2092"/>
                  </a:lnTo>
                  <a:lnTo>
                    <a:pt x="1992" y="2074"/>
                  </a:lnTo>
                  <a:lnTo>
                    <a:pt x="1983" y="2054"/>
                  </a:lnTo>
                  <a:lnTo>
                    <a:pt x="1980" y="2033"/>
                  </a:lnTo>
                  <a:lnTo>
                    <a:pt x="1983" y="2011"/>
                  </a:lnTo>
                  <a:lnTo>
                    <a:pt x="1992" y="1991"/>
                  </a:lnTo>
                  <a:lnTo>
                    <a:pt x="2006" y="1974"/>
                  </a:lnTo>
                  <a:lnTo>
                    <a:pt x="2023" y="1960"/>
                  </a:lnTo>
                  <a:lnTo>
                    <a:pt x="2043" y="1952"/>
                  </a:lnTo>
                  <a:lnTo>
                    <a:pt x="2065" y="1949"/>
                  </a:lnTo>
                  <a:close/>
                  <a:moveTo>
                    <a:pt x="2302" y="1353"/>
                  </a:moveTo>
                  <a:lnTo>
                    <a:pt x="2323" y="1356"/>
                  </a:lnTo>
                  <a:lnTo>
                    <a:pt x="2343" y="1365"/>
                  </a:lnTo>
                  <a:lnTo>
                    <a:pt x="2360" y="1378"/>
                  </a:lnTo>
                  <a:lnTo>
                    <a:pt x="2374" y="1395"/>
                  </a:lnTo>
                  <a:lnTo>
                    <a:pt x="2382" y="1415"/>
                  </a:lnTo>
                  <a:lnTo>
                    <a:pt x="2386" y="1437"/>
                  </a:lnTo>
                  <a:lnTo>
                    <a:pt x="2382" y="1459"/>
                  </a:lnTo>
                  <a:lnTo>
                    <a:pt x="2374" y="1479"/>
                  </a:lnTo>
                  <a:lnTo>
                    <a:pt x="2360" y="1496"/>
                  </a:lnTo>
                  <a:lnTo>
                    <a:pt x="2343" y="1509"/>
                  </a:lnTo>
                  <a:lnTo>
                    <a:pt x="2323" y="1518"/>
                  </a:lnTo>
                  <a:lnTo>
                    <a:pt x="2302" y="1521"/>
                  </a:lnTo>
                  <a:lnTo>
                    <a:pt x="2280" y="1518"/>
                  </a:lnTo>
                  <a:lnTo>
                    <a:pt x="2260" y="1509"/>
                  </a:lnTo>
                  <a:lnTo>
                    <a:pt x="2242" y="1496"/>
                  </a:lnTo>
                  <a:lnTo>
                    <a:pt x="2229" y="1479"/>
                  </a:lnTo>
                  <a:lnTo>
                    <a:pt x="2220" y="1459"/>
                  </a:lnTo>
                  <a:lnTo>
                    <a:pt x="2216" y="1437"/>
                  </a:lnTo>
                  <a:lnTo>
                    <a:pt x="2220" y="1415"/>
                  </a:lnTo>
                  <a:lnTo>
                    <a:pt x="2229" y="1395"/>
                  </a:lnTo>
                  <a:lnTo>
                    <a:pt x="2242" y="1378"/>
                  </a:lnTo>
                  <a:lnTo>
                    <a:pt x="2260" y="1365"/>
                  </a:lnTo>
                  <a:lnTo>
                    <a:pt x="2280" y="1356"/>
                  </a:lnTo>
                  <a:lnTo>
                    <a:pt x="2302" y="1353"/>
                  </a:lnTo>
                  <a:close/>
                  <a:moveTo>
                    <a:pt x="593" y="1353"/>
                  </a:moveTo>
                  <a:lnTo>
                    <a:pt x="615" y="1356"/>
                  </a:lnTo>
                  <a:lnTo>
                    <a:pt x="635" y="1365"/>
                  </a:lnTo>
                  <a:lnTo>
                    <a:pt x="652" y="1378"/>
                  </a:lnTo>
                  <a:lnTo>
                    <a:pt x="665" y="1395"/>
                  </a:lnTo>
                  <a:lnTo>
                    <a:pt x="674" y="1415"/>
                  </a:lnTo>
                  <a:lnTo>
                    <a:pt x="677" y="1437"/>
                  </a:lnTo>
                  <a:lnTo>
                    <a:pt x="674" y="1459"/>
                  </a:lnTo>
                  <a:lnTo>
                    <a:pt x="665" y="1479"/>
                  </a:lnTo>
                  <a:lnTo>
                    <a:pt x="652" y="1496"/>
                  </a:lnTo>
                  <a:lnTo>
                    <a:pt x="635" y="1509"/>
                  </a:lnTo>
                  <a:lnTo>
                    <a:pt x="615" y="1518"/>
                  </a:lnTo>
                  <a:lnTo>
                    <a:pt x="593" y="1521"/>
                  </a:lnTo>
                  <a:lnTo>
                    <a:pt x="571" y="1518"/>
                  </a:lnTo>
                  <a:lnTo>
                    <a:pt x="551" y="1509"/>
                  </a:lnTo>
                  <a:lnTo>
                    <a:pt x="534" y="1496"/>
                  </a:lnTo>
                  <a:lnTo>
                    <a:pt x="521" y="1479"/>
                  </a:lnTo>
                  <a:lnTo>
                    <a:pt x="512" y="1459"/>
                  </a:lnTo>
                  <a:lnTo>
                    <a:pt x="509" y="1437"/>
                  </a:lnTo>
                  <a:lnTo>
                    <a:pt x="512" y="1415"/>
                  </a:lnTo>
                  <a:lnTo>
                    <a:pt x="521" y="1395"/>
                  </a:lnTo>
                  <a:lnTo>
                    <a:pt x="534" y="1378"/>
                  </a:lnTo>
                  <a:lnTo>
                    <a:pt x="551" y="1365"/>
                  </a:lnTo>
                  <a:lnTo>
                    <a:pt x="571" y="1356"/>
                  </a:lnTo>
                  <a:lnTo>
                    <a:pt x="593" y="1353"/>
                  </a:lnTo>
                  <a:close/>
                  <a:moveTo>
                    <a:pt x="928" y="746"/>
                  </a:moveTo>
                  <a:lnTo>
                    <a:pt x="953" y="750"/>
                  </a:lnTo>
                  <a:lnTo>
                    <a:pt x="978" y="759"/>
                  </a:lnTo>
                  <a:lnTo>
                    <a:pt x="1002" y="773"/>
                  </a:lnTo>
                  <a:lnTo>
                    <a:pt x="1025" y="793"/>
                  </a:lnTo>
                  <a:lnTo>
                    <a:pt x="1490" y="1299"/>
                  </a:lnTo>
                  <a:lnTo>
                    <a:pt x="1878" y="1299"/>
                  </a:lnTo>
                  <a:lnTo>
                    <a:pt x="1907" y="1301"/>
                  </a:lnTo>
                  <a:lnTo>
                    <a:pt x="1934" y="1307"/>
                  </a:lnTo>
                  <a:lnTo>
                    <a:pt x="1957" y="1317"/>
                  </a:lnTo>
                  <a:lnTo>
                    <a:pt x="1977" y="1329"/>
                  </a:lnTo>
                  <a:lnTo>
                    <a:pt x="1994" y="1345"/>
                  </a:lnTo>
                  <a:lnTo>
                    <a:pt x="2007" y="1362"/>
                  </a:lnTo>
                  <a:lnTo>
                    <a:pt x="2018" y="1382"/>
                  </a:lnTo>
                  <a:lnTo>
                    <a:pt x="2026" y="1403"/>
                  </a:lnTo>
                  <a:lnTo>
                    <a:pt x="2031" y="1425"/>
                  </a:lnTo>
                  <a:lnTo>
                    <a:pt x="2033" y="1448"/>
                  </a:lnTo>
                  <a:lnTo>
                    <a:pt x="2032" y="1471"/>
                  </a:lnTo>
                  <a:lnTo>
                    <a:pt x="2029" y="1493"/>
                  </a:lnTo>
                  <a:lnTo>
                    <a:pt x="2022" y="1515"/>
                  </a:lnTo>
                  <a:lnTo>
                    <a:pt x="2013" y="1536"/>
                  </a:lnTo>
                  <a:lnTo>
                    <a:pt x="2002" y="1556"/>
                  </a:lnTo>
                  <a:lnTo>
                    <a:pt x="1987" y="1574"/>
                  </a:lnTo>
                  <a:lnTo>
                    <a:pt x="1970" y="1589"/>
                  </a:lnTo>
                  <a:lnTo>
                    <a:pt x="1951" y="1602"/>
                  </a:lnTo>
                  <a:lnTo>
                    <a:pt x="1929" y="1611"/>
                  </a:lnTo>
                  <a:lnTo>
                    <a:pt x="1905" y="1617"/>
                  </a:lnTo>
                  <a:lnTo>
                    <a:pt x="1878" y="1619"/>
                  </a:lnTo>
                  <a:lnTo>
                    <a:pt x="1423" y="1619"/>
                  </a:lnTo>
                  <a:lnTo>
                    <a:pt x="1395" y="1617"/>
                  </a:lnTo>
                  <a:lnTo>
                    <a:pt x="1369" y="1611"/>
                  </a:lnTo>
                  <a:lnTo>
                    <a:pt x="1345" y="1600"/>
                  </a:lnTo>
                  <a:lnTo>
                    <a:pt x="1325" y="1585"/>
                  </a:lnTo>
                  <a:lnTo>
                    <a:pt x="1306" y="1566"/>
                  </a:lnTo>
                  <a:lnTo>
                    <a:pt x="794" y="1010"/>
                  </a:lnTo>
                  <a:lnTo>
                    <a:pt x="776" y="986"/>
                  </a:lnTo>
                  <a:lnTo>
                    <a:pt x="761" y="962"/>
                  </a:lnTo>
                  <a:lnTo>
                    <a:pt x="753" y="937"/>
                  </a:lnTo>
                  <a:lnTo>
                    <a:pt x="750" y="913"/>
                  </a:lnTo>
                  <a:lnTo>
                    <a:pt x="752" y="888"/>
                  </a:lnTo>
                  <a:lnTo>
                    <a:pt x="757" y="865"/>
                  </a:lnTo>
                  <a:lnTo>
                    <a:pt x="768" y="842"/>
                  </a:lnTo>
                  <a:lnTo>
                    <a:pt x="780" y="821"/>
                  </a:lnTo>
                  <a:lnTo>
                    <a:pt x="796" y="802"/>
                  </a:lnTo>
                  <a:lnTo>
                    <a:pt x="814" y="785"/>
                  </a:lnTo>
                  <a:lnTo>
                    <a:pt x="834" y="770"/>
                  </a:lnTo>
                  <a:lnTo>
                    <a:pt x="856" y="759"/>
                  </a:lnTo>
                  <a:lnTo>
                    <a:pt x="879" y="751"/>
                  </a:lnTo>
                  <a:lnTo>
                    <a:pt x="904" y="746"/>
                  </a:lnTo>
                  <a:lnTo>
                    <a:pt x="928" y="746"/>
                  </a:lnTo>
                  <a:close/>
                  <a:moveTo>
                    <a:pt x="2038" y="744"/>
                  </a:moveTo>
                  <a:lnTo>
                    <a:pt x="2060" y="747"/>
                  </a:lnTo>
                  <a:lnTo>
                    <a:pt x="2080" y="756"/>
                  </a:lnTo>
                  <a:lnTo>
                    <a:pt x="2097" y="769"/>
                  </a:lnTo>
                  <a:lnTo>
                    <a:pt x="2110" y="787"/>
                  </a:lnTo>
                  <a:lnTo>
                    <a:pt x="2119" y="806"/>
                  </a:lnTo>
                  <a:lnTo>
                    <a:pt x="2123" y="828"/>
                  </a:lnTo>
                  <a:lnTo>
                    <a:pt x="2119" y="850"/>
                  </a:lnTo>
                  <a:lnTo>
                    <a:pt x="2110" y="870"/>
                  </a:lnTo>
                  <a:lnTo>
                    <a:pt x="2097" y="887"/>
                  </a:lnTo>
                  <a:lnTo>
                    <a:pt x="2080" y="901"/>
                  </a:lnTo>
                  <a:lnTo>
                    <a:pt x="2060" y="910"/>
                  </a:lnTo>
                  <a:lnTo>
                    <a:pt x="2038" y="913"/>
                  </a:lnTo>
                  <a:lnTo>
                    <a:pt x="2017" y="910"/>
                  </a:lnTo>
                  <a:lnTo>
                    <a:pt x="1996" y="901"/>
                  </a:lnTo>
                  <a:lnTo>
                    <a:pt x="1979" y="887"/>
                  </a:lnTo>
                  <a:lnTo>
                    <a:pt x="1965" y="870"/>
                  </a:lnTo>
                  <a:lnTo>
                    <a:pt x="1957" y="850"/>
                  </a:lnTo>
                  <a:lnTo>
                    <a:pt x="1953" y="828"/>
                  </a:lnTo>
                  <a:lnTo>
                    <a:pt x="1957" y="806"/>
                  </a:lnTo>
                  <a:lnTo>
                    <a:pt x="1965" y="787"/>
                  </a:lnTo>
                  <a:lnTo>
                    <a:pt x="1979" y="769"/>
                  </a:lnTo>
                  <a:lnTo>
                    <a:pt x="1996" y="756"/>
                  </a:lnTo>
                  <a:lnTo>
                    <a:pt x="2017" y="747"/>
                  </a:lnTo>
                  <a:lnTo>
                    <a:pt x="2038" y="744"/>
                  </a:lnTo>
                  <a:close/>
                  <a:moveTo>
                    <a:pt x="1445" y="511"/>
                  </a:moveTo>
                  <a:lnTo>
                    <a:pt x="1467" y="515"/>
                  </a:lnTo>
                  <a:lnTo>
                    <a:pt x="1487" y="524"/>
                  </a:lnTo>
                  <a:lnTo>
                    <a:pt x="1504" y="537"/>
                  </a:lnTo>
                  <a:lnTo>
                    <a:pt x="1518" y="554"/>
                  </a:lnTo>
                  <a:lnTo>
                    <a:pt x="1526" y="574"/>
                  </a:lnTo>
                  <a:lnTo>
                    <a:pt x="1529" y="596"/>
                  </a:lnTo>
                  <a:lnTo>
                    <a:pt x="1526" y="618"/>
                  </a:lnTo>
                  <a:lnTo>
                    <a:pt x="1518" y="639"/>
                  </a:lnTo>
                  <a:lnTo>
                    <a:pt x="1504" y="656"/>
                  </a:lnTo>
                  <a:lnTo>
                    <a:pt x="1487" y="670"/>
                  </a:lnTo>
                  <a:lnTo>
                    <a:pt x="1467" y="679"/>
                  </a:lnTo>
                  <a:lnTo>
                    <a:pt x="1445" y="682"/>
                  </a:lnTo>
                  <a:lnTo>
                    <a:pt x="1423" y="679"/>
                  </a:lnTo>
                  <a:lnTo>
                    <a:pt x="1403" y="670"/>
                  </a:lnTo>
                  <a:lnTo>
                    <a:pt x="1386" y="656"/>
                  </a:lnTo>
                  <a:lnTo>
                    <a:pt x="1373" y="639"/>
                  </a:lnTo>
                  <a:lnTo>
                    <a:pt x="1364" y="618"/>
                  </a:lnTo>
                  <a:lnTo>
                    <a:pt x="1361" y="596"/>
                  </a:lnTo>
                  <a:lnTo>
                    <a:pt x="1364" y="574"/>
                  </a:lnTo>
                  <a:lnTo>
                    <a:pt x="1373" y="554"/>
                  </a:lnTo>
                  <a:lnTo>
                    <a:pt x="1386" y="537"/>
                  </a:lnTo>
                  <a:lnTo>
                    <a:pt x="1403" y="524"/>
                  </a:lnTo>
                  <a:lnTo>
                    <a:pt x="1423" y="515"/>
                  </a:lnTo>
                  <a:lnTo>
                    <a:pt x="1445" y="511"/>
                  </a:lnTo>
                  <a:close/>
                  <a:moveTo>
                    <a:pt x="1449" y="316"/>
                  </a:moveTo>
                  <a:lnTo>
                    <a:pt x="1365" y="320"/>
                  </a:lnTo>
                  <a:lnTo>
                    <a:pt x="1282" y="329"/>
                  </a:lnTo>
                  <a:lnTo>
                    <a:pt x="1201" y="344"/>
                  </a:lnTo>
                  <a:lnTo>
                    <a:pt x="1123" y="364"/>
                  </a:lnTo>
                  <a:lnTo>
                    <a:pt x="1047" y="390"/>
                  </a:lnTo>
                  <a:lnTo>
                    <a:pt x="972" y="421"/>
                  </a:lnTo>
                  <a:lnTo>
                    <a:pt x="901" y="457"/>
                  </a:lnTo>
                  <a:lnTo>
                    <a:pt x="833" y="497"/>
                  </a:lnTo>
                  <a:lnTo>
                    <a:pt x="768" y="542"/>
                  </a:lnTo>
                  <a:lnTo>
                    <a:pt x="706" y="592"/>
                  </a:lnTo>
                  <a:lnTo>
                    <a:pt x="648" y="646"/>
                  </a:lnTo>
                  <a:lnTo>
                    <a:pt x="595" y="703"/>
                  </a:lnTo>
                  <a:lnTo>
                    <a:pt x="545" y="764"/>
                  </a:lnTo>
                  <a:lnTo>
                    <a:pt x="499" y="829"/>
                  </a:lnTo>
                  <a:lnTo>
                    <a:pt x="457" y="896"/>
                  </a:lnTo>
                  <a:lnTo>
                    <a:pt x="421" y="967"/>
                  </a:lnTo>
                  <a:lnTo>
                    <a:pt x="390" y="1040"/>
                  </a:lnTo>
                  <a:lnTo>
                    <a:pt x="364" y="1116"/>
                  </a:lnTo>
                  <a:lnTo>
                    <a:pt x="343" y="1195"/>
                  </a:lnTo>
                  <a:lnTo>
                    <a:pt x="328" y="1275"/>
                  </a:lnTo>
                  <a:lnTo>
                    <a:pt x="319" y="1357"/>
                  </a:lnTo>
                  <a:lnTo>
                    <a:pt x="316" y="1441"/>
                  </a:lnTo>
                  <a:lnTo>
                    <a:pt x="319" y="1526"/>
                  </a:lnTo>
                  <a:lnTo>
                    <a:pt x="328" y="1608"/>
                  </a:lnTo>
                  <a:lnTo>
                    <a:pt x="343" y="1689"/>
                  </a:lnTo>
                  <a:lnTo>
                    <a:pt x="364" y="1767"/>
                  </a:lnTo>
                  <a:lnTo>
                    <a:pt x="390" y="1843"/>
                  </a:lnTo>
                  <a:lnTo>
                    <a:pt x="421" y="1917"/>
                  </a:lnTo>
                  <a:lnTo>
                    <a:pt x="457" y="1988"/>
                  </a:lnTo>
                  <a:lnTo>
                    <a:pt x="499" y="2056"/>
                  </a:lnTo>
                  <a:lnTo>
                    <a:pt x="545" y="2120"/>
                  </a:lnTo>
                  <a:lnTo>
                    <a:pt x="595" y="2183"/>
                  </a:lnTo>
                  <a:lnTo>
                    <a:pt x="648" y="2240"/>
                  </a:lnTo>
                  <a:lnTo>
                    <a:pt x="706" y="2294"/>
                  </a:lnTo>
                  <a:lnTo>
                    <a:pt x="768" y="2344"/>
                  </a:lnTo>
                  <a:lnTo>
                    <a:pt x="833" y="2389"/>
                  </a:lnTo>
                  <a:lnTo>
                    <a:pt x="901" y="2430"/>
                  </a:lnTo>
                  <a:lnTo>
                    <a:pt x="972" y="2467"/>
                  </a:lnTo>
                  <a:lnTo>
                    <a:pt x="1047" y="2498"/>
                  </a:lnTo>
                  <a:lnTo>
                    <a:pt x="1123" y="2524"/>
                  </a:lnTo>
                  <a:lnTo>
                    <a:pt x="1201" y="2544"/>
                  </a:lnTo>
                  <a:lnTo>
                    <a:pt x="1282" y="2559"/>
                  </a:lnTo>
                  <a:lnTo>
                    <a:pt x="1365" y="2569"/>
                  </a:lnTo>
                  <a:lnTo>
                    <a:pt x="1449" y="2572"/>
                  </a:lnTo>
                  <a:lnTo>
                    <a:pt x="1533" y="2569"/>
                  </a:lnTo>
                  <a:lnTo>
                    <a:pt x="1617" y="2559"/>
                  </a:lnTo>
                  <a:lnTo>
                    <a:pt x="1697" y="2544"/>
                  </a:lnTo>
                  <a:lnTo>
                    <a:pt x="1776" y="2524"/>
                  </a:lnTo>
                  <a:lnTo>
                    <a:pt x="1851" y="2498"/>
                  </a:lnTo>
                  <a:lnTo>
                    <a:pt x="1926" y="2467"/>
                  </a:lnTo>
                  <a:lnTo>
                    <a:pt x="1996" y="2430"/>
                  </a:lnTo>
                  <a:lnTo>
                    <a:pt x="2064" y="2389"/>
                  </a:lnTo>
                  <a:lnTo>
                    <a:pt x="2128" y="2344"/>
                  </a:lnTo>
                  <a:lnTo>
                    <a:pt x="2190" y="2294"/>
                  </a:lnTo>
                  <a:lnTo>
                    <a:pt x="2248" y="2240"/>
                  </a:lnTo>
                  <a:lnTo>
                    <a:pt x="2301" y="2183"/>
                  </a:lnTo>
                  <a:lnTo>
                    <a:pt x="2351" y="2120"/>
                  </a:lnTo>
                  <a:lnTo>
                    <a:pt x="2396" y="2056"/>
                  </a:lnTo>
                  <a:lnTo>
                    <a:pt x="2437" y="1988"/>
                  </a:lnTo>
                  <a:lnTo>
                    <a:pt x="2473" y="1917"/>
                  </a:lnTo>
                  <a:lnTo>
                    <a:pt x="2504" y="1843"/>
                  </a:lnTo>
                  <a:lnTo>
                    <a:pt x="2530" y="1767"/>
                  </a:lnTo>
                  <a:lnTo>
                    <a:pt x="2551" y="1689"/>
                  </a:lnTo>
                  <a:lnTo>
                    <a:pt x="2565" y="1608"/>
                  </a:lnTo>
                  <a:lnTo>
                    <a:pt x="2574" y="1526"/>
                  </a:lnTo>
                  <a:lnTo>
                    <a:pt x="2578" y="1441"/>
                  </a:lnTo>
                  <a:lnTo>
                    <a:pt x="2574" y="1357"/>
                  </a:lnTo>
                  <a:lnTo>
                    <a:pt x="2565" y="1275"/>
                  </a:lnTo>
                  <a:lnTo>
                    <a:pt x="2551" y="1195"/>
                  </a:lnTo>
                  <a:lnTo>
                    <a:pt x="2530" y="1116"/>
                  </a:lnTo>
                  <a:lnTo>
                    <a:pt x="2504" y="1040"/>
                  </a:lnTo>
                  <a:lnTo>
                    <a:pt x="2473" y="967"/>
                  </a:lnTo>
                  <a:lnTo>
                    <a:pt x="2437" y="896"/>
                  </a:lnTo>
                  <a:lnTo>
                    <a:pt x="2396" y="829"/>
                  </a:lnTo>
                  <a:lnTo>
                    <a:pt x="2351" y="764"/>
                  </a:lnTo>
                  <a:lnTo>
                    <a:pt x="2301" y="703"/>
                  </a:lnTo>
                  <a:lnTo>
                    <a:pt x="2248" y="646"/>
                  </a:lnTo>
                  <a:lnTo>
                    <a:pt x="2190" y="592"/>
                  </a:lnTo>
                  <a:lnTo>
                    <a:pt x="2128" y="542"/>
                  </a:lnTo>
                  <a:lnTo>
                    <a:pt x="2064" y="497"/>
                  </a:lnTo>
                  <a:lnTo>
                    <a:pt x="1996" y="457"/>
                  </a:lnTo>
                  <a:lnTo>
                    <a:pt x="1926" y="421"/>
                  </a:lnTo>
                  <a:lnTo>
                    <a:pt x="1851" y="390"/>
                  </a:lnTo>
                  <a:lnTo>
                    <a:pt x="1776" y="364"/>
                  </a:lnTo>
                  <a:lnTo>
                    <a:pt x="1697" y="344"/>
                  </a:lnTo>
                  <a:lnTo>
                    <a:pt x="1617" y="329"/>
                  </a:lnTo>
                  <a:lnTo>
                    <a:pt x="1533" y="320"/>
                  </a:lnTo>
                  <a:lnTo>
                    <a:pt x="1449" y="316"/>
                  </a:lnTo>
                  <a:close/>
                  <a:moveTo>
                    <a:pt x="1449" y="0"/>
                  </a:moveTo>
                  <a:lnTo>
                    <a:pt x="1544" y="3"/>
                  </a:lnTo>
                  <a:lnTo>
                    <a:pt x="1638" y="12"/>
                  </a:lnTo>
                  <a:lnTo>
                    <a:pt x="1730" y="27"/>
                  </a:lnTo>
                  <a:lnTo>
                    <a:pt x="1819" y="48"/>
                  </a:lnTo>
                  <a:lnTo>
                    <a:pt x="1907" y="74"/>
                  </a:lnTo>
                  <a:lnTo>
                    <a:pt x="1992" y="105"/>
                  </a:lnTo>
                  <a:lnTo>
                    <a:pt x="2074" y="141"/>
                  </a:lnTo>
                  <a:lnTo>
                    <a:pt x="2155" y="182"/>
                  </a:lnTo>
                  <a:lnTo>
                    <a:pt x="2231" y="228"/>
                  </a:lnTo>
                  <a:lnTo>
                    <a:pt x="2305" y="278"/>
                  </a:lnTo>
                  <a:lnTo>
                    <a:pt x="2375" y="333"/>
                  </a:lnTo>
                  <a:lnTo>
                    <a:pt x="2442" y="392"/>
                  </a:lnTo>
                  <a:lnTo>
                    <a:pt x="2505" y="454"/>
                  </a:lnTo>
                  <a:lnTo>
                    <a:pt x="2564" y="521"/>
                  </a:lnTo>
                  <a:lnTo>
                    <a:pt x="2619" y="591"/>
                  </a:lnTo>
                  <a:lnTo>
                    <a:pt x="2669" y="665"/>
                  </a:lnTo>
                  <a:lnTo>
                    <a:pt x="2716" y="741"/>
                  </a:lnTo>
                  <a:lnTo>
                    <a:pt x="2757" y="821"/>
                  </a:lnTo>
                  <a:lnTo>
                    <a:pt x="2794" y="903"/>
                  </a:lnTo>
                  <a:lnTo>
                    <a:pt x="2825" y="988"/>
                  </a:lnTo>
                  <a:lnTo>
                    <a:pt x="2851" y="1076"/>
                  </a:lnTo>
                  <a:lnTo>
                    <a:pt x="2872" y="1165"/>
                  </a:lnTo>
                  <a:lnTo>
                    <a:pt x="2887" y="1257"/>
                  </a:lnTo>
                  <a:lnTo>
                    <a:pt x="2896" y="1350"/>
                  </a:lnTo>
                  <a:lnTo>
                    <a:pt x="2899" y="1446"/>
                  </a:lnTo>
                  <a:lnTo>
                    <a:pt x="2896" y="1540"/>
                  </a:lnTo>
                  <a:lnTo>
                    <a:pt x="2887" y="1634"/>
                  </a:lnTo>
                  <a:lnTo>
                    <a:pt x="2872" y="1725"/>
                  </a:lnTo>
                  <a:lnTo>
                    <a:pt x="2851" y="1814"/>
                  </a:lnTo>
                  <a:lnTo>
                    <a:pt x="2825" y="1902"/>
                  </a:lnTo>
                  <a:lnTo>
                    <a:pt x="2794" y="1986"/>
                  </a:lnTo>
                  <a:lnTo>
                    <a:pt x="2757" y="2069"/>
                  </a:lnTo>
                  <a:lnTo>
                    <a:pt x="2716" y="2149"/>
                  </a:lnTo>
                  <a:lnTo>
                    <a:pt x="2669" y="2226"/>
                  </a:lnTo>
                  <a:lnTo>
                    <a:pt x="2619" y="2299"/>
                  </a:lnTo>
                  <a:lnTo>
                    <a:pt x="2564" y="2369"/>
                  </a:lnTo>
                  <a:lnTo>
                    <a:pt x="2505" y="2436"/>
                  </a:lnTo>
                  <a:lnTo>
                    <a:pt x="2442" y="2498"/>
                  </a:lnTo>
                  <a:lnTo>
                    <a:pt x="2375" y="2557"/>
                  </a:lnTo>
                  <a:lnTo>
                    <a:pt x="2305" y="2612"/>
                  </a:lnTo>
                  <a:lnTo>
                    <a:pt x="2231" y="2663"/>
                  </a:lnTo>
                  <a:lnTo>
                    <a:pt x="2155" y="2709"/>
                  </a:lnTo>
                  <a:lnTo>
                    <a:pt x="2074" y="2750"/>
                  </a:lnTo>
                  <a:lnTo>
                    <a:pt x="1992" y="2786"/>
                  </a:lnTo>
                  <a:lnTo>
                    <a:pt x="1907" y="2818"/>
                  </a:lnTo>
                  <a:lnTo>
                    <a:pt x="1819" y="2844"/>
                  </a:lnTo>
                  <a:lnTo>
                    <a:pt x="1730" y="2864"/>
                  </a:lnTo>
                  <a:lnTo>
                    <a:pt x="1638" y="2879"/>
                  </a:lnTo>
                  <a:lnTo>
                    <a:pt x="1544" y="2888"/>
                  </a:lnTo>
                  <a:lnTo>
                    <a:pt x="1449" y="2891"/>
                  </a:lnTo>
                  <a:lnTo>
                    <a:pt x="1354" y="2888"/>
                  </a:lnTo>
                  <a:lnTo>
                    <a:pt x="1260" y="2879"/>
                  </a:lnTo>
                  <a:lnTo>
                    <a:pt x="1168" y="2864"/>
                  </a:lnTo>
                  <a:lnTo>
                    <a:pt x="1078" y="2844"/>
                  </a:lnTo>
                  <a:lnTo>
                    <a:pt x="990" y="2818"/>
                  </a:lnTo>
                  <a:lnTo>
                    <a:pt x="905" y="2786"/>
                  </a:lnTo>
                  <a:lnTo>
                    <a:pt x="823" y="2750"/>
                  </a:lnTo>
                  <a:lnTo>
                    <a:pt x="742" y="2709"/>
                  </a:lnTo>
                  <a:lnTo>
                    <a:pt x="666" y="2663"/>
                  </a:lnTo>
                  <a:lnTo>
                    <a:pt x="592" y="2612"/>
                  </a:lnTo>
                  <a:lnTo>
                    <a:pt x="522" y="2557"/>
                  </a:lnTo>
                  <a:lnTo>
                    <a:pt x="455" y="2498"/>
                  </a:lnTo>
                  <a:lnTo>
                    <a:pt x="392" y="2436"/>
                  </a:lnTo>
                  <a:lnTo>
                    <a:pt x="334" y="2369"/>
                  </a:lnTo>
                  <a:lnTo>
                    <a:pt x="279" y="2299"/>
                  </a:lnTo>
                  <a:lnTo>
                    <a:pt x="229" y="2226"/>
                  </a:lnTo>
                  <a:lnTo>
                    <a:pt x="182" y="2149"/>
                  </a:lnTo>
                  <a:lnTo>
                    <a:pt x="141" y="2069"/>
                  </a:lnTo>
                  <a:lnTo>
                    <a:pt x="104" y="1986"/>
                  </a:lnTo>
                  <a:lnTo>
                    <a:pt x="73" y="1902"/>
                  </a:lnTo>
                  <a:lnTo>
                    <a:pt x="47" y="1814"/>
                  </a:lnTo>
                  <a:lnTo>
                    <a:pt x="27" y="1725"/>
                  </a:lnTo>
                  <a:lnTo>
                    <a:pt x="12" y="1634"/>
                  </a:lnTo>
                  <a:lnTo>
                    <a:pt x="3" y="1540"/>
                  </a:lnTo>
                  <a:lnTo>
                    <a:pt x="0" y="1446"/>
                  </a:lnTo>
                  <a:lnTo>
                    <a:pt x="3" y="1350"/>
                  </a:lnTo>
                  <a:lnTo>
                    <a:pt x="12" y="1257"/>
                  </a:lnTo>
                  <a:lnTo>
                    <a:pt x="27" y="1165"/>
                  </a:lnTo>
                  <a:lnTo>
                    <a:pt x="47" y="1076"/>
                  </a:lnTo>
                  <a:lnTo>
                    <a:pt x="73" y="988"/>
                  </a:lnTo>
                  <a:lnTo>
                    <a:pt x="104" y="903"/>
                  </a:lnTo>
                  <a:lnTo>
                    <a:pt x="141" y="821"/>
                  </a:lnTo>
                  <a:lnTo>
                    <a:pt x="182" y="741"/>
                  </a:lnTo>
                  <a:lnTo>
                    <a:pt x="229" y="665"/>
                  </a:lnTo>
                  <a:lnTo>
                    <a:pt x="279" y="591"/>
                  </a:lnTo>
                  <a:lnTo>
                    <a:pt x="334" y="521"/>
                  </a:lnTo>
                  <a:lnTo>
                    <a:pt x="392" y="454"/>
                  </a:lnTo>
                  <a:lnTo>
                    <a:pt x="455" y="392"/>
                  </a:lnTo>
                  <a:lnTo>
                    <a:pt x="522" y="333"/>
                  </a:lnTo>
                  <a:lnTo>
                    <a:pt x="592" y="278"/>
                  </a:lnTo>
                  <a:lnTo>
                    <a:pt x="666" y="228"/>
                  </a:lnTo>
                  <a:lnTo>
                    <a:pt x="742" y="182"/>
                  </a:lnTo>
                  <a:lnTo>
                    <a:pt x="823" y="141"/>
                  </a:lnTo>
                  <a:lnTo>
                    <a:pt x="905" y="105"/>
                  </a:lnTo>
                  <a:lnTo>
                    <a:pt x="990" y="74"/>
                  </a:lnTo>
                  <a:lnTo>
                    <a:pt x="1078" y="48"/>
                  </a:lnTo>
                  <a:lnTo>
                    <a:pt x="1168" y="27"/>
                  </a:lnTo>
                  <a:lnTo>
                    <a:pt x="1260" y="12"/>
                  </a:lnTo>
                  <a:lnTo>
                    <a:pt x="1354" y="3"/>
                  </a:lnTo>
                  <a:lnTo>
                    <a:pt x="1449" y="0"/>
                  </a:lnTo>
                  <a:close/>
                </a:path>
              </a:pathLst>
            </a:custGeom>
            <a:solidFill>
              <a:schemeClr val="tx1"/>
            </a:solidFill>
            <a:ln>
              <a:solidFill>
                <a:schemeClr val="tx1"/>
              </a:solidFill>
            </a:ln>
          </p:spPr>
          <p:txBody>
            <a:bodyPr/>
            <a:lstStyle/>
            <a:p>
              <a:endParaRPr lang="de-DE" sz="800" b="0" dirty="0"/>
            </a:p>
          </p:txBody>
        </p:sp>
        <p:sp>
          <p:nvSpPr>
            <p:cNvPr id="24" name="noun_project_01304.eps"/>
            <p:cNvSpPr>
              <a:spLocks noChangeAspect="1" noEditPoints="1"/>
            </p:cNvSpPr>
            <p:nvPr/>
          </p:nvSpPr>
          <p:spPr bwMode="auto">
            <a:xfrm>
              <a:off x="6352366" y="6258428"/>
              <a:ext cx="180000" cy="127875"/>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sz="800" b="0" dirty="0"/>
            </a:p>
          </p:txBody>
        </p:sp>
        <p:sp>
          <p:nvSpPr>
            <p:cNvPr id="25" name="Rechteck 24"/>
            <p:cNvSpPr/>
            <p:nvPr/>
          </p:nvSpPr>
          <p:spPr bwMode="auto">
            <a:xfrm>
              <a:off x="2773323"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Dokument</a:t>
              </a:r>
            </a:p>
          </p:txBody>
        </p:sp>
        <p:sp>
          <p:nvSpPr>
            <p:cNvPr id="26" name="Rechteck 25"/>
            <p:cNvSpPr/>
            <p:nvPr/>
          </p:nvSpPr>
          <p:spPr bwMode="auto">
            <a:xfrm>
              <a:off x="6573639"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Kommunikation</a:t>
              </a:r>
            </a:p>
          </p:txBody>
        </p:sp>
        <p:sp>
          <p:nvSpPr>
            <p:cNvPr id="27" name="Rechteck 26"/>
            <p:cNvSpPr/>
            <p:nvPr/>
          </p:nvSpPr>
          <p:spPr bwMode="auto">
            <a:xfrm>
              <a:off x="7840411"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Schnittstelle</a:t>
              </a:r>
            </a:p>
          </p:txBody>
        </p:sp>
        <p:sp>
          <p:nvSpPr>
            <p:cNvPr id="28" name="Rechteck 27"/>
            <p:cNvSpPr/>
            <p:nvPr/>
          </p:nvSpPr>
          <p:spPr bwMode="auto">
            <a:xfrm>
              <a:off x="9107182"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Fristablauf</a:t>
              </a:r>
            </a:p>
          </p:txBody>
        </p:sp>
        <p:sp>
          <p:nvSpPr>
            <p:cNvPr id="29" name="Rechteck 28"/>
            <p:cNvSpPr/>
            <p:nvPr/>
          </p:nvSpPr>
          <p:spPr bwMode="auto">
            <a:xfrm>
              <a:off x="4040095"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Formular mit Logik</a:t>
              </a:r>
            </a:p>
          </p:txBody>
        </p:sp>
        <p:sp>
          <p:nvSpPr>
            <p:cNvPr id="30" name="Rechteck 29"/>
            <p:cNvSpPr/>
            <p:nvPr/>
          </p:nvSpPr>
          <p:spPr bwMode="auto">
            <a:xfrm>
              <a:off x="5306867"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Checkliste</a:t>
              </a:r>
            </a:p>
          </p:txBody>
        </p:sp>
        <p:grpSp>
          <p:nvGrpSpPr>
            <p:cNvPr id="31" name="Gruppieren 30"/>
            <p:cNvGrpSpPr>
              <a:grpSpLocks noChangeAspect="1"/>
            </p:cNvGrpSpPr>
            <p:nvPr/>
          </p:nvGrpSpPr>
          <p:grpSpPr>
            <a:xfrm>
              <a:off x="5089074" y="6177297"/>
              <a:ext cx="180000" cy="290137"/>
              <a:chOff x="-1227749" y="5257321"/>
              <a:chExt cx="347663" cy="560387"/>
            </a:xfrm>
          </p:grpSpPr>
          <p:sp>
            <p:nvSpPr>
              <p:cNvPr id="43" name="Freeform 297"/>
              <p:cNvSpPr>
                <a:spLocks noEditPoints="1"/>
              </p:cNvSpPr>
              <p:nvPr/>
            </p:nvSpPr>
            <p:spPr bwMode="auto">
              <a:xfrm>
                <a:off x="-1176949" y="5358921"/>
                <a:ext cx="63500" cy="63500"/>
              </a:xfrm>
              <a:custGeom>
                <a:avLst/>
                <a:gdLst>
                  <a:gd name="T0" fmla="*/ 315 w 406"/>
                  <a:gd name="T1" fmla="*/ 140 h 399"/>
                  <a:gd name="T2" fmla="*/ 282 w 406"/>
                  <a:gd name="T3" fmla="*/ 187 h 399"/>
                  <a:gd name="T4" fmla="*/ 254 w 406"/>
                  <a:gd name="T5" fmla="*/ 231 h 399"/>
                  <a:gd name="T6" fmla="*/ 231 w 406"/>
                  <a:gd name="T7" fmla="*/ 270 h 399"/>
                  <a:gd name="T8" fmla="*/ 217 w 406"/>
                  <a:gd name="T9" fmla="*/ 297 h 399"/>
                  <a:gd name="T10" fmla="*/ 212 w 406"/>
                  <a:gd name="T11" fmla="*/ 308 h 399"/>
                  <a:gd name="T12" fmla="*/ 281 w 406"/>
                  <a:gd name="T13" fmla="*/ 341 h 399"/>
                  <a:gd name="T14" fmla="*/ 315 w 406"/>
                  <a:gd name="T15" fmla="*/ 333 h 399"/>
                  <a:gd name="T16" fmla="*/ 339 w 406"/>
                  <a:gd name="T17" fmla="*/ 310 h 399"/>
                  <a:gd name="T18" fmla="*/ 349 w 406"/>
                  <a:gd name="T19" fmla="*/ 277 h 399"/>
                  <a:gd name="T20" fmla="*/ 346 w 406"/>
                  <a:gd name="T21" fmla="*/ 143 h 399"/>
                  <a:gd name="T22" fmla="*/ 332 w 406"/>
                  <a:gd name="T23" fmla="*/ 117 h 399"/>
                  <a:gd name="T24" fmla="*/ 108 w 406"/>
                  <a:gd name="T25" fmla="*/ 97 h 399"/>
                  <a:gd name="T26" fmla="*/ 78 w 406"/>
                  <a:gd name="T27" fmla="*/ 113 h 399"/>
                  <a:gd name="T28" fmla="*/ 61 w 406"/>
                  <a:gd name="T29" fmla="*/ 142 h 399"/>
                  <a:gd name="T30" fmla="*/ 59 w 406"/>
                  <a:gd name="T31" fmla="*/ 277 h 399"/>
                  <a:gd name="T32" fmla="*/ 67 w 406"/>
                  <a:gd name="T33" fmla="*/ 310 h 399"/>
                  <a:gd name="T34" fmla="*/ 92 w 406"/>
                  <a:gd name="T35" fmla="*/ 333 h 399"/>
                  <a:gd name="T36" fmla="*/ 125 w 406"/>
                  <a:gd name="T37" fmla="*/ 341 h 399"/>
                  <a:gd name="T38" fmla="*/ 160 w 406"/>
                  <a:gd name="T39" fmla="*/ 308 h 399"/>
                  <a:gd name="T40" fmla="*/ 132 w 406"/>
                  <a:gd name="T41" fmla="*/ 267 h 399"/>
                  <a:gd name="T42" fmla="*/ 101 w 406"/>
                  <a:gd name="T43" fmla="*/ 241 h 399"/>
                  <a:gd name="T44" fmla="*/ 76 w 406"/>
                  <a:gd name="T45" fmla="*/ 227 h 399"/>
                  <a:gd name="T46" fmla="*/ 64 w 406"/>
                  <a:gd name="T47" fmla="*/ 222 h 399"/>
                  <a:gd name="T48" fmla="*/ 85 w 406"/>
                  <a:gd name="T49" fmla="*/ 168 h 399"/>
                  <a:gd name="T50" fmla="*/ 108 w 406"/>
                  <a:gd name="T51" fmla="*/ 179 h 399"/>
                  <a:gd name="T52" fmla="*/ 144 w 406"/>
                  <a:gd name="T53" fmla="*/ 201 h 399"/>
                  <a:gd name="T54" fmla="*/ 183 w 406"/>
                  <a:gd name="T55" fmla="*/ 238 h 399"/>
                  <a:gd name="T56" fmla="*/ 214 w 406"/>
                  <a:gd name="T57" fmla="*/ 186 h 399"/>
                  <a:gd name="T58" fmla="*/ 255 w 406"/>
                  <a:gd name="T59" fmla="*/ 125 h 399"/>
                  <a:gd name="T60" fmla="*/ 125 w 406"/>
                  <a:gd name="T61" fmla="*/ 94 h 399"/>
                  <a:gd name="T62" fmla="*/ 406 w 406"/>
                  <a:gd name="T63" fmla="*/ 48 h 399"/>
                  <a:gd name="T64" fmla="*/ 372 w 406"/>
                  <a:gd name="T65" fmla="*/ 75 h 399"/>
                  <a:gd name="T66" fmla="*/ 397 w 406"/>
                  <a:gd name="T67" fmla="*/ 113 h 399"/>
                  <a:gd name="T68" fmla="*/ 406 w 406"/>
                  <a:gd name="T69" fmla="*/ 159 h 399"/>
                  <a:gd name="T70" fmla="*/ 402 w 406"/>
                  <a:gd name="T71" fmla="*/ 305 h 399"/>
                  <a:gd name="T72" fmla="*/ 379 w 406"/>
                  <a:gd name="T73" fmla="*/ 353 h 399"/>
                  <a:gd name="T74" fmla="*/ 336 w 406"/>
                  <a:gd name="T75" fmla="*/ 386 h 399"/>
                  <a:gd name="T76" fmla="*/ 281 w 406"/>
                  <a:gd name="T77" fmla="*/ 399 h 399"/>
                  <a:gd name="T78" fmla="*/ 97 w 406"/>
                  <a:gd name="T79" fmla="*/ 396 h 399"/>
                  <a:gd name="T80" fmla="*/ 48 w 406"/>
                  <a:gd name="T81" fmla="*/ 372 h 399"/>
                  <a:gd name="T82" fmla="*/ 13 w 406"/>
                  <a:gd name="T83" fmla="*/ 330 h 399"/>
                  <a:gd name="T84" fmla="*/ 0 w 406"/>
                  <a:gd name="T85" fmla="*/ 277 h 399"/>
                  <a:gd name="T86" fmla="*/ 4 w 406"/>
                  <a:gd name="T87" fmla="*/ 131 h 399"/>
                  <a:gd name="T88" fmla="*/ 29 w 406"/>
                  <a:gd name="T89" fmla="*/ 83 h 399"/>
                  <a:gd name="T90" fmla="*/ 71 w 406"/>
                  <a:gd name="T91" fmla="*/ 50 h 399"/>
                  <a:gd name="T92" fmla="*/ 125 w 406"/>
                  <a:gd name="T93" fmla="*/ 37 h 399"/>
                  <a:gd name="T94" fmla="*/ 302 w 406"/>
                  <a:gd name="T95" fmla="*/ 39 h 399"/>
                  <a:gd name="T96" fmla="*/ 349 w 406"/>
                  <a:gd name="T97" fmla="*/ 1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9">
                    <a:moveTo>
                      <a:pt x="332" y="117"/>
                    </a:moveTo>
                    <a:lnTo>
                      <a:pt x="315" y="140"/>
                    </a:lnTo>
                    <a:lnTo>
                      <a:pt x="298" y="164"/>
                    </a:lnTo>
                    <a:lnTo>
                      <a:pt x="282" y="187"/>
                    </a:lnTo>
                    <a:lnTo>
                      <a:pt x="267" y="210"/>
                    </a:lnTo>
                    <a:lnTo>
                      <a:pt x="254" y="231"/>
                    </a:lnTo>
                    <a:lnTo>
                      <a:pt x="242" y="252"/>
                    </a:lnTo>
                    <a:lnTo>
                      <a:pt x="231" y="270"/>
                    </a:lnTo>
                    <a:lnTo>
                      <a:pt x="224" y="285"/>
                    </a:lnTo>
                    <a:lnTo>
                      <a:pt x="217" y="297"/>
                    </a:lnTo>
                    <a:lnTo>
                      <a:pt x="213" y="305"/>
                    </a:lnTo>
                    <a:lnTo>
                      <a:pt x="212" y="308"/>
                    </a:lnTo>
                    <a:lnTo>
                      <a:pt x="194" y="341"/>
                    </a:lnTo>
                    <a:lnTo>
                      <a:pt x="281" y="341"/>
                    </a:lnTo>
                    <a:lnTo>
                      <a:pt x="299" y="339"/>
                    </a:lnTo>
                    <a:lnTo>
                      <a:pt x="315" y="333"/>
                    </a:lnTo>
                    <a:lnTo>
                      <a:pt x="328" y="323"/>
                    </a:lnTo>
                    <a:lnTo>
                      <a:pt x="339" y="310"/>
                    </a:lnTo>
                    <a:lnTo>
                      <a:pt x="346" y="294"/>
                    </a:lnTo>
                    <a:lnTo>
                      <a:pt x="349" y="277"/>
                    </a:lnTo>
                    <a:lnTo>
                      <a:pt x="349" y="159"/>
                    </a:lnTo>
                    <a:lnTo>
                      <a:pt x="346" y="143"/>
                    </a:lnTo>
                    <a:lnTo>
                      <a:pt x="341" y="130"/>
                    </a:lnTo>
                    <a:lnTo>
                      <a:pt x="332" y="117"/>
                    </a:lnTo>
                    <a:close/>
                    <a:moveTo>
                      <a:pt x="125" y="94"/>
                    </a:moveTo>
                    <a:lnTo>
                      <a:pt x="108" y="97"/>
                    </a:lnTo>
                    <a:lnTo>
                      <a:pt x="92" y="103"/>
                    </a:lnTo>
                    <a:lnTo>
                      <a:pt x="78" y="113"/>
                    </a:lnTo>
                    <a:lnTo>
                      <a:pt x="67" y="126"/>
                    </a:lnTo>
                    <a:lnTo>
                      <a:pt x="61" y="142"/>
                    </a:lnTo>
                    <a:lnTo>
                      <a:pt x="59" y="159"/>
                    </a:lnTo>
                    <a:lnTo>
                      <a:pt x="59" y="277"/>
                    </a:lnTo>
                    <a:lnTo>
                      <a:pt x="61" y="294"/>
                    </a:lnTo>
                    <a:lnTo>
                      <a:pt x="67" y="310"/>
                    </a:lnTo>
                    <a:lnTo>
                      <a:pt x="78" y="323"/>
                    </a:lnTo>
                    <a:lnTo>
                      <a:pt x="92" y="333"/>
                    </a:lnTo>
                    <a:lnTo>
                      <a:pt x="108" y="339"/>
                    </a:lnTo>
                    <a:lnTo>
                      <a:pt x="125" y="341"/>
                    </a:lnTo>
                    <a:lnTo>
                      <a:pt x="177" y="341"/>
                    </a:lnTo>
                    <a:lnTo>
                      <a:pt x="160" y="308"/>
                    </a:lnTo>
                    <a:lnTo>
                      <a:pt x="147" y="285"/>
                    </a:lnTo>
                    <a:lnTo>
                      <a:pt x="132" y="267"/>
                    </a:lnTo>
                    <a:lnTo>
                      <a:pt x="116" y="252"/>
                    </a:lnTo>
                    <a:lnTo>
                      <a:pt x="101" y="241"/>
                    </a:lnTo>
                    <a:lnTo>
                      <a:pt x="87" y="232"/>
                    </a:lnTo>
                    <a:lnTo>
                      <a:pt x="76" y="227"/>
                    </a:lnTo>
                    <a:lnTo>
                      <a:pt x="67" y="224"/>
                    </a:lnTo>
                    <a:lnTo>
                      <a:pt x="64" y="222"/>
                    </a:lnTo>
                    <a:lnTo>
                      <a:pt x="80" y="167"/>
                    </a:lnTo>
                    <a:lnTo>
                      <a:pt x="85" y="168"/>
                    </a:lnTo>
                    <a:lnTo>
                      <a:pt x="94" y="172"/>
                    </a:lnTo>
                    <a:lnTo>
                      <a:pt x="108" y="179"/>
                    </a:lnTo>
                    <a:lnTo>
                      <a:pt x="124" y="188"/>
                    </a:lnTo>
                    <a:lnTo>
                      <a:pt x="144" y="201"/>
                    </a:lnTo>
                    <a:lnTo>
                      <a:pt x="163" y="217"/>
                    </a:lnTo>
                    <a:lnTo>
                      <a:pt x="183" y="238"/>
                    </a:lnTo>
                    <a:lnTo>
                      <a:pt x="197" y="213"/>
                    </a:lnTo>
                    <a:lnTo>
                      <a:pt x="214" y="186"/>
                    </a:lnTo>
                    <a:lnTo>
                      <a:pt x="233" y="156"/>
                    </a:lnTo>
                    <a:lnTo>
                      <a:pt x="255" y="125"/>
                    </a:lnTo>
                    <a:lnTo>
                      <a:pt x="277" y="94"/>
                    </a:lnTo>
                    <a:lnTo>
                      <a:pt x="125" y="94"/>
                    </a:lnTo>
                    <a:close/>
                    <a:moveTo>
                      <a:pt x="375" y="0"/>
                    </a:moveTo>
                    <a:lnTo>
                      <a:pt x="406" y="48"/>
                    </a:lnTo>
                    <a:lnTo>
                      <a:pt x="389" y="61"/>
                    </a:lnTo>
                    <a:lnTo>
                      <a:pt x="372" y="75"/>
                    </a:lnTo>
                    <a:lnTo>
                      <a:pt x="386" y="94"/>
                    </a:lnTo>
                    <a:lnTo>
                      <a:pt x="397" y="113"/>
                    </a:lnTo>
                    <a:lnTo>
                      <a:pt x="403" y="136"/>
                    </a:lnTo>
                    <a:lnTo>
                      <a:pt x="406" y="159"/>
                    </a:lnTo>
                    <a:lnTo>
                      <a:pt x="406" y="277"/>
                    </a:lnTo>
                    <a:lnTo>
                      <a:pt x="402" y="305"/>
                    </a:lnTo>
                    <a:lnTo>
                      <a:pt x="394" y="330"/>
                    </a:lnTo>
                    <a:lnTo>
                      <a:pt x="379" y="353"/>
                    </a:lnTo>
                    <a:lnTo>
                      <a:pt x="359" y="372"/>
                    </a:lnTo>
                    <a:lnTo>
                      <a:pt x="336" y="386"/>
                    </a:lnTo>
                    <a:lnTo>
                      <a:pt x="310" y="396"/>
                    </a:lnTo>
                    <a:lnTo>
                      <a:pt x="281" y="399"/>
                    </a:lnTo>
                    <a:lnTo>
                      <a:pt x="125" y="399"/>
                    </a:lnTo>
                    <a:lnTo>
                      <a:pt x="97" y="396"/>
                    </a:lnTo>
                    <a:lnTo>
                      <a:pt x="71" y="386"/>
                    </a:lnTo>
                    <a:lnTo>
                      <a:pt x="48" y="372"/>
                    </a:lnTo>
                    <a:lnTo>
                      <a:pt x="29" y="353"/>
                    </a:lnTo>
                    <a:lnTo>
                      <a:pt x="13" y="330"/>
                    </a:lnTo>
                    <a:lnTo>
                      <a:pt x="4" y="305"/>
                    </a:lnTo>
                    <a:lnTo>
                      <a:pt x="0" y="277"/>
                    </a:lnTo>
                    <a:lnTo>
                      <a:pt x="0" y="159"/>
                    </a:lnTo>
                    <a:lnTo>
                      <a:pt x="4" y="131"/>
                    </a:lnTo>
                    <a:lnTo>
                      <a:pt x="13" y="105"/>
                    </a:lnTo>
                    <a:lnTo>
                      <a:pt x="29" y="83"/>
                    </a:lnTo>
                    <a:lnTo>
                      <a:pt x="48" y="64"/>
                    </a:lnTo>
                    <a:lnTo>
                      <a:pt x="71" y="50"/>
                    </a:lnTo>
                    <a:lnTo>
                      <a:pt x="97" y="40"/>
                    </a:lnTo>
                    <a:lnTo>
                      <a:pt x="125" y="37"/>
                    </a:lnTo>
                    <a:lnTo>
                      <a:pt x="281" y="37"/>
                    </a:lnTo>
                    <a:lnTo>
                      <a:pt x="302" y="39"/>
                    </a:lnTo>
                    <a:lnTo>
                      <a:pt x="323" y="44"/>
                    </a:lnTo>
                    <a:lnTo>
                      <a:pt x="349" y="19"/>
                    </a:lnTo>
                    <a:lnTo>
                      <a:pt x="375" y="0"/>
                    </a:lnTo>
                    <a:close/>
                  </a:path>
                </a:pathLst>
              </a:custGeom>
              <a:solidFill>
                <a:schemeClr val="tx1"/>
              </a:solidFill>
              <a:ln w="3175">
                <a:noFill/>
                <a:prstDash val="solid"/>
                <a:round/>
                <a:headEnd/>
                <a:tailEnd/>
              </a:ln>
            </p:spPr>
            <p:txBody>
              <a:bodyPr/>
              <a:lstStyle/>
              <a:p>
                <a:endParaRPr lang="de-DE" sz="800" b="0" dirty="0"/>
              </a:p>
            </p:txBody>
          </p:sp>
          <p:sp>
            <p:nvSpPr>
              <p:cNvPr id="44" name="Freeform 298"/>
              <p:cNvSpPr>
                <a:spLocks noEditPoints="1"/>
              </p:cNvSpPr>
              <p:nvPr/>
            </p:nvSpPr>
            <p:spPr bwMode="auto">
              <a:xfrm>
                <a:off x="-1176949" y="5431946"/>
                <a:ext cx="63500" cy="60325"/>
              </a:xfrm>
              <a:custGeom>
                <a:avLst/>
                <a:gdLst>
                  <a:gd name="T0" fmla="*/ 319 w 406"/>
                  <a:gd name="T1" fmla="*/ 134 h 384"/>
                  <a:gd name="T2" fmla="*/ 285 w 406"/>
                  <a:gd name="T3" fmla="*/ 181 h 384"/>
                  <a:gd name="T4" fmla="*/ 256 w 406"/>
                  <a:gd name="T5" fmla="*/ 228 h 384"/>
                  <a:gd name="T6" fmla="*/ 232 w 406"/>
                  <a:gd name="T7" fmla="*/ 268 h 384"/>
                  <a:gd name="T8" fmla="*/ 217 w 406"/>
                  <a:gd name="T9" fmla="*/ 296 h 384"/>
                  <a:gd name="T10" fmla="*/ 212 w 406"/>
                  <a:gd name="T11" fmla="*/ 307 h 384"/>
                  <a:gd name="T12" fmla="*/ 281 w 406"/>
                  <a:gd name="T13" fmla="*/ 326 h 384"/>
                  <a:gd name="T14" fmla="*/ 315 w 406"/>
                  <a:gd name="T15" fmla="*/ 318 h 384"/>
                  <a:gd name="T16" fmla="*/ 339 w 406"/>
                  <a:gd name="T17" fmla="*/ 295 h 384"/>
                  <a:gd name="T18" fmla="*/ 349 w 406"/>
                  <a:gd name="T19" fmla="*/ 263 h 384"/>
                  <a:gd name="T20" fmla="*/ 345 w 406"/>
                  <a:gd name="T21" fmla="*/ 126 h 384"/>
                  <a:gd name="T22" fmla="*/ 125 w 406"/>
                  <a:gd name="T23" fmla="*/ 80 h 384"/>
                  <a:gd name="T24" fmla="*/ 92 w 406"/>
                  <a:gd name="T25" fmla="*/ 89 h 384"/>
                  <a:gd name="T26" fmla="*/ 67 w 406"/>
                  <a:gd name="T27" fmla="*/ 112 h 384"/>
                  <a:gd name="T28" fmla="*/ 59 w 406"/>
                  <a:gd name="T29" fmla="*/ 144 h 384"/>
                  <a:gd name="T30" fmla="*/ 61 w 406"/>
                  <a:gd name="T31" fmla="*/ 279 h 384"/>
                  <a:gd name="T32" fmla="*/ 78 w 406"/>
                  <a:gd name="T33" fmla="*/ 308 h 384"/>
                  <a:gd name="T34" fmla="*/ 108 w 406"/>
                  <a:gd name="T35" fmla="*/ 324 h 384"/>
                  <a:gd name="T36" fmla="*/ 170 w 406"/>
                  <a:gd name="T37" fmla="*/ 326 h 384"/>
                  <a:gd name="T38" fmla="*/ 147 w 406"/>
                  <a:gd name="T39" fmla="*/ 285 h 384"/>
                  <a:gd name="T40" fmla="*/ 116 w 406"/>
                  <a:gd name="T41" fmla="*/ 252 h 384"/>
                  <a:gd name="T42" fmla="*/ 87 w 406"/>
                  <a:gd name="T43" fmla="*/ 232 h 384"/>
                  <a:gd name="T44" fmla="*/ 67 w 406"/>
                  <a:gd name="T45" fmla="*/ 223 h 384"/>
                  <a:gd name="T46" fmla="*/ 80 w 406"/>
                  <a:gd name="T47" fmla="*/ 167 h 384"/>
                  <a:gd name="T48" fmla="*/ 94 w 406"/>
                  <a:gd name="T49" fmla="*/ 171 h 384"/>
                  <a:gd name="T50" fmla="*/ 124 w 406"/>
                  <a:gd name="T51" fmla="*/ 188 h 384"/>
                  <a:gd name="T52" fmla="*/ 163 w 406"/>
                  <a:gd name="T53" fmla="*/ 218 h 384"/>
                  <a:gd name="T54" fmla="*/ 196 w 406"/>
                  <a:gd name="T55" fmla="*/ 216 h 384"/>
                  <a:gd name="T56" fmla="*/ 228 w 406"/>
                  <a:gd name="T57" fmla="*/ 164 h 384"/>
                  <a:gd name="T58" fmla="*/ 267 w 406"/>
                  <a:gd name="T59" fmla="*/ 108 h 384"/>
                  <a:gd name="T60" fmla="*/ 285 w 406"/>
                  <a:gd name="T61" fmla="*/ 80 h 384"/>
                  <a:gd name="T62" fmla="*/ 125 w 406"/>
                  <a:gd name="T63" fmla="*/ 80 h 384"/>
                  <a:gd name="T64" fmla="*/ 406 w 406"/>
                  <a:gd name="T65" fmla="*/ 49 h 384"/>
                  <a:gd name="T66" fmla="*/ 394 w 406"/>
                  <a:gd name="T67" fmla="*/ 92 h 384"/>
                  <a:gd name="T68" fmla="*/ 406 w 406"/>
                  <a:gd name="T69" fmla="*/ 144 h 384"/>
                  <a:gd name="T70" fmla="*/ 402 w 406"/>
                  <a:gd name="T71" fmla="*/ 291 h 384"/>
                  <a:gd name="T72" fmla="*/ 379 w 406"/>
                  <a:gd name="T73" fmla="*/ 338 h 384"/>
                  <a:gd name="T74" fmla="*/ 336 w 406"/>
                  <a:gd name="T75" fmla="*/ 372 h 384"/>
                  <a:gd name="T76" fmla="*/ 281 w 406"/>
                  <a:gd name="T77" fmla="*/ 384 h 384"/>
                  <a:gd name="T78" fmla="*/ 97 w 406"/>
                  <a:gd name="T79" fmla="*/ 381 h 384"/>
                  <a:gd name="T80" fmla="*/ 48 w 406"/>
                  <a:gd name="T81" fmla="*/ 358 h 384"/>
                  <a:gd name="T82" fmla="*/ 13 w 406"/>
                  <a:gd name="T83" fmla="*/ 316 h 384"/>
                  <a:gd name="T84" fmla="*/ 0 w 406"/>
                  <a:gd name="T85" fmla="*/ 263 h 384"/>
                  <a:gd name="T86" fmla="*/ 4 w 406"/>
                  <a:gd name="T87" fmla="*/ 117 h 384"/>
                  <a:gd name="T88" fmla="*/ 29 w 406"/>
                  <a:gd name="T89" fmla="*/ 68 h 384"/>
                  <a:gd name="T90" fmla="*/ 71 w 406"/>
                  <a:gd name="T91" fmla="*/ 35 h 384"/>
                  <a:gd name="T92" fmla="*/ 125 w 406"/>
                  <a:gd name="T93" fmla="*/ 22 h 384"/>
                  <a:gd name="T94" fmla="*/ 308 w 406"/>
                  <a:gd name="T95" fmla="*/ 25 h 384"/>
                  <a:gd name="T96" fmla="*/ 354 w 406"/>
                  <a:gd name="T97" fmla="*/ 1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4">
                    <a:moveTo>
                      <a:pt x="339" y="111"/>
                    </a:moveTo>
                    <a:lnTo>
                      <a:pt x="319" y="134"/>
                    </a:lnTo>
                    <a:lnTo>
                      <a:pt x="302" y="157"/>
                    </a:lnTo>
                    <a:lnTo>
                      <a:pt x="285" y="181"/>
                    </a:lnTo>
                    <a:lnTo>
                      <a:pt x="270" y="205"/>
                    </a:lnTo>
                    <a:lnTo>
                      <a:pt x="256" y="228"/>
                    </a:lnTo>
                    <a:lnTo>
                      <a:pt x="243" y="249"/>
                    </a:lnTo>
                    <a:lnTo>
                      <a:pt x="232" y="268"/>
                    </a:lnTo>
                    <a:lnTo>
                      <a:pt x="224" y="283"/>
                    </a:lnTo>
                    <a:lnTo>
                      <a:pt x="217" y="296"/>
                    </a:lnTo>
                    <a:lnTo>
                      <a:pt x="213" y="304"/>
                    </a:lnTo>
                    <a:lnTo>
                      <a:pt x="212" y="307"/>
                    </a:lnTo>
                    <a:lnTo>
                      <a:pt x="202" y="326"/>
                    </a:lnTo>
                    <a:lnTo>
                      <a:pt x="281" y="326"/>
                    </a:lnTo>
                    <a:lnTo>
                      <a:pt x="299" y="324"/>
                    </a:lnTo>
                    <a:lnTo>
                      <a:pt x="315" y="318"/>
                    </a:lnTo>
                    <a:lnTo>
                      <a:pt x="328" y="308"/>
                    </a:lnTo>
                    <a:lnTo>
                      <a:pt x="339" y="295"/>
                    </a:lnTo>
                    <a:lnTo>
                      <a:pt x="346" y="279"/>
                    </a:lnTo>
                    <a:lnTo>
                      <a:pt x="349" y="263"/>
                    </a:lnTo>
                    <a:lnTo>
                      <a:pt x="349" y="144"/>
                    </a:lnTo>
                    <a:lnTo>
                      <a:pt x="345" y="126"/>
                    </a:lnTo>
                    <a:lnTo>
                      <a:pt x="339" y="111"/>
                    </a:lnTo>
                    <a:close/>
                    <a:moveTo>
                      <a:pt x="125" y="80"/>
                    </a:moveTo>
                    <a:lnTo>
                      <a:pt x="108" y="82"/>
                    </a:lnTo>
                    <a:lnTo>
                      <a:pt x="92" y="89"/>
                    </a:lnTo>
                    <a:lnTo>
                      <a:pt x="78" y="98"/>
                    </a:lnTo>
                    <a:lnTo>
                      <a:pt x="67" y="112"/>
                    </a:lnTo>
                    <a:lnTo>
                      <a:pt x="61" y="127"/>
                    </a:lnTo>
                    <a:lnTo>
                      <a:pt x="59" y="144"/>
                    </a:lnTo>
                    <a:lnTo>
                      <a:pt x="59" y="263"/>
                    </a:lnTo>
                    <a:lnTo>
                      <a:pt x="61" y="279"/>
                    </a:lnTo>
                    <a:lnTo>
                      <a:pt x="67" y="295"/>
                    </a:lnTo>
                    <a:lnTo>
                      <a:pt x="78" y="308"/>
                    </a:lnTo>
                    <a:lnTo>
                      <a:pt x="92" y="318"/>
                    </a:lnTo>
                    <a:lnTo>
                      <a:pt x="108" y="324"/>
                    </a:lnTo>
                    <a:lnTo>
                      <a:pt x="125" y="326"/>
                    </a:lnTo>
                    <a:lnTo>
                      <a:pt x="170" y="326"/>
                    </a:lnTo>
                    <a:lnTo>
                      <a:pt x="160" y="307"/>
                    </a:lnTo>
                    <a:lnTo>
                      <a:pt x="147" y="285"/>
                    </a:lnTo>
                    <a:lnTo>
                      <a:pt x="132" y="266"/>
                    </a:lnTo>
                    <a:lnTo>
                      <a:pt x="116" y="252"/>
                    </a:lnTo>
                    <a:lnTo>
                      <a:pt x="101" y="240"/>
                    </a:lnTo>
                    <a:lnTo>
                      <a:pt x="87" y="232"/>
                    </a:lnTo>
                    <a:lnTo>
                      <a:pt x="76" y="226"/>
                    </a:lnTo>
                    <a:lnTo>
                      <a:pt x="67" y="223"/>
                    </a:lnTo>
                    <a:lnTo>
                      <a:pt x="64" y="222"/>
                    </a:lnTo>
                    <a:lnTo>
                      <a:pt x="80" y="167"/>
                    </a:lnTo>
                    <a:lnTo>
                      <a:pt x="85" y="168"/>
                    </a:lnTo>
                    <a:lnTo>
                      <a:pt x="94" y="171"/>
                    </a:lnTo>
                    <a:lnTo>
                      <a:pt x="108" y="178"/>
                    </a:lnTo>
                    <a:lnTo>
                      <a:pt x="124" y="188"/>
                    </a:lnTo>
                    <a:lnTo>
                      <a:pt x="144" y="200"/>
                    </a:lnTo>
                    <a:lnTo>
                      <a:pt x="163" y="218"/>
                    </a:lnTo>
                    <a:lnTo>
                      <a:pt x="183" y="238"/>
                    </a:lnTo>
                    <a:lnTo>
                      <a:pt x="196" y="216"/>
                    </a:lnTo>
                    <a:lnTo>
                      <a:pt x="211" y="191"/>
                    </a:lnTo>
                    <a:lnTo>
                      <a:pt x="228" y="164"/>
                    </a:lnTo>
                    <a:lnTo>
                      <a:pt x="246" y="136"/>
                    </a:lnTo>
                    <a:lnTo>
                      <a:pt x="267" y="108"/>
                    </a:lnTo>
                    <a:lnTo>
                      <a:pt x="288" y="80"/>
                    </a:lnTo>
                    <a:lnTo>
                      <a:pt x="285" y="80"/>
                    </a:lnTo>
                    <a:lnTo>
                      <a:pt x="281" y="80"/>
                    </a:lnTo>
                    <a:lnTo>
                      <a:pt x="125" y="80"/>
                    </a:lnTo>
                    <a:close/>
                    <a:moveTo>
                      <a:pt x="375" y="0"/>
                    </a:moveTo>
                    <a:lnTo>
                      <a:pt x="406" y="49"/>
                    </a:lnTo>
                    <a:lnTo>
                      <a:pt x="379" y="69"/>
                    </a:lnTo>
                    <a:lnTo>
                      <a:pt x="394" y="92"/>
                    </a:lnTo>
                    <a:lnTo>
                      <a:pt x="402" y="117"/>
                    </a:lnTo>
                    <a:lnTo>
                      <a:pt x="406" y="144"/>
                    </a:lnTo>
                    <a:lnTo>
                      <a:pt x="406" y="263"/>
                    </a:lnTo>
                    <a:lnTo>
                      <a:pt x="402" y="291"/>
                    </a:lnTo>
                    <a:lnTo>
                      <a:pt x="394" y="316"/>
                    </a:lnTo>
                    <a:lnTo>
                      <a:pt x="379" y="338"/>
                    </a:lnTo>
                    <a:lnTo>
                      <a:pt x="359" y="358"/>
                    </a:lnTo>
                    <a:lnTo>
                      <a:pt x="336" y="372"/>
                    </a:lnTo>
                    <a:lnTo>
                      <a:pt x="310" y="381"/>
                    </a:lnTo>
                    <a:lnTo>
                      <a:pt x="281" y="384"/>
                    </a:lnTo>
                    <a:lnTo>
                      <a:pt x="125" y="384"/>
                    </a:lnTo>
                    <a:lnTo>
                      <a:pt x="97" y="381"/>
                    </a:lnTo>
                    <a:lnTo>
                      <a:pt x="71" y="372"/>
                    </a:lnTo>
                    <a:lnTo>
                      <a:pt x="48" y="358"/>
                    </a:lnTo>
                    <a:lnTo>
                      <a:pt x="29" y="338"/>
                    </a:lnTo>
                    <a:lnTo>
                      <a:pt x="13" y="316"/>
                    </a:lnTo>
                    <a:lnTo>
                      <a:pt x="4" y="291"/>
                    </a:lnTo>
                    <a:lnTo>
                      <a:pt x="0" y="263"/>
                    </a:lnTo>
                    <a:lnTo>
                      <a:pt x="0" y="144"/>
                    </a:lnTo>
                    <a:lnTo>
                      <a:pt x="4" y="117"/>
                    </a:lnTo>
                    <a:lnTo>
                      <a:pt x="13" y="91"/>
                    </a:lnTo>
                    <a:lnTo>
                      <a:pt x="29" y="68"/>
                    </a:lnTo>
                    <a:lnTo>
                      <a:pt x="48" y="49"/>
                    </a:lnTo>
                    <a:lnTo>
                      <a:pt x="71" y="35"/>
                    </a:lnTo>
                    <a:lnTo>
                      <a:pt x="97" y="25"/>
                    </a:lnTo>
                    <a:lnTo>
                      <a:pt x="125" y="22"/>
                    </a:lnTo>
                    <a:lnTo>
                      <a:pt x="281" y="22"/>
                    </a:lnTo>
                    <a:lnTo>
                      <a:pt x="308" y="25"/>
                    </a:lnTo>
                    <a:lnTo>
                      <a:pt x="332" y="34"/>
                    </a:lnTo>
                    <a:lnTo>
                      <a:pt x="354" y="15"/>
                    </a:lnTo>
                    <a:lnTo>
                      <a:pt x="375" y="0"/>
                    </a:lnTo>
                    <a:close/>
                  </a:path>
                </a:pathLst>
              </a:custGeom>
              <a:solidFill>
                <a:schemeClr val="tx1"/>
              </a:solidFill>
              <a:ln w="3175">
                <a:noFill/>
                <a:prstDash val="solid"/>
                <a:round/>
                <a:headEnd/>
                <a:tailEnd/>
              </a:ln>
            </p:spPr>
            <p:txBody>
              <a:bodyPr/>
              <a:lstStyle/>
              <a:p>
                <a:endParaRPr lang="de-DE" sz="800" b="0" dirty="0"/>
              </a:p>
            </p:txBody>
          </p:sp>
          <p:sp>
            <p:nvSpPr>
              <p:cNvPr id="45" name="Freeform 299"/>
              <p:cNvSpPr>
                <a:spLocks noEditPoints="1"/>
              </p:cNvSpPr>
              <p:nvPr/>
            </p:nvSpPr>
            <p:spPr bwMode="auto">
              <a:xfrm>
                <a:off x="-1176949" y="5503383"/>
                <a:ext cx="63500" cy="61912"/>
              </a:xfrm>
              <a:custGeom>
                <a:avLst/>
                <a:gdLst>
                  <a:gd name="T0" fmla="*/ 319 w 406"/>
                  <a:gd name="T1" fmla="*/ 134 h 386"/>
                  <a:gd name="T2" fmla="*/ 285 w 406"/>
                  <a:gd name="T3" fmla="*/ 182 h 386"/>
                  <a:gd name="T4" fmla="*/ 256 w 406"/>
                  <a:gd name="T5" fmla="*/ 229 h 386"/>
                  <a:gd name="T6" fmla="*/ 232 w 406"/>
                  <a:gd name="T7" fmla="*/ 268 h 386"/>
                  <a:gd name="T8" fmla="*/ 217 w 406"/>
                  <a:gd name="T9" fmla="*/ 297 h 386"/>
                  <a:gd name="T10" fmla="*/ 212 w 406"/>
                  <a:gd name="T11" fmla="*/ 308 h 386"/>
                  <a:gd name="T12" fmla="*/ 281 w 406"/>
                  <a:gd name="T13" fmla="*/ 328 h 386"/>
                  <a:gd name="T14" fmla="*/ 315 w 406"/>
                  <a:gd name="T15" fmla="*/ 319 h 386"/>
                  <a:gd name="T16" fmla="*/ 339 w 406"/>
                  <a:gd name="T17" fmla="*/ 295 h 386"/>
                  <a:gd name="T18" fmla="*/ 349 w 406"/>
                  <a:gd name="T19" fmla="*/ 263 h 386"/>
                  <a:gd name="T20" fmla="*/ 345 w 406"/>
                  <a:gd name="T21" fmla="*/ 127 h 386"/>
                  <a:gd name="T22" fmla="*/ 125 w 406"/>
                  <a:gd name="T23" fmla="*/ 80 h 386"/>
                  <a:gd name="T24" fmla="*/ 92 w 406"/>
                  <a:gd name="T25" fmla="*/ 90 h 386"/>
                  <a:gd name="T26" fmla="*/ 67 w 406"/>
                  <a:gd name="T27" fmla="*/ 112 h 386"/>
                  <a:gd name="T28" fmla="*/ 59 w 406"/>
                  <a:gd name="T29" fmla="*/ 145 h 386"/>
                  <a:gd name="T30" fmla="*/ 61 w 406"/>
                  <a:gd name="T31" fmla="*/ 280 h 386"/>
                  <a:gd name="T32" fmla="*/ 78 w 406"/>
                  <a:gd name="T33" fmla="*/ 308 h 386"/>
                  <a:gd name="T34" fmla="*/ 108 w 406"/>
                  <a:gd name="T35" fmla="*/ 325 h 386"/>
                  <a:gd name="T36" fmla="*/ 170 w 406"/>
                  <a:gd name="T37" fmla="*/ 328 h 386"/>
                  <a:gd name="T38" fmla="*/ 147 w 406"/>
                  <a:gd name="T39" fmla="*/ 286 h 386"/>
                  <a:gd name="T40" fmla="*/ 116 w 406"/>
                  <a:gd name="T41" fmla="*/ 252 h 386"/>
                  <a:gd name="T42" fmla="*/ 87 w 406"/>
                  <a:gd name="T43" fmla="*/ 233 h 386"/>
                  <a:gd name="T44" fmla="*/ 67 w 406"/>
                  <a:gd name="T45" fmla="*/ 224 h 386"/>
                  <a:gd name="T46" fmla="*/ 80 w 406"/>
                  <a:gd name="T47" fmla="*/ 167 h 386"/>
                  <a:gd name="T48" fmla="*/ 94 w 406"/>
                  <a:gd name="T49" fmla="*/ 173 h 386"/>
                  <a:gd name="T50" fmla="*/ 124 w 406"/>
                  <a:gd name="T51" fmla="*/ 189 h 386"/>
                  <a:gd name="T52" fmla="*/ 163 w 406"/>
                  <a:gd name="T53" fmla="*/ 218 h 386"/>
                  <a:gd name="T54" fmla="*/ 196 w 406"/>
                  <a:gd name="T55" fmla="*/ 217 h 386"/>
                  <a:gd name="T56" fmla="*/ 228 w 406"/>
                  <a:gd name="T57" fmla="*/ 165 h 386"/>
                  <a:gd name="T58" fmla="*/ 267 w 406"/>
                  <a:gd name="T59" fmla="*/ 109 h 386"/>
                  <a:gd name="T60" fmla="*/ 285 w 406"/>
                  <a:gd name="T61" fmla="*/ 81 h 386"/>
                  <a:gd name="T62" fmla="*/ 125 w 406"/>
                  <a:gd name="T63" fmla="*/ 80 h 386"/>
                  <a:gd name="T64" fmla="*/ 406 w 406"/>
                  <a:gd name="T65" fmla="*/ 50 h 386"/>
                  <a:gd name="T66" fmla="*/ 394 w 406"/>
                  <a:gd name="T67" fmla="*/ 92 h 386"/>
                  <a:gd name="T68" fmla="*/ 406 w 406"/>
                  <a:gd name="T69" fmla="*/ 145 h 386"/>
                  <a:gd name="T70" fmla="*/ 402 w 406"/>
                  <a:gd name="T71" fmla="*/ 291 h 386"/>
                  <a:gd name="T72" fmla="*/ 379 w 406"/>
                  <a:gd name="T73" fmla="*/ 339 h 386"/>
                  <a:gd name="T74" fmla="*/ 336 w 406"/>
                  <a:gd name="T75" fmla="*/ 373 h 386"/>
                  <a:gd name="T76" fmla="*/ 281 w 406"/>
                  <a:gd name="T77" fmla="*/ 386 h 386"/>
                  <a:gd name="T78" fmla="*/ 97 w 406"/>
                  <a:gd name="T79" fmla="*/ 382 h 386"/>
                  <a:gd name="T80" fmla="*/ 48 w 406"/>
                  <a:gd name="T81" fmla="*/ 359 h 386"/>
                  <a:gd name="T82" fmla="*/ 13 w 406"/>
                  <a:gd name="T83" fmla="*/ 317 h 386"/>
                  <a:gd name="T84" fmla="*/ 0 w 406"/>
                  <a:gd name="T85" fmla="*/ 263 h 386"/>
                  <a:gd name="T86" fmla="*/ 4 w 406"/>
                  <a:gd name="T87" fmla="*/ 117 h 386"/>
                  <a:gd name="T88" fmla="*/ 29 w 406"/>
                  <a:gd name="T89" fmla="*/ 68 h 386"/>
                  <a:gd name="T90" fmla="*/ 71 w 406"/>
                  <a:gd name="T91" fmla="*/ 35 h 386"/>
                  <a:gd name="T92" fmla="*/ 125 w 406"/>
                  <a:gd name="T93" fmla="*/ 23 h 386"/>
                  <a:gd name="T94" fmla="*/ 308 w 406"/>
                  <a:gd name="T95" fmla="*/ 26 h 386"/>
                  <a:gd name="T96" fmla="*/ 354 w 406"/>
                  <a:gd name="T97" fmla="*/ 1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6">
                    <a:moveTo>
                      <a:pt x="339" y="111"/>
                    </a:moveTo>
                    <a:lnTo>
                      <a:pt x="319" y="134"/>
                    </a:lnTo>
                    <a:lnTo>
                      <a:pt x="302" y="158"/>
                    </a:lnTo>
                    <a:lnTo>
                      <a:pt x="285" y="182"/>
                    </a:lnTo>
                    <a:lnTo>
                      <a:pt x="270" y="206"/>
                    </a:lnTo>
                    <a:lnTo>
                      <a:pt x="256" y="229"/>
                    </a:lnTo>
                    <a:lnTo>
                      <a:pt x="243" y="250"/>
                    </a:lnTo>
                    <a:lnTo>
                      <a:pt x="232" y="268"/>
                    </a:lnTo>
                    <a:lnTo>
                      <a:pt x="224" y="285"/>
                    </a:lnTo>
                    <a:lnTo>
                      <a:pt x="217" y="297"/>
                    </a:lnTo>
                    <a:lnTo>
                      <a:pt x="213" y="305"/>
                    </a:lnTo>
                    <a:lnTo>
                      <a:pt x="212" y="308"/>
                    </a:lnTo>
                    <a:lnTo>
                      <a:pt x="202" y="328"/>
                    </a:lnTo>
                    <a:lnTo>
                      <a:pt x="281" y="328"/>
                    </a:lnTo>
                    <a:lnTo>
                      <a:pt x="299" y="325"/>
                    </a:lnTo>
                    <a:lnTo>
                      <a:pt x="315" y="319"/>
                    </a:lnTo>
                    <a:lnTo>
                      <a:pt x="328" y="308"/>
                    </a:lnTo>
                    <a:lnTo>
                      <a:pt x="339" y="295"/>
                    </a:lnTo>
                    <a:lnTo>
                      <a:pt x="346" y="280"/>
                    </a:lnTo>
                    <a:lnTo>
                      <a:pt x="349" y="263"/>
                    </a:lnTo>
                    <a:lnTo>
                      <a:pt x="349" y="145"/>
                    </a:lnTo>
                    <a:lnTo>
                      <a:pt x="345" y="127"/>
                    </a:lnTo>
                    <a:lnTo>
                      <a:pt x="339" y="111"/>
                    </a:lnTo>
                    <a:close/>
                    <a:moveTo>
                      <a:pt x="125" y="80"/>
                    </a:moveTo>
                    <a:lnTo>
                      <a:pt x="108" y="83"/>
                    </a:lnTo>
                    <a:lnTo>
                      <a:pt x="92" y="90"/>
                    </a:lnTo>
                    <a:lnTo>
                      <a:pt x="78" y="99"/>
                    </a:lnTo>
                    <a:lnTo>
                      <a:pt x="67" y="112"/>
                    </a:lnTo>
                    <a:lnTo>
                      <a:pt x="61" y="127"/>
                    </a:lnTo>
                    <a:lnTo>
                      <a:pt x="59" y="145"/>
                    </a:lnTo>
                    <a:lnTo>
                      <a:pt x="59" y="263"/>
                    </a:lnTo>
                    <a:lnTo>
                      <a:pt x="61" y="280"/>
                    </a:lnTo>
                    <a:lnTo>
                      <a:pt x="67" y="295"/>
                    </a:lnTo>
                    <a:lnTo>
                      <a:pt x="78" y="308"/>
                    </a:lnTo>
                    <a:lnTo>
                      <a:pt x="92" y="319"/>
                    </a:lnTo>
                    <a:lnTo>
                      <a:pt x="108" y="325"/>
                    </a:lnTo>
                    <a:lnTo>
                      <a:pt x="125" y="328"/>
                    </a:lnTo>
                    <a:lnTo>
                      <a:pt x="170" y="328"/>
                    </a:lnTo>
                    <a:lnTo>
                      <a:pt x="160" y="308"/>
                    </a:lnTo>
                    <a:lnTo>
                      <a:pt x="147" y="286"/>
                    </a:lnTo>
                    <a:lnTo>
                      <a:pt x="132" y="267"/>
                    </a:lnTo>
                    <a:lnTo>
                      <a:pt x="116" y="252"/>
                    </a:lnTo>
                    <a:lnTo>
                      <a:pt x="101" y="242"/>
                    </a:lnTo>
                    <a:lnTo>
                      <a:pt x="87" y="233"/>
                    </a:lnTo>
                    <a:lnTo>
                      <a:pt x="76" y="228"/>
                    </a:lnTo>
                    <a:lnTo>
                      <a:pt x="67" y="224"/>
                    </a:lnTo>
                    <a:lnTo>
                      <a:pt x="64" y="223"/>
                    </a:lnTo>
                    <a:lnTo>
                      <a:pt x="80" y="167"/>
                    </a:lnTo>
                    <a:lnTo>
                      <a:pt x="85" y="169"/>
                    </a:lnTo>
                    <a:lnTo>
                      <a:pt x="94" y="173"/>
                    </a:lnTo>
                    <a:lnTo>
                      <a:pt x="108" y="179"/>
                    </a:lnTo>
                    <a:lnTo>
                      <a:pt x="124" y="189"/>
                    </a:lnTo>
                    <a:lnTo>
                      <a:pt x="144" y="202"/>
                    </a:lnTo>
                    <a:lnTo>
                      <a:pt x="163" y="218"/>
                    </a:lnTo>
                    <a:lnTo>
                      <a:pt x="183" y="238"/>
                    </a:lnTo>
                    <a:lnTo>
                      <a:pt x="196" y="217"/>
                    </a:lnTo>
                    <a:lnTo>
                      <a:pt x="211" y="192"/>
                    </a:lnTo>
                    <a:lnTo>
                      <a:pt x="228" y="165"/>
                    </a:lnTo>
                    <a:lnTo>
                      <a:pt x="246" y="137"/>
                    </a:lnTo>
                    <a:lnTo>
                      <a:pt x="267" y="109"/>
                    </a:lnTo>
                    <a:lnTo>
                      <a:pt x="288" y="81"/>
                    </a:lnTo>
                    <a:lnTo>
                      <a:pt x="285" y="81"/>
                    </a:lnTo>
                    <a:lnTo>
                      <a:pt x="281" y="80"/>
                    </a:lnTo>
                    <a:lnTo>
                      <a:pt x="125" y="80"/>
                    </a:lnTo>
                    <a:close/>
                    <a:moveTo>
                      <a:pt x="375" y="0"/>
                    </a:moveTo>
                    <a:lnTo>
                      <a:pt x="406" y="50"/>
                    </a:lnTo>
                    <a:lnTo>
                      <a:pt x="379" y="69"/>
                    </a:lnTo>
                    <a:lnTo>
                      <a:pt x="394" y="92"/>
                    </a:lnTo>
                    <a:lnTo>
                      <a:pt x="402" y="118"/>
                    </a:lnTo>
                    <a:lnTo>
                      <a:pt x="406" y="145"/>
                    </a:lnTo>
                    <a:lnTo>
                      <a:pt x="406" y="263"/>
                    </a:lnTo>
                    <a:lnTo>
                      <a:pt x="402" y="291"/>
                    </a:lnTo>
                    <a:lnTo>
                      <a:pt x="394" y="317"/>
                    </a:lnTo>
                    <a:lnTo>
                      <a:pt x="379" y="339"/>
                    </a:lnTo>
                    <a:lnTo>
                      <a:pt x="359" y="359"/>
                    </a:lnTo>
                    <a:lnTo>
                      <a:pt x="336" y="373"/>
                    </a:lnTo>
                    <a:lnTo>
                      <a:pt x="310" y="382"/>
                    </a:lnTo>
                    <a:lnTo>
                      <a:pt x="281" y="386"/>
                    </a:lnTo>
                    <a:lnTo>
                      <a:pt x="125" y="386"/>
                    </a:lnTo>
                    <a:lnTo>
                      <a:pt x="97" y="382"/>
                    </a:lnTo>
                    <a:lnTo>
                      <a:pt x="71" y="373"/>
                    </a:lnTo>
                    <a:lnTo>
                      <a:pt x="48" y="359"/>
                    </a:lnTo>
                    <a:lnTo>
                      <a:pt x="29" y="339"/>
                    </a:lnTo>
                    <a:lnTo>
                      <a:pt x="13" y="317"/>
                    </a:lnTo>
                    <a:lnTo>
                      <a:pt x="4" y="291"/>
                    </a:lnTo>
                    <a:lnTo>
                      <a:pt x="0" y="263"/>
                    </a:lnTo>
                    <a:lnTo>
                      <a:pt x="0" y="145"/>
                    </a:lnTo>
                    <a:lnTo>
                      <a:pt x="4" y="117"/>
                    </a:lnTo>
                    <a:lnTo>
                      <a:pt x="13" y="91"/>
                    </a:lnTo>
                    <a:lnTo>
                      <a:pt x="29" y="68"/>
                    </a:lnTo>
                    <a:lnTo>
                      <a:pt x="48" y="50"/>
                    </a:lnTo>
                    <a:lnTo>
                      <a:pt x="71" y="35"/>
                    </a:lnTo>
                    <a:lnTo>
                      <a:pt x="97" y="26"/>
                    </a:lnTo>
                    <a:lnTo>
                      <a:pt x="125" y="23"/>
                    </a:lnTo>
                    <a:lnTo>
                      <a:pt x="281" y="23"/>
                    </a:lnTo>
                    <a:lnTo>
                      <a:pt x="308" y="26"/>
                    </a:lnTo>
                    <a:lnTo>
                      <a:pt x="332" y="34"/>
                    </a:lnTo>
                    <a:lnTo>
                      <a:pt x="354"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46" name="Freeform 300"/>
              <p:cNvSpPr>
                <a:spLocks noEditPoints="1"/>
              </p:cNvSpPr>
              <p:nvPr/>
            </p:nvSpPr>
            <p:spPr bwMode="auto">
              <a:xfrm>
                <a:off x="-1176949" y="5573233"/>
                <a:ext cx="63500" cy="61912"/>
              </a:xfrm>
              <a:custGeom>
                <a:avLst/>
                <a:gdLst>
                  <a:gd name="T0" fmla="*/ 319 w 406"/>
                  <a:gd name="T1" fmla="*/ 134 h 385"/>
                  <a:gd name="T2" fmla="*/ 285 w 406"/>
                  <a:gd name="T3" fmla="*/ 181 h 385"/>
                  <a:gd name="T4" fmla="*/ 256 w 406"/>
                  <a:gd name="T5" fmla="*/ 228 h 385"/>
                  <a:gd name="T6" fmla="*/ 232 w 406"/>
                  <a:gd name="T7" fmla="*/ 267 h 385"/>
                  <a:gd name="T8" fmla="*/ 217 w 406"/>
                  <a:gd name="T9" fmla="*/ 297 h 385"/>
                  <a:gd name="T10" fmla="*/ 212 w 406"/>
                  <a:gd name="T11" fmla="*/ 307 h 385"/>
                  <a:gd name="T12" fmla="*/ 281 w 406"/>
                  <a:gd name="T13" fmla="*/ 327 h 385"/>
                  <a:gd name="T14" fmla="*/ 315 w 406"/>
                  <a:gd name="T15" fmla="*/ 318 h 385"/>
                  <a:gd name="T16" fmla="*/ 339 w 406"/>
                  <a:gd name="T17" fmla="*/ 295 h 385"/>
                  <a:gd name="T18" fmla="*/ 349 w 406"/>
                  <a:gd name="T19" fmla="*/ 262 h 385"/>
                  <a:gd name="T20" fmla="*/ 345 w 406"/>
                  <a:gd name="T21" fmla="*/ 126 h 385"/>
                  <a:gd name="T22" fmla="*/ 125 w 406"/>
                  <a:gd name="T23" fmla="*/ 79 h 385"/>
                  <a:gd name="T24" fmla="*/ 92 w 406"/>
                  <a:gd name="T25" fmla="*/ 89 h 385"/>
                  <a:gd name="T26" fmla="*/ 67 w 406"/>
                  <a:gd name="T27" fmla="*/ 111 h 385"/>
                  <a:gd name="T28" fmla="*/ 59 w 406"/>
                  <a:gd name="T29" fmla="*/ 145 h 385"/>
                  <a:gd name="T30" fmla="*/ 61 w 406"/>
                  <a:gd name="T31" fmla="*/ 279 h 385"/>
                  <a:gd name="T32" fmla="*/ 78 w 406"/>
                  <a:gd name="T33" fmla="*/ 308 h 385"/>
                  <a:gd name="T34" fmla="*/ 108 w 406"/>
                  <a:gd name="T35" fmla="*/ 324 h 385"/>
                  <a:gd name="T36" fmla="*/ 170 w 406"/>
                  <a:gd name="T37" fmla="*/ 327 h 385"/>
                  <a:gd name="T38" fmla="*/ 147 w 406"/>
                  <a:gd name="T39" fmla="*/ 285 h 385"/>
                  <a:gd name="T40" fmla="*/ 116 w 406"/>
                  <a:gd name="T41" fmla="*/ 252 h 385"/>
                  <a:gd name="T42" fmla="*/ 87 w 406"/>
                  <a:gd name="T43" fmla="*/ 232 h 385"/>
                  <a:gd name="T44" fmla="*/ 67 w 406"/>
                  <a:gd name="T45" fmla="*/ 223 h 385"/>
                  <a:gd name="T46" fmla="*/ 80 w 406"/>
                  <a:gd name="T47" fmla="*/ 167 h 385"/>
                  <a:gd name="T48" fmla="*/ 94 w 406"/>
                  <a:gd name="T49" fmla="*/ 172 h 385"/>
                  <a:gd name="T50" fmla="*/ 124 w 406"/>
                  <a:gd name="T51" fmla="*/ 188 h 385"/>
                  <a:gd name="T52" fmla="*/ 163 w 406"/>
                  <a:gd name="T53" fmla="*/ 217 h 385"/>
                  <a:gd name="T54" fmla="*/ 196 w 406"/>
                  <a:gd name="T55" fmla="*/ 216 h 385"/>
                  <a:gd name="T56" fmla="*/ 228 w 406"/>
                  <a:gd name="T57" fmla="*/ 164 h 385"/>
                  <a:gd name="T58" fmla="*/ 267 w 406"/>
                  <a:gd name="T59" fmla="*/ 108 h 385"/>
                  <a:gd name="T60" fmla="*/ 285 w 406"/>
                  <a:gd name="T61" fmla="*/ 80 h 385"/>
                  <a:gd name="T62" fmla="*/ 125 w 406"/>
                  <a:gd name="T63" fmla="*/ 79 h 385"/>
                  <a:gd name="T64" fmla="*/ 406 w 406"/>
                  <a:gd name="T65" fmla="*/ 49 h 385"/>
                  <a:gd name="T66" fmla="*/ 394 w 406"/>
                  <a:gd name="T67" fmla="*/ 91 h 385"/>
                  <a:gd name="T68" fmla="*/ 406 w 406"/>
                  <a:gd name="T69" fmla="*/ 145 h 385"/>
                  <a:gd name="T70" fmla="*/ 402 w 406"/>
                  <a:gd name="T71" fmla="*/ 290 h 385"/>
                  <a:gd name="T72" fmla="*/ 379 w 406"/>
                  <a:gd name="T73" fmla="*/ 338 h 385"/>
                  <a:gd name="T74" fmla="*/ 336 w 406"/>
                  <a:gd name="T75" fmla="*/ 372 h 385"/>
                  <a:gd name="T76" fmla="*/ 281 w 406"/>
                  <a:gd name="T77" fmla="*/ 385 h 385"/>
                  <a:gd name="T78" fmla="*/ 97 w 406"/>
                  <a:gd name="T79" fmla="*/ 382 h 385"/>
                  <a:gd name="T80" fmla="*/ 48 w 406"/>
                  <a:gd name="T81" fmla="*/ 358 h 385"/>
                  <a:gd name="T82" fmla="*/ 13 w 406"/>
                  <a:gd name="T83" fmla="*/ 316 h 385"/>
                  <a:gd name="T84" fmla="*/ 0 w 406"/>
                  <a:gd name="T85" fmla="*/ 262 h 385"/>
                  <a:gd name="T86" fmla="*/ 4 w 406"/>
                  <a:gd name="T87" fmla="*/ 117 h 385"/>
                  <a:gd name="T88" fmla="*/ 29 w 406"/>
                  <a:gd name="T89" fmla="*/ 68 h 385"/>
                  <a:gd name="T90" fmla="*/ 71 w 406"/>
                  <a:gd name="T91" fmla="*/ 35 h 385"/>
                  <a:gd name="T92" fmla="*/ 125 w 406"/>
                  <a:gd name="T93" fmla="*/ 22 h 385"/>
                  <a:gd name="T94" fmla="*/ 308 w 406"/>
                  <a:gd name="T95" fmla="*/ 25 h 385"/>
                  <a:gd name="T96" fmla="*/ 354 w 406"/>
                  <a:gd name="T97"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5">
                    <a:moveTo>
                      <a:pt x="339" y="110"/>
                    </a:moveTo>
                    <a:lnTo>
                      <a:pt x="319" y="134"/>
                    </a:lnTo>
                    <a:lnTo>
                      <a:pt x="302" y="158"/>
                    </a:lnTo>
                    <a:lnTo>
                      <a:pt x="285" y="181"/>
                    </a:lnTo>
                    <a:lnTo>
                      <a:pt x="270" y="205"/>
                    </a:lnTo>
                    <a:lnTo>
                      <a:pt x="256" y="228"/>
                    </a:lnTo>
                    <a:lnTo>
                      <a:pt x="243" y="249"/>
                    </a:lnTo>
                    <a:lnTo>
                      <a:pt x="232" y="267"/>
                    </a:lnTo>
                    <a:lnTo>
                      <a:pt x="224" y="284"/>
                    </a:lnTo>
                    <a:lnTo>
                      <a:pt x="217" y="297"/>
                    </a:lnTo>
                    <a:lnTo>
                      <a:pt x="213" y="304"/>
                    </a:lnTo>
                    <a:lnTo>
                      <a:pt x="212" y="307"/>
                    </a:lnTo>
                    <a:lnTo>
                      <a:pt x="202" y="327"/>
                    </a:lnTo>
                    <a:lnTo>
                      <a:pt x="281" y="327"/>
                    </a:lnTo>
                    <a:lnTo>
                      <a:pt x="299" y="324"/>
                    </a:lnTo>
                    <a:lnTo>
                      <a:pt x="315" y="318"/>
                    </a:lnTo>
                    <a:lnTo>
                      <a:pt x="328" y="308"/>
                    </a:lnTo>
                    <a:lnTo>
                      <a:pt x="339" y="295"/>
                    </a:lnTo>
                    <a:lnTo>
                      <a:pt x="346" y="279"/>
                    </a:lnTo>
                    <a:lnTo>
                      <a:pt x="349" y="262"/>
                    </a:lnTo>
                    <a:lnTo>
                      <a:pt x="349" y="145"/>
                    </a:lnTo>
                    <a:lnTo>
                      <a:pt x="345" y="126"/>
                    </a:lnTo>
                    <a:lnTo>
                      <a:pt x="339" y="110"/>
                    </a:lnTo>
                    <a:close/>
                    <a:moveTo>
                      <a:pt x="125" y="79"/>
                    </a:moveTo>
                    <a:lnTo>
                      <a:pt x="108" y="82"/>
                    </a:lnTo>
                    <a:lnTo>
                      <a:pt x="92" y="89"/>
                    </a:lnTo>
                    <a:lnTo>
                      <a:pt x="78" y="99"/>
                    </a:lnTo>
                    <a:lnTo>
                      <a:pt x="67" y="111"/>
                    </a:lnTo>
                    <a:lnTo>
                      <a:pt x="61" y="128"/>
                    </a:lnTo>
                    <a:lnTo>
                      <a:pt x="59" y="145"/>
                    </a:lnTo>
                    <a:lnTo>
                      <a:pt x="59" y="262"/>
                    </a:lnTo>
                    <a:lnTo>
                      <a:pt x="61" y="279"/>
                    </a:lnTo>
                    <a:lnTo>
                      <a:pt x="67" y="295"/>
                    </a:lnTo>
                    <a:lnTo>
                      <a:pt x="78" y="308"/>
                    </a:lnTo>
                    <a:lnTo>
                      <a:pt x="92" y="318"/>
                    </a:lnTo>
                    <a:lnTo>
                      <a:pt x="108" y="324"/>
                    </a:lnTo>
                    <a:lnTo>
                      <a:pt x="125" y="327"/>
                    </a:lnTo>
                    <a:lnTo>
                      <a:pt x="170" y="327"/>
                    </a:lnTo>
                    <a:lnTo>
                      <a:pt x="160" y="307"/>
                    </a:lnTo>
                    <a:lnTo>
                      <a:pt x="147" y="285"/>
                    </a:lnTo>
                    <a:lnTo>
                      <a:pt x="132" y="266"/>
                    </a:lnTo>
                    <a:lnTo>
                      <a:pt x="116" y="252"/>
                    </a:lnTo>
                    <a:lnTo>
                      <a:pt x="101" y="241"/>
                    </a:lnTo>
                    <a:lnTo>
                      <a:pt x="87" y="232"/>
                    </a:lnTo>
                    <a:lnTo>
                      <a:pt x="76" y="227"/>
                    </a:lnTo>
                    <a:lnTo>
                      <a:pt x="67" y="223"/>
                    </a:lnTo>
                    <a:lnTo>
                      <a:pt x="64" y="222"/>
                    </a:lnTo>
                    <a:lnTo>
                      <a:pt x="80" y="167"/>
                    </a:lnTo>
                    <a:lnTo>
                      <a:pt x="85" y="168"/>
                    </a:lnTo>
                    <a:lnTo>
                      <a:pt x="94" y="172"/>
                    </a:lnTo>
                    <a:lnTo>
                      <a:pt x="108" y="178"/>
                    </a:lnTo>
                    <a:lnTo>
                      <a:pt x="124" y="188"/>
                    </a:lnTo>
                    <a:lnTo>
                      <a:pt x="144" y="201"/>
                    </a:lnTo>
                    <a:lnTo>
                      <a:pt x="163" y="217"/>
                    </a:lnTo>
                    <a:lnTo>
                      <a:pt x="183" y="238"/>
                    </a:lnTo>
                    <a:lnTo>
                      <a:pt x="196" y="216"/>
                    </a:lnTo>
                    <a:lnTo>
                      <a:pt x="211" y="191"/>
                    </a:lnTo>
                    <a:lnTo>
                      <a:pt x="228" y="164"/>
                    </a:lnTo>
                    <a:lnTo>
                      <a:pt x="246" y="136"/>
                    </a:lnTo>
                    <a:lnTo>
                      <a:pt x="267" y="108"/>
                    </a:lnTo>
                    <a:lnTo>
                      <a:pt x="288" y="80"/>
                    </a:lnTo>
                    <a:lnTo>
                      <a:pt x="285" y="80"/>
                    </a:lnTo>
                    <a:lnTo>
                      <a:pt x="281" y="79"/>
                    </a:lnTo>
                    <a:lnTo>
                      <a:pt x="125" y="79"/>
                    </a:lnTo>
                    <a:close/>
                    <a:moveTo>
                      <a:pt x="375" y="0"/>
                    </a:moveTo>
                    <a:lnTo>
                      <a:pt x="406" y="49"/>
                    </a:lnTo>
                    <a:lnTo>
                      <a:pt x="379" y="69"/>
                    </a:lnTo>
                    <a:lnTo>
                      <a:pt x="394" y="91"/>
                    </a:lnTo>
                    <a:lnTo>
                      <a:pt x="402" y="117"/>
                    </a:lnTo>
                    <a:lnTo>
                      <a:pt x="406" y="145"/>
                    </a:lnTo>
                    <a:lnTo>
                      <a:pt x="406" y="262"/>
                    </a:lnTo>
                    <a:lnTo>
                      <a:pt x="402" y="290"/>
                    </a:lnTo>
                    <a:lnTo>
                      <a:pt x="394" y="316"/>
                    </a:lnTo>
                    <a:lnTo>
                      <a:pt x="379" y="338"/>
                    </a:lnTo>
                    <a:lnTo>
                      <a:pt x="359" y="358"/>
                    </a:lnTo>
                    <a:lnTo>
                      <a:pt x="336" y="372"/>
                    </a:lnTo>
                    <a:lnTo>
                      <a:pt x="310" y="382"/>
                    </a:lnTo>
                    <a:lnTo>
                      <a:pt x="281" y="385"/>
                    </a:lnTo>
                    <a:lnTo>
                      <a:pt x="125" y="385"/>
                    </a:lnTo>
                    <a:lnTo>
                      <a:pt x="97" y="382"/>
                    </a:lnTo>
                    <a:lnTo>
                      <a:pt x="71" y="372"/>
                    </a:lnTo>
                    <a:lnTo>
                      <a:pt x="48" y="358"/>
                    </a:lnTo>
                    <a:lnTo>
                      <a:pt x="29" y="338"/>
                    </a:lnTo>
                    <a:lnTo>
                      <a:pt x="13" y="316"/>
                    </a:lnTo>
                    <a:lnTo>
                      <a:pt x="4" y="290"/>
                    </a:lnTo>
                    <a:lnTo>
                      <a:pt x="0" y="262"/>
                    </a:lnTo>
                    <a:lnTo>
                      <a:pt x="0" y="145"/>
                    </a:lnTo>
                    <a:lnTo>
                      <a:pt x="4" y="117"/>
                    </a:lnTo>
                    <a:lnTo>
                      <a:pt x="13" y="91"/>
                    </a:lnTo>
                    <a:lnTo>
                      <a:pt x="29" y="68"/>
                    </a:lnTo>
                    <a:lnTo>
                      <a:pt x="48" y="49"/>
                    </a:lnTo>
                    <a:lnTo>
                      <a:pt x="71" y="35"/>
                    </a:lnTo>
                    <a:lnTo>
                      <a:pt x="97" y="25"/>
                    </a:lnTo>
                    <a:lnTo>
                      <a:pt x="125" y="22"/>
                    </a:lnTo>
                    <a:lnTo>
                      <a:pt x="281" y="22"/>
                    </a:lnTo>
                    <a:lnTo>
                      <a:pt x="308" y="25"/>
                    </a:lnTo>
                    <a:lnTo>
                      <a:pt x="332" y="33"/>
                    </a:lnTo>
                    <a:lnTo>
                      <a:pt x="354"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47" name="Freeform 301"/>
              <p:cNvSpPr>
                <a:spLocks noEditPoints="1"/>
              </p:cNvSpPr>
              <p:nvPr/>
            </p:nvSpPr>
            <p:spPr bwMode="auto">
              <a:xfrm>
                <a:off x="-1176949" y="5644671"/>
                <a:ext cx="63500" cy="58737"/>
              </a:xfrm>
              <a:custGeom>
                <a:avLst/>
                <a:gdLst>
                  <a:gd name="T0" fmla="*/ 323 w 406"/>
                  <a:gd name="T1" fmla="*/ 130 h 377"/>
                  <a:gd name="T2" fmla="*/ 287 w 406"/>
                  <a:gd name="T3" fmla="*/ 179 h 377"/>
                  <a:gd name="T4" fmla="*/ 257 w 406"/>
                  <a:gd name="T5" fmla="*/ 226 h 377"/>
                  <a:gd name="T6" fmla="*/ 233 w 406"/>
                  <a:gd name="T7" fmla="*/ 267 h 377"/>
                  <a:gd name="T8" fmla="*/ 217 w 406"/>
                  <a:gd name="T9" fmla="*/ 296 h 377"/>
                  <a:gd name="T10" fmla="*/ 212 w 406"/>
                  <a:gd name="T11" fmla="*/ 308 h 377"/>
                  <a:gd name="T12" fmla="*/ 281 w 406"/>
                  <a:gd name="T13" fmla="*/ 319 h 377"/>
                  <a:gd name="T14" fmla="*/ 315 w 406"/>
                  <a:gd name="T15" fmla="*/ 310 h 377"/>
                  <a:gd name="T16" fmla="*/ 339 w 406"/>
                  <a:gd name="T17" fmla="*/ 287 h 377"/>
                  <a:gd name="T18" fmla="*/ 349 w 406"/>
                  <a:gd name="T19" fmla="*/ 254 h 377"/>
                  <a:gd name="T20" fmla="*/ 349 w 406"/>
                  <a:gd name="T21" fmla="*/ 137 h 377"/>
                  <a:gd name="T22" fmla="*/ 341 w 406"/>
                  <a:gd name="T23" fmla="*/ 108 h 377"/>
                  <a:gd name="T24" fmla="*/ 108 w 406"/>
                  <a:gd name="T25" fmla="*/ 74 h 377"/>
                  <a:gd name="T26" fmla="*/ 78 w 406"/>
                  <a:gd name="T27" fmla="*/ 90 h 377"/>
                  <a:gd name="T28" fmla="*/ 61 w 406"/>
                  <a:gd name="T29" fmla="*/ 120 h 377"/>
                  <a:gd name="T30" fmla="*/ 59 w 406"/>
                  <a:gd name="T31" fmla="*/ 254 h 377"/>
                  <a:gd name="T32" fmla="*/ 67 w 406"/>
                  <a:gd name="T33" fmla="*/ 287 h 377"/>
                  <a:gd name="T34" fmla="*/ 92 w 406"/>
                  <a:gd name="T35" fmla="*/ 310 h 377"/>
                  <a:gd name="T36" fmla="*/ 125 w 406"/>
                  <a:gd name="T37" fmla="*/ 320 h 377"/>
                  <a:gd name="T38" fmla="*/ 160 w 406"/>
                  <a:gd name="T39" fmla="*/ 308 h 377"/>
                  <a:gd name="T40" fmla="*/ 132 w 406"/>
                  <a:gd name="T41" fmla="*/ 267 h 377"/>
                  <a:gd name="T42" fmla="*/ 101 w 406"/>
                  <a:gd name="T43" fmla="*/ 241 h 377"/>
                  <a:gd name="T44" fmla="*/ 76 w 406"/>
                  <a:gd name="T45" fmla="*/ 227 h 377"/>
                  <a:gd name="T46" fmla="*/ 64 w 406"/>
                  <a:gd name="T47" fmla="*/ 222 h 377"/>
                  <a:gd name="T48" fmla="*/ 85 w 406"/>
                  <a:gd name="T49" fmla="*/ 169 h 377"/>
                  <a:gd name="T50" fmla="*/ 108 w 406"/>
                  <a:gd name="T51" fmla="*/ 179 h 377"/>
                  <a:gd name="T52" fmla="*/ 144 w 406"/>
                  <a:gd name="T53" fmla="*/ 201 h 377"/>
                  <a:gd name="T54" fmla="*/ 183 w 406"/>
                  <a:gd name="T55" fmla="*/ 238 h 377"/>
                  <a:gd name="T56" fmla="*/ 212 w 406"/>
                  <a:gd name="T57" fmla="*/ 188 h 377"/>
                  <a:gd name="T58" fmla="*/ 250 w 406"/>
                  <a:gd name="T59" fmla="*/ 131 h 377"/>
                  <a:gd name="T60" fmla="*/ 295 w 406"/>
                  <a:gd name="T61" fmla="*/ 73 h 377"/>
                  <a:gd name="T62" fmla="*/ 281 w 406"/>
                  <a:gd name="T63" fmla="*/ 72 h 377"/>
                  <a:gd name="T64" fmla="*/ 375 w 406"/>
                  <a:gd name="T65" fmla="*/ 0 h 377"/>
                  <a:gd name="T66" fmla="*/ 383 w 406"/>
                  <a:gd name="T67" fmla="*/ 66 h 377"/>
                  <a:gd name="T68" fmla="*/ 403 w 406"/>
                  <a:gd name="T69" fmla="*/ 111 h 377"/>
                  <a:gd name="T70" fmla="*/ 406 w 406"/>
                  <a:gd name="T71" fmla="*/ 254 h 377"/>
                  <a:gd name="T72" fmla="*/ 394 w 406"/>
                  <a:gd name="T73" fmla="*/ 308 h 377"/>
                  <a:gd name="T74" fmla="*/ 359 w 406"/>
                  <a:gd name="T75" fmla="*/ 350 h 377"/>
                  <a:gd name="T76" fmla="*/ 310 w 406"/>
                  <a:gd name="T77" fmla="*/ 373 h 377"/>
                  <a:gd name="T78" fmla="*/ 125 w 406"/>
                  <a:gd name="T79" fmla="*/ 377 h 377"/>
                  <a:gd name="T80" fmla="*/ 71 w 406"/>
                  <a:gd name="T81" fmla="*/ 364 h 377"/>
                  <a:gd name="T82" fmla="*/ 29 w 406"/>
                  <a:gd name="T83" fmla="*/ 330 h 377"/>
                  <a:gd name="T84" fmla="*/ 4 w 406"/>
                  <a:gd name="T85" fmla="*/ 282 h 377"/>
                  <a:gd name="T86" fmla="*/ 0 w 406"/>
                  <a:gd name="T87" fmla="*/ 137 h 377"/>
                  <a:gd name="T88" fmla="*/ 13 w 406"/>
                  <a:gd name="T89" fmla="*/ 83 h 377"/>
                  <a:gd name="T90" fmla="*/ 48 w 406"/>
                  <a:gd name="T91" fmla="*/ 41 h 377"/>
                  <a:gd name="T92" fmla="*/ 97 w 406"/>
                  <a:gd name="T93" fmla="*/ 17 h 377"/>
                  <a:gd name="T94" fmla="*/ 281 w 406"/>
                  <a:gd name="T95" fmla="*/ 14 h 377"/>
                  <a:gd name="T96" fmla="*/ 321 w 406"/>
                  <a:gd name="T97" fmla="*/ 21 h 377"/>
                  <a:gd name="T98" fmla="*/ 357 w 406"/>
                  <a:gd name="T99" fmla="*/ 1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377">
                    <a:moveTo>
                      <a:pt x="341" y="108"/>
                    </a:moveTo>
                    <a:lnTo>
                      <a:pt x="323" y="130"/>
                    </a:lnTo>
                    <a:lnTo>
                      <a:pt x="304" y="155"/>
                    </a:lnTo>
                    <a:lnTo>
                      <a:pt x="287" y="179"/>
                    </a:lnTo>
                    <a:lnTo>
                      <a:pt x="271" y="203"/>
                    </a:lnTo>
                    <a:lnTo>
                      <a:pt x="257" y="226"/>
                    </a:lnTo>
                    <a:lnTo>
                      <a:pt x="244" y="248"/>
                    </a:lnTo>
                    <a:lnTo>
                      <a:pt x="233" y="267"/>
                    </a:lnTo>
                    <a:lnTo>
                      <a:pt x="225" y="283"/>
                    </a:lnTo>
                    <a:lnTo>
                      <a:pt x="217" y="296"/>
                    </a:lnTo>
                    <a:lnTo>
                      <a:pt x="213" y="305"/>
                    </a:lnTo>
                    <a:lnTo>
                      <a:pt x="212" y="308"/>
                    </a:lnTo>
                    <a:lnTo>
                      <a:pt x="206" y="319"/>
                    </a:lnTo>
                    <a:lnTo>
                      <a:pt x="281" y="319"/>
                    </a:lnTo>
                    <a:lnTo>
                      <a:pt x="299" y="316"/>
                    </a:lnTo>
                    <a:lnTo>
                      <a:pt x="315" y="310"/>
                    </a:lnTo>
                    <a:lnTo>
                      <a:pt x="328" y="300"/>
                    </a:lnTo>
                    <a:lnTo>
                      <a:pt x="339" y="287"/>
                    </a:lnTo>
                    <a:lnTo>
                      <a:pt x="346" y="271"/>
                    </a:lnTo>
                    <a:lnTo>
                      <a:pt x="349" y="254"/>
                    </a:lnTo>
                    <a:lnTo>
                      <a:pt x="349" y="254"/>
                    </a:lnTo>
                    <a:lnTo>
                      <a:pt x="349" y="137"/>
                    </a:lnTo>
                    <a:lnTo>
                      <a:pt x="346" y="122"/>
                    </a:lnTo>
                    <a:lnTo>
                      <a:pt x="341" y="108"/>
                    </a:lnTo>
                    <a:close/>
                    <a:moveTo>
                      <a:pt x="125" y="72"/>
                    </a:moveTo>
                    <a:lnTo>
                      <a:pt x="108" y="74"/>
                    </a:lnTo>
                    <a:lnTo>
                      <a:pt x="92" y="81"/>
                    </a:lnTo>
                    <a:lnTo>
                      <a:pt x="78" y="90"/>
                    </a:lnTo>
                    <a:lnTo>
                      <a:pt x="67" y="103"/>
                    </a:lnTo>
                    <a:lnTo>
                      <a:pt x="61" y="120"/>
                    </a:lnTo>
                    <a:lnTo>
                      <a:pt x="59" y="137"/>
                    </a:lnTo>
                    <a:lnTo>
                      <a:pt x="59" y="254"/>
                    </a:lnTo>
                    <a:lnTo>
                      <a:pt x="61" y="271"/>
                    </a:lnTo>
                    <a:lnTo>
                      <a:pt x="67" y="287"/>
                    </a:lnTo>
                    <a:lnTo>
                      <a:pt x="78" y="300"/>
                    </a:lnTo>
                    <a:lnTo>
                      <a:pt x="92" y="310"/>
                    </a:lnTo>
                    <a:lnTo>
                      <a:pt x="108" y="316"/>
                    </a:lnTo>
                    <a:lnTo>
                      <a:pt x="125" y="320"/>
                    </a:lnTo>
                    <a:lnTo>
                      <a:pt x="165" y="320"/>
                    </a:lnTo>
                    <a:lnTo>
                      <a:pt x="160" y="308"/>
                    </a:lnTo>
                    <a:lnTo>
                      <a:pt x="147" y="285"/>
                    </a:lnTo>
                    <a:lnTo>
                      <a:pt x="132" y="267"/>
                    </a:lnTo>
                    <a:lnTo>
                      <a:pt x="116" y="252"/>
                    </a:lnTo>
                    <a:lnTo>
                      <a:pt x="101" y="241"/>
                    </a:lnTo>
                    <a:lnTo>
                      <a:pt x="87" y="233"/>
                    </a:lnTo>
                    <a:lnTo>
                      <a:pt x="76" y="227"/>
                    </a:lnTo>
                    <a:lnTo>
                      <a:pt x="67" y="224"/>
                    </a:lnTo>
                    <a:lnTo>
                      <a:pt x="64" y="222"/>
                    </a:lnTo>
                    <a:lnTo>
                      <a:pt x="80" y="167"/>
                    </a:lnTo>
                    <a:lnTo>
                      <a:pt x="85" y="169"/>
                    </a:lnTo>
                    <a:lnTo>
                      <a:pt x="94" y="172"/>
                    </a:lnTo>
                    <a:lnTo>
                      <a:pt x="108" y="179"/>
                    </a:lnTo>
                    <a:lnTo>
                      <a:pt x="124" y="188"/>
                    </a:lnTo>
                    <a:lnTo>
                      <a:pt x="144" y="201"/>
                    </a:lnTo>
                    <a:lnTo>
                      <a:pt x="163" y="217"/>
                    </a:lnTo>
                    <a:lnTo>
                      <a:pt x="183" y="238"/>
                    </a:lnTo>
                    <a:lnTo>
                      <a:pt x="197" y="215"/>
                    </a:lnTo>
                    <a:lnTo>
                      <a:pt x="212" y="188"/>
                    </a:lnTo>
                    <a:lnTo>
                      <a:pt x="230" y="160"/>
                    </a:lnTo>
                    <a:lnTo>
                      <a:pt x="250" y="131"/>
                    </a:lnTo>
                    <a:lnTo>
                      <a:pt x="272" y="102"/>
                    </a:lnTo>
                    <a:lnTo>
                      <a:pt x="295" y="73"/>
                    </a:lnTo>
                    <a:lnTo>
                      <a:pt x="288" y="72"/>
                    </a:lnTo>
                    <a:lnTo>
                      <a:pt x="281" y="72"/>
                    </a:lnTo>
                    <a:lnTo>
                      <a:pt x="125" y="72"/>
                    </a:lnTo>
                    <a:close/>
                    <a:moveTo>
                      <a:pt x="375" y="0"/>
                    </a:moveTo>
                    <a:lnTo>
                      <a:pt x="406" y="50"/>
                    </a:lnTo>
                    <a:lnTo>
                      <a:pt x="383" y="66"/>
                    </a:lnTo>
                    <a:lnTo>
                      <a:pt x="395" y="87"/>
                    </a:lnTo>
                    <a:lnTo>
                      <a:pt x="403" y="111"/>
                    </a:lnTo>
                    <a:lnTo>
                      <a:pt x="406" y="137"/>
                    </a:lnTo>
                    <a:lnTo>
                      <a:pt x="406" y="254"/>
                    </a:lnTo>
                    <a:lnTo>
                      <a:pt x="402" y="282"/>
                    </a:lnTo>
                    <a:lnTo>
                      <a:pt x="394" y="308"/>
                    </a:lnTo>
                    <a:lnTo>
                      <a:pt x="379" y="330"/>
                    </a:lnTo>
                    <a:lnTo>
                      <a:pt x="359" y="350"/>
                    </a:lnTo>
                    <a:lnTo>
                      <a:pt x="336" y="364"/>
                    </a:lnTo>
                    <a:lnTo>
                      <a:pt x="310" y="373"/>
                    </a:lnTo>
                    <a:lnTo>
                      <a:pt x="281" y="377"/>
                    </a:lnTo>
                    <a:lnTo>
                      <a:pt x="125" y="377"/>
                    </a:lnTo>
                    <a:lnTo>
                      <a:pt x="97" y="373"/>
                    </a:lnTo>
                    <a:lnTo>
                      <a:pt x="71" y="364"/>
                    </a:lnTo>
                    <a:lnTo>
                      <a:pt x="48" y="350"/>
                    </a:lnTo>
                    <a:lnTo>
                      <a:pt x="29" y="330"/>
                    </a:lnTo>
                    <a:lnTo>
                      <a:pt x="13" y="308"/>
                    </a:lnTo>
                    <a:lnTo>
                      <a:pt x="4" y="282"/>
                    </a:lnTo>
                    <a:lnTo>
                      <a:pt x="0" y="254"/>
                    </a:lnTo>
                    <a:lnTo>
                      <a:pt x="0" y="137"/>
                    </a:lnTo>
                    <a:lnTo>
                      <a:pt x="4" y="109"/>
                    </a:lnTo>
                    <a:lnTo>
                      <a:pt x="13" y="83"/>
                    </a:lnTo>
                    <a:lnTo>
                      <a:pt x="29" y="60"/>
                    </a:lnTo>
                    <a:lnTo>
                      <a:pt x="48" y="41"/>
                    </a:lnTo>
                    <a:lnTo>
                      <a:pt x="71" y="27"/>
                    </a:lnTo>
                    <a:lnTo>
                      <a:pt x="97" y="17"/>
                    </a:lnTo>
                    <a:lnTo>
                      <a:pt x="125" y="14"/>
                    </a:lnTo>
                    <a:lnTo>
                      <a:pt x="281" y="14"/>
                    </a:lnTo>
                    <a:lnTo>
                      <a:pt x="301" y="16"/>
                    </a:lnTo>
                    <a:lnTo>
                      <a:pt x="321" y="21"/>
                    </a:lnTo>
                    <a:lnTo>
                      <a:pt x="339" y="28"/>
                    </a:lnTo>
                    <a:lnTo>
                      <a:pt x="357" y="13"/>
                    </a:lnTo>
                    <a:lnTo>
                      <a:pt x="375" y="0"/>
                    </a:lnTo>
                    <a:close/>
                  </a:path>
                </a:pathLst>
              </a:custGeom>
              <a:solidFill>
                <a:schemeClr val="tx1"/>
              </a:solidFill>
              <a:ln w="3175">
                <a:noFill/>
                <a:prstDash val="solid"/>
                <a:round/>
                <a:headEnd/>
                <a:tailEnd/>
              </a:ln>
            </p:spPr>
            <p:txBody>
              <a:bodyPr/>
              <a:lstStyle/>
              <a:p>
                <a:endParaRPr lang="de-DE" sz="800" b="0" dirty="0"/>
              </a:p>
            </p:txBody>
          </p:sp>
          <p:sp>
            <p:nvSpPr>
              <p:cNvPr id="48" name="Freeform 302"/>
              <p:cNvSpPr>
                <a:spLocks noEditPoints="1"/>
              </p:cNvSpPr>
              <p:nvPr/>
            </p:nvSpPr>
            <p:spPr bwMode="auto">
              <a:xfrm>
                <a:off x="-1176949" y="5712933"/>
                <a:ext cx="63500" cy="60325"/>
              </a:xfrm>
              <a:custGeom>
                <a:avLst/>
                <a:gdLst>
                  <a:gd name="T0" fmla="*/ 318 w 406"/>
                  <a:gd name="T1" fmla="*/ 136 h 390"/>
                  <a:gd name="T2" fmla="*/ 284 w 406"/>
                  <a:gd name="T3" fmla="*/ 183 h 390"/>
                  <a:gd name="T4" fmla="*/ 255 w 406"/>
                  <a:gd name="T5" fmla="*/ 230 h 390"/>
                  <a:gd name="T6" fmla="*/ 232 w 406"/>
                  <a:gd name="T7" fmla="*/ 268 h 390"/>
                  <a:gd name="T8" fmla="*/ 217 w 406"/>
                  <a:gd name="T9" fmla="*/ 296 h 390"/>
                  <a:gd name="T10" fmla="*/ 212 w 406"/>
                  <a:gd name="T11" fmla="*/ 307 h 390"/>
                  <a:gd name="T12" fmla="*/ 281 w 406"/>
                  <a:gd name="T13" fmla="*/ 332 h 390"/>
                  <a:gd name="T14" fmla="*/ 315 w 406"/>
                  <a:gd name="T15" fmla="*/ 323 h 390"/>
                  <a:gd name="T16" fmla="*/ 339 w 406"/>
                  <a:gd name="T17" fmla="*/ 299 h 390"/>
                  <a:gd name="T18" fmla="*/ 349 w 406"/>
                  <a:gd name="T19" fmla="*/ 267 h 390"/>
                  <a:gd name="T20" fmla="*/ 345 w 406"/>
                  <a:gd name="T21" fmla="*/ 129 h 390"/>
                  <a:gd name="T22" fmla="*/ 125 w 406"/>
                  <a:gd name="T23" fmla="*/ 84 h 390"/>
                  <a:gd name="T24" fmla="*/ 92 w 406"/>
                  <a:gd name="T25" fmla="*/ 94 h 390"/>
                  <a:gd name="T26" fmla="*/ 67 w 406"/>
                  <a:gd name="T27" fmla="*/ 117 h 390"/>
                  <a:gd name="T28" fmla="*/ 59 w 406"/>
                  <a:gd name="T29" fmla="*/ 149 h 390"/>
                  <a:gd name="T30" fmla="*/ 61 w 406"/>
                  <a:gd name="T31" fmla="*/ 284 h 390"/>
                  <a:gd name="T32" fmla="*/ 78 w 406"/>
                  <a:gd name="T33" fmla="*/ 313 h 390"/>
                  <a:gd name="T34" fmla="*/ 108 w 406"/>
                  <a:gd name="T35" fmla="*/ 330 h 390"/>
                  <a:gd name="T36" fmla="*/ 172 w 406"/>
                  <a:gd name="T37" fmla="*/ 332 h 390"/>
                  <a:gd name="T38" fmla="*/ 147 w 406"/>
                  <a:gd name="T39" fmla="*/ 285 h 390"/>
                  <a:gd name="T40" fmla="*/ 116 w 406"/>
                  <a:gd name="T41" fmla="*/ 252 h 390"/>
                  <a:gd name="T42" fmla="*/ 87 w 406"/>
                  <a:gd name="T43" fmla="*/ 233 h 390"/>
                  <a:gd name="T44" fmla="*/ 67 w 406"/>
                  <a:gd name="T45" fmla="*/ 223 h 390"/>
                  <a:gd name="T46" fmla="*/ 80 w 406"/>
                  <a:gd name="T47" fmla="*/ 167 h 390"/>
                  <a:gd name="T48" fmla="*/ 94 w 406"/>
                  <a:gd name="T49" fmla="*/ 172 h 390"/>
                  <a:gd name="T50" fmla="*/ 124 w 406"/>
                  <a:gd name="T51" fmla="*/ 188 h 390"/>
                  <a:gd name="T52" fmla="*/ 163 w 406"/>
                  <a:gd name="T53" fmla="*/ 218 h 390"/>
                  <a:gd name="T54" fmla="*/ 198 w 406"/>
                  <a:gd name="T55" fmla="*/ 212 h 390"/>
                  <a:gd name="T56" fmla="*/ 236 w 406"/>
                  <a:gd name="T57" fmla="*/ 150 h 390"/>
                  <a:gd name="T58" fmla="*/ 285 w 406"/>
                  <a:gd name="T59" fmla="*/ 85 h 390"/>
                  <a:gd name="T60" fmla="*/ 281 w 406"/>
                  <a:gd name="T61" fmla="*/ 84 h 390"/>
                  <a:gd name="T62" fmla="*/ 375 w 406"/>
                  <a:gd name="T63" fmla="*/ 0 h 390"/>
                  <a:gd name="T64" fmla="*/ 377 w 406"/>
                  <a:gd name="T65" fmla="*/ 71 h 390"/>
                  <a:gd name="T66" fmla="*/ 398 w 406"/>
                  <a:gd name="T67" fmla="*/ 107 h 390"/>
                  <a:gd name="T68" fmla="*/ 406 w 406"/>
                  <a:gd name="T69" fmla="*/ 149 h 390"/>
                  <a:gd name="T70" fmla="*/ 402 w 406"/>
                  <a:gd name="T71" fmla="*/ 295 h 390"/>
                  <a:gd name="T72" fmla="*/ 379 w 406"/>
                  <a:gd name="T73" fmla="*/ 344 h 390"/>
                  <a:gd name="T74" fmla="*/ 336 w 406"/>
                  <a:gd name="T75" fmla="*/ 377 h 390"/>
                  <a:gd name="T76" fmla="*/ 281 w 406"/>
                  <a:gd name="T77" fmla="*/ 390 h 390"/>
                  <a:gd name="T78" fmla="*/ 97 w 406"/>
                  <a:gd name="T79" fmla="*/ 387 h 390"/>
                  <a:gd name="T80" fmla="*/ 48 w 406"/>
                  <a:gd name="T81" fmla="*/ 363 h 390"/>
                  <a:gd name="T82" fmla="*/ 13 w 406"/>
                  <a:gd name="T83" fmla="*/ 321 h 390"/>
                  <a:gd name="T84" fmla="*/ 0 w 406"/>
                  <a:gd name="T85" fmla="*/ 267 h 390"/>
                  <a:gd name="T86" fmla="*/ 4 w 406"/>
                  <a:gd name="T87" fmla="*/ 121 h 390"/>
                  <a:gd name="T88" fmla="*/ 29 w 406"/>
                  <a:gd name="T89" fmla="*/ 72 h 390"/>
                  <a:gd name="T90" fmla="*/ 71 w 406"/>
                  <a:gd name="T91" fmla="*/ 40 h 390"/>
                  <a:gd name="T92" fmla="*/ 125 w 406"/>
                  <a:gd name="T93" fmla="*/ 27 h 390"/>
                  <a:gd name="T94" fmla="*/ 307 w 406"/>
                  <a:gd name="T95" fmla="*/ 29 h 390"/>
                  <a:gd name="T96" fmla="*/ 352 w 406"/>
                  <a:gd name="T97" fmla="*/ 1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0">
                    <a:moveTo>
                      <a:pt x="337" y="113"/>
                    </a:moveTo>
                    <a:lnTo>
                      <a:pt x="318" y="136"/>
                    </a:lnTo>
                    <a:lnTo>
                      <a:pt x="301" y="160"/>
                    </a:lnTo>
                    <a:lnTo>
                      <a:pt x="284" y="183"/>
                    </a:lnTo>
                    <a:lnTo>
                      <a:pt x="269" y="207"/>
                    </a:lnTo>
                    <a:lnTo>
                      <a:pt x="255" y="230"/>
                    </a:lnTo>
                    <a:lnTo>
                      <a:pt x="243" y="250"/>
                    </a:lnTo>
                    <a:lnTo>
                      <a:pt x="232" y="268"/>
                    </a:lnTo>
                    <a:lnTo>
                      <a:pt x="224" y="284"/>
                    </a:lnTo>
                    <a:lnTo>
                      <a:pt x="217" y="296"/>
                    </a:lnTo>
                    <a:lnTo>
                      <a:pt x="213" y="305"/>
                    </a:lnTo>
                    <a:lnTo>
                      <a:pt x="212" y="307"/>
                    </a:lnTo>
                    <a:lnTo>
                      <a:pt x="200" y="332"/>
                    </a:lnTo>
                    <a:lnTo>
                      <a:pt x="281" y="332"/>
                    </a:lnTo>
                    <a:lnTo>
                      <a:pt x="299" y="330"/>
                    </a:lnTo>
                    <a:lnTo>
                      <a:pt x="315" y="323"/>
                    </a:lnTo>
                    <a:lnTo>
                      <a:pt x="328" y="313"/>
                    </a:lnTo>
                    <a:lnTo>
                      <a:pt x="339" y="299"/>
                    </a:lnTo>
                    <a:lnTo>
                      <a:pt x="346" y="284"/>
                    </a:lnTo>
                    <a:lnTo>
                      <a:pt x="349" y="267"/>
                    </a:lnTo>
                    <a:lnTo>
                      <a:pt x="349" y="149"/>
                    </a:lnTo>
                    <a:lnTo>
                      <a:pt x="345" y="129"/>
                    </a:lnTo>
                    <a:lnTo>
                      <a:pt x="337" y="113"/>
                    </a:lnTo>
                    <a:close/>
                    <a:moveTo>
                      <a:pt x="125" y="84"/>
                    </a:moveTo>
                    <a:lnTo>
                      <a:pt x="108" y="87"/>
                    </a:lnTo>
                    <a:lnTo>
                      <a:pt x="92" y="94"/>
                    </a:lnTo>
                    <a:lnTo>
                      <a:pt x="78" y="104"/>
                    </a:lnTo>
                    <a:lnTo>
                      <a:pt x="67" y="117"/>
                    </a:lnTo>
                    <a:lnTo>
                      <a:pt x="61" y="132"/>
                    </a:lnTo>
                    <a:lnTo>
                      <a:pt x="59" y="149"/>
                    </a:lnTo>
                    <a:lnTo>
                      <a:pt x="59" y="267"/>
                    </a:lnTo>
                    <a:lnTo>
                      <a:pt x="61" y="284"/>
                    </a:lnTo>
                    <a:lnTo>
                      <a:pt x="67" y="299"/>
                    </a:lnTo>
                    <a:lnTo>
                      <a:pt x="78" y="313"/>
                    </a:lnTo>
                    <a:lnTo>
                      <a:pt x="92" y="323"/>
                    </a:lnTo>
                    <a:lnTo>
                      <a:pt x="108" y="330"/>
                    </a:lnTo>
                    <a:lnTo>
                      <a:pt x="125" y="332"/>
                    </a:lnTo>
                    <a:lnTo>
                      <a:pt x="172" y="332"/>
                    </a:lnTo>
                    <a:lnTo>
                      <a:pt x="160" y="308"/>
                    </a:lnTo>
                    <a:lnTo>
                      <a:pt x="147" y="285"/>
                    </a:lnTo>
                    <a:lnTo>
                      <a:pt x="132" y="267"/>
                    </a:lnTo>
                    <a:lnTo>
                      <a:pt x="116" y="252"/>
                    </a:lnTo>
                    <a:lnTo>
                      <a:pt x="101" y="240"/>
                    </a:lnTo>
                    <a:lnTo>
                      <a:pt x="87" y="233"/>
                    </a:lnTo>
                    <a:lnTo>
                      <a:pt x="76" y="226"/>
                    </a:lnTo>
                    <a:lnTo>
                      <a:pt x="67" y="223"/>
                    </a:lnTo>
                    <a:lnTo>
                      <a:pt x="64" y="222"/>
                    </a:lnTo>
                    <a:lnTo>
                      <a:pt x="80" y="167"/>
                    </a:lnTo>
                    <a:lnTo>
                      <a:pt x="85" y="168"/>
                    </a:lnTo>
                    <a:lnTo>
                      <a:pt x="94" y="172"/>
                    </a:lnTo>
                    <a:lnTo>
                      <a:pt x="108" y="179"/>
                    </a:lnTo>
                    <a:lnTo>
                      <a:pt x="124" y="188"/>
                    </a:lnTo>
                    <a:lnTo>
                      <a:pt x="144" y="200"/>
                    </a:lnTo>
                    <a:lnTo>
                      <a:pt x="163" y="218"/>
                    </a:lnTo>
                    <a:lnTo>
                      <a:pt x="183" y="238"/>
                    </a:lnTo>
                    <a:lnTo>
                      <a:pt x="198" y="212"/>
                    </a:lnTo>
                    <a:lnTo>
                      <a:pt x="216" y="182"/>
                    </a:lnTo>
                    <a:lnTo>
                      <a:pt x="236" y="150"/>
                    </a:lnTo>
                    <a:lnTo>
                      <a:pt x="260" y="118"/>
                    </a:lnTo>
                    <a:lnTo>
                      <a:pt x="285" y="85"/>
                    </a:lnTo>
                    <a:lnTo>
                      <a:pt x="283" y="85"/>
                    </a:lnTo>
                    <a:lnTo>
                      <a:pt x="281" y="84"/>
                    </a:lnTo>
                    <a:lnTo>
                      <a:pt x="125" y="84"/>
                    </a:lnTo>
                    <a:close/>
                    <a:moveTo>
                      <a:pt x="375" y="0"/>
                    </a:moveTo>
                    <a:lnTo>
                      <a:pt x="406" y="49"/>
                    </a:lnTo>
                    <a:lnTo>
                      <a:pt x="377" y="71"/>
                    </a:lnTo>
                    <a:lnTo>
                      <a:pt x="389" y="89"/>
                    </a:lnTo>
                    <a:lnTo>
                      <a:pt x="398" y="107"/>
                    </a:lnTo>
                    <a:lnTo>
                      <a:pt x="405" y="127"/>
                    </a:lnTo>
                    <a:lnTo>
                      <a:pt x="406" y="149"/>
                    </a:lnTo>
                    <a:lnTo>
                      <a:pt x="406" y="267"/>
                    </a:lnTo>
                    <a:lnTo>
                      <a:pt x="402" y="295"/>
                    </a:lnTo>
                    <a:lnTo>
                      <a:pt x="394" y="321"/>
                    </a:lnTo>
                    <a:lnTo>
                      <a:pt x="379" y="344"/>
                    </a:lnTo>
                    <a:lnTo>
                      <a:pt x="359" y="363"/>
                    </a:lnTo>
                    <a:lnTo>
                      <a:pt x="336" y="377"/>
                    </a:lnTo>
                    <a:lnTo>
                      <a:pt x="310" y="387"/>
                    </a:lnTo>
                    <a:lnTo>
                      <a:pt x="281" y="390"/>
                    </a:lnTo>
                    <a:lnTo>
                      <a:pt x="125" y="390"/>
                    </a:lnTo>
                    <a:lnTo>
                      <a:pt x="97" y="387"/>
                    </a:lnTo>
                    <a:lnTo>
                      <a:pt x="71" y="377"/>
                    </a:lnTo>
                    <a:lnTo>
                      <a:pt x="48" y="363"/>
                    </a:lnTo>
                    <a:lnTo>
                      <a:pt x="29" y="344"/>
                    </a:lnTo>
                    <a:lnTo>
                      <a:pt x="13" y="321"/>
                    </a:lnTo>
                    <a:lnTo>
                      <a:pt x="4" y="295"/>
                    </a:lnTo>
                    <a:lnTo>
                      <a:pt x="0" y="267"/>
                    </a:lnTo>
                    <a:lnTo>
                      <a:pt x="0" y="149"/>
                    </a:lnTo>
                    <a:lnTo>
                      <a:pt x="4" y="121"/>
                    </a:lnTo>
                    <a:lnTo>
                      <a:pt x="13" y="96"/>
                    </a:lnTo>
                    <a:lnTo>
                      <a:pt x="29" y="72"/>
                    </a:lnTo>
                    <a:lnTo>
                      <a:pt x="48" y="54"/>
                    </a:lnTo>
                    <a:lnTo>
                      <a:pt x="71" y="40"/>
                    </a:lnTo>
                    <a:lnTo>
                      <a:pt x="97" y="30"/>
                    </a:lnTo>
                    <a:lnTo>
                      <a:pt x="125" y="27"/>
                    </a:lnTo>
                    <a:lnTo>
                      <a:pt x="281" y="27"/>
                    </a:lnTo>
                    <a:lnTo>
                      <a:pt x="307" y="29"/>
                    </a:lnTo>
                    <a:lnTo>
                      <a:pt x="329" y="37"/>
                    </a:lnTo>
                    <a:lnTo>
                      <a:pt x="352"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49" name="Rectangle 303"/>
              <p:cNvSpPr>
                <a:spLocks noChangeArrowheads="1"/>
              </p:cNvSpPr>
              <p:nvPr/>
            </p:nvSpPr>
            <p:spPr bwMode="auto">
              <a:xfrm>
                <a:off x="-1100749" y="5411308"/>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0" name="Rectangle 304"/>
              <p:cNvSpPr>
                <a:spLocks noChangeArrowheads="1"/>
              </p:cNvSpPr>
              <p:nvPr/>
            </p:nvSpPr>
            <p:spPr bwMode="auto">
              <a:xfrm>
                <a:off x="-1100749" y="5479571"/>
                <a:ext cx="160338" cy="12700"/>
              </a:xfrm>
              <a:prstGeom prst="rect">
                <a:avLst/>
              </a:prstGeom>
              <a:solidFill>
                <a:schemeClr val="tx1"/>
              </a:solidFill>
              <a:ln w="3175">
                <a:noFill/>
                <a:prstDash val="solid"/>
                <a:round/>
                <a:headEnd/>
                <a:tailEnd/>
              </a:ln>
            </p:spPr>
            <p:txBody>
              <a:bodyPr/>
              <a:lstStyle/>
              <a:p>
                <a:endParaRPr lang="de-DE" sz="800" b="0" dirty="0"/>
              </a:p>
            </p:txBody>
          </p:sp>
          <p:sp>
            <p:nvSpPr>
              <p:cNvPr id="51" name="Rectangle 305"/>
              <p:cNvSpPr>
                <a:spLocks noChangeArrowheads="1"/>
              </p:cNvSpPr>
              <p:nvPr/>
            </p:nvSpPr>
            <p:spPr bwMode="auto">
              <a:xfrm>
                <a:off x="-1100749" y="5551008"/>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2" name="Rectangle 306"/>
              <p:cNvSpPr>
                <a:spLocks noChangeArrowheads="1"/>
              </p:cNvSpPr>
              <p:nvPr/>
            </p:nvSpPr>
            <p:spPr bwMode="auto">
              <a:xfrm>
                <a:off x="-1100749" y="5624033"/>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3" name="Rectangle 307"/>
              <p:cNvSpPr>
                <a:spLocks noChangeArrowheads="1"/>
              </p:cNvSpPr>
              <p:nvPr/>
            </p:nvSpPr>
            <p:spPr bwMode="auto">
              <a:xfrm>
                <a:off x="-1100749" y="5693883"/>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4" name="Rectangle 308"/>
              <p:cNvSpPr>
                <a:spLocks noChangeArrowheads="1"/>
              </p:cNvSpPr>
              <p:nvPr/>
            </p:nvSpPr>
            <p:spPr bwMode="auto">
              <a:xfrm>
                <a:off x="-1100749" y="5762146"/>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5" name="Freeform 309"/>
              <p:cNvSpPr>
                <a:spLocks noEditPoints="1"/>
              </p:cNvSpPr>
              <p:nvPr/>
            </p:nvSpPr>
            <p:spPr bwMode="auto">
              <a:xfrm>
                <a:off x="-1227749" y="5257321"/>
                <a:ext cx="347663" cy="560387"/>
              </a:xfrm>
              <a:custGeom>
                <a:avLst/>
                <a:gdLst>
                  <a:gd name="T0" fmla="*/ 241 w 2199"/>
                  <a:gd name="T1" fmla="*/ 585 h 3523"/>
                  <a:gd name="T2" fmla="*/ 192 w 2199"/>
                  <a:gd name="T3" fmla="*/ 634 h 3523"/>
                  <a:gd name="T4" fmla="*/ 181 w 2199"/>
                  <a:gd name="T5" fmla="*/ 3266 h 3523"/>
                  <a:gd name="T6" fmla="*/ 205 w 2199"/>
                  <a:gd name="T7" fmla="*/ 3330 h 3523"/>
                  <a:gd name="T8" fmla="*/ 262 w 2199"/>
                  <a:gd name="T9" fmla="*/ 3367 h 3523"/>
                  <a:gd name="T10" fmla="*/ 1945 w 2199"/>
                  <a:gd name="T11" fmla="*/ 3367 h 3523"/>
                  <a:gd name="T12" fmla="*/ 2004 w 2199"/>
                  <a:gd name="T13" fmla="*/ 3330 h 3523"/>
                  <a:gd name="T14" fmla="*/ 2026 w 2199"/>
                  <a:gd name="T15" fmla="*/ 3266 h 3523"/>
                  <a:gd name="T16" fmla="*/ 2015 w 2199"/>
                  <a:gd name="T17" fmla="*/ 634 h 3523"/>
                  <a:gd name="T18" fmla="*/ 1968 w 2199"/>
                  <a:gd name="T19" fmla="*/ 585 h 3523"/>
                  <a:gd name="T20" fmla="*/ 286 w 2199"/>
                  <a:gd name="T21" fmla="*/ 575 h 3523"/>
                  <a:gd name="T22" fmla="*/ 1056 w 2199"/>
                  <a:gd name="T23" fmla="*/ 78 h 3523"/>
                  <a:gd name="T24" fmla="*/ 1029 w 2199"/>
                  <a:gd name="T25" fmla="*/ 131 h 3523"/>
                  <a:gd name="T26" fmla="*/ 1056 w 2199"/>
                  <a:gd name="T27" fmla="*/ 183 h 3523"/>
                  <a:gd name="T28" fmla="*/ 1116 w 2199"/>
                  <a:gd name="T29" fmla="*/ 193 h 3523"/>
                  <a:gd name="T30" fmla="*/ 1157 w 2199"/>
                  <a:gd name="T31" fmla="*/ 152 h 3523"/>
                  <a:gd name="T32" fmla="*/ 1147 w 2199"/>
                  <a:gd name="T33" fmla="*/ 92 h 3523"/>
                  <a:gd name="T34" fmla="*/ 1094 w 2199"/>
                  <a:gd name="T35" fmla="*/ 67 h 3523"/>
                  <a:gd name="T36" fmla="*/ 1124 w 2199"/>
                  <a:gd name="T37" fmla="*/ 1 h 3523"/>
                  <a:gd name="T38" fmla="*/ 1173 w 2199"/>
                  <a:gd name="T39" fmla="*/ 14 h 3523"/>
                  <a:gd name="T40" fmla="*/ 1227 w 2199"/>
                  <a:gd name="T41" fmla="*/ 50 h 3523"/>
                  <a:gd name="T42" fmla="*/ 1269 w 2199"/>
                  <a:gd name="T43" fmla="*/ 123 h 3523"/>
                  <a:gd name="T44" fmla="*/ 1303 w 2199"/>
                  <a:gd name="T45" fmla="*/ 217 h 3523"/>
                  <a:gd name="T46" fmla="*/ 1328 w 2199"/>
                  <a:gd name="T47" fmla="*/ 269 h 3523"/>
                  <a:gd name="T48" fmla="*/ 1353 w 2199"/>
                  <a:gd name="T49" fmla="*/ 296 h 3523"/>
                  <a:gd name="T50" fmla="*/ 1389 w 2199"/>
                  <a:gd name="T51" fmla="*/ 311 h 3523"/>
                  <a:gd name="T52" fmla="*/ 1464 w 2199"/>
                  <a:gd name="T53" fmla="*/ 325 h 3523"/>
                  <a:gd name="T54" fmla="*/ 1556 w 2199"/>
                  <a:gd name="T55" fmla="*/ 341 h 3523"/>
                  <a:gd name="T56" fmla="*/ 1641 w 2199"/>
                  <a:gd name="T57" fmla="*/ 359 h 3523"/>
                  <a:gd name="T58" fmla="*/ 2118 w 2199"/>
                  <a:gd name="T59" fmla="*/ 368 h 3523"/>
                  <a:gd name="T60" fmla="*/ 2176 w 2199"/>
                  <a:gd name="T61" fmla="*/ 405 h 3523"/>
                  <a:gd name="T62" fmla="*/ 2199 w 2199"/>
                  <a:gd name="T63" fmla="*/ 470 h 3523"/>
                  <a:gd name="T64" fmla="*/ 2189 w 2199"/>
                  <a:gd name="T65" fmla="*/ 3465 h 3523"/>
                  <a:gd name="T66" fmla="*/ 2140 w 2199"/>
                  <a:gd name="T67" fmla="*/ 3512 h 3523"/>
                  <a:gd name="T68" fmla="*/ 105 w 2199"/>
                  <a:gd name="T69" fmla="*/ 3523 h 3523"/>
                  <a:gd name="T70" fmla="*/ 39 w 2199"/>
                  <a:gd name="T71" fmla="*/ 3500 h 3523"/>
                  <a:gd name="T72" fmla="*/ 3 w 2199"/>
                  <a:gd name="T73" fmla="*/ 3442 h 3523"/>
                  <a:gd name="T74" fmla="*/ 3 w 2199"/>
                  <a:gd name="T75" fmla="*/ 446 h 3523"/>
                  <a:gd name="T76" fmla="*/ 39 w 2199"/>
                  <a:gd name="T77" fmla="*/ 388 h 3523"/>
                  <a:gd name="T78" fmla="*/ 105 w 2199"/>
                  <a:gd name="T79" fmla="*/ 366 h 3523"/>
                  <a:gd name="T80" fmla="*/ 584 w 2199"/>
                  <a:gd name="T81" fmla="*/ 352 h 3523"/>
                  <a:gd name="T82" fmla="*/ 684 w 2199"/>
                  <a:gd name="T83" fmla="*/ 333 h 3523"/>
                  <a:gd name="T84" fmla="*/ 777 w 2199"/>
                  <a:gd name="T85" fmla="*/ 316 h 3523"/>
                  <a:gd name="T86" fmla="*/ 831 w 2199"/>
                  <a:gd name="T87" fmla="*/ 302 h 3523"/>
                  <a:gd name="T88" fmla="*/ 858 w 2199"/>
                  <a:gd name="T89" fmla="*/ 281 h 3523"/>
                  <a:gd name="T90" fmla="*/ 883 w 2199"/>
                  <a:gd name="T91" fmla="*/ 239 h 3523"/>
                  <a:gd name="T92" fmla="*/ 912 w 2199"/>
                  <a:gd name="T93" fmla="*/ 160 h 3523"/>
                  <a:gd name="T94" fmla="*/ 952 w 2199"/>
                  <a:gd name="T95" fmla="*/ 70 h 3523"/>
                  <a:gd name="T96" fmla="*/ 1005 w 2199"/>
                  <a:gd name="T97" fmla="*/ 23 h 3523"/>
                  <a:gd name="T98" fmla="*/ 1057 w 2199"/>
                  <a:gd name="T99" fmla="*/ 3 h 3523"/>
                  <a:gd name="T100" fmla="*/ 1094 w 2199"/>
                  <a:gd name="T101" fmla="*/ 0 h 3523"/>
                  <a:gd name="T102" fmla="*/ 1102 w 2199"/>
                  <a:gd name="T103" fmla="*/ 0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9" h="3523">
                    <a:moveTo>
                      <a:pt x="286" y="575"/>
                    </a:moveTo>
                    <a:lnTo>
                      <a:pt x="262" y="578"/>
                    </a:lnTo>
                    <a:lnTo>
                      <a:pt x="241" y="585"/>
                    </a:lnTo>
                    <a:lnTo>
                      <a:pt x="221" y="598"/>
                    </a:lnTo>
                    <a:lnTo>
                      <a:pt x="205" y="614"/>
                    </a:lnTo>
                    <a:lnTo>
                      <a:pt x="192" y="634"/>
                    </a:lnTo>
                    <a:lnTo>
                      <a:pt x="185" y="655"/>
                    </a:lnTo>
                    <a:lnTo>
                      <a:pt x="181" y="680"/>
                    </a:lnTo>
                    <a:lnTo>
                      <a:pt x="181" y="3266"/>
                    </a:lnTo>
                    <a:lnTo>
                      <a:pt x="185" y="3290"/>
                    </a:lnTo>
                    <a:lnTo>
                      <a:pt x="192" y="3311"/>
                    </a:lnTo>
                    <a:lnTo>
                      <a:pt x="205" y="3330"/>
                    </a:lnTo>
                    <a:lnTo>
                      <a:pt x="221" y="3347"/>
                    </a:lnTo>
                    <a:lnTo>
                      <a:pt x="241" y="3359"/>
                    </a:lnTo>
                    <a:lnTo>
                      <a:pt x="262" y="3367"/>
                    </a:lnTo>
                    <a:lnTo>
                      <a:pt x="286" y="3370"/>
                    </a:lnTo>
                    <a:lnTo>
                      <a:pt x="1922" y="3370"/>
                    </a:lnTo>
                    <a:lnTo>
                      <a:pt x="1945" y="3367"/>
                    </a:lnTo>
                    <a:lnTo>
                      <a:pt x="1968" y="3359"/>
                    </a:lnTo>
                    <a:lnTo>
                      <a:pt x="1987" y="3347"/>
                    </a:lnTo>
                    <a:lnTo>
                      <a:pt x="2004" y="3330"/>
                    </a:lnTo>
                    <a:lnTo>
                      <a:pt x="2015" y="3311"/>
                    </a:lnTo>
                    <a:lnTo>
                      <a:pt x="2024" y="3290"/>
                    </a:lnTo>
                    <a:lnTo>
                      <a:pt x="2026" y="3266"/>
                    </a:lnTo>
                    <a:lnTo>
                      <a:pt x="2026" y="680"/>
                    </a:lnTo>
                    <a:lnTo>
                      <a:pt x="2024" y="655"/>
                    </a:lnTo>
                    <a:lnTo>
                      <a:pt x="2015" y="634"/>
                    </a:lnTo>
                    <a:lnTo>
                      <a:pt x="2004" y="614"/>
                    </a:lnTo>
                    <a:lnTo>
                      <a:pt x="1987" y="598"/>
                    </a:lnTo>
                    <a:lnTo>
                      <a:pt x="1968" y="585"/>
                    </a:lnTo>
                    <a:lnTo>
                      <a:pt x="1945" y="578"/>
                    </a:lnTo>
                    <a:lnTo>
                      <a:pt x="1922" y="575"/>
                    </a:lnTo>
                    <a:lnTo>
                      <a:pt x="286" y="575"/>
                    </a:lnTo>
                    <a:close/>
                    <a:moveTo>
                      <a:pt x="1094" y="67"/>
                    </a:moveTo>
                    <a:lnTo>
                      <a:pt x="1074" y="70"/>
                    </a:lnTo>
                    <a:lnTo>
                      <a:pt x="1056" y="78"/>
                    </a:lnTo>
                    <a:lnTo>
                      <a:pt x="1042" y="92"/>
                    </a:lnTo>
                    <a:lnTo>
                      <a:pt x="1033" y="111"/>
                    </a:lnTo>
                    <a:lnTo>
                      <a:pt x="1029" y="131"/>
                    </a:lnTo>
                    <a:lnTo>
                      <a:pt x="1033" y="152"/>
                    </a:lnTo>
                    <a:lnTo>
                      <a:pt x="1042" y="169"/>
                    </a:lnTo>
                    <a:lnTo>
                      <a:pt x="1056" y="183"/>
                    </a:lnTo>
                    <a:lnTo>
                      <a:pt x="1074" y="193"/>
                    </a:lnTo>
                    <a:lnTo>
                      <a:pt x="1094" y="196"/>
                    </a:lnTo>
                    <a:lnTo>
                      <a:pt x="1116" y="193"/>
                    </a:lnTo>
                    <a:lnTo>
                      <a:pt x="1133" y="183"/>
                    </a:lnTo>
                    <a:lnTo>
                      <a:pt x="1147" y="169"/>
                    </a:lnTo>
                    <a:lnTo>
                      <a:pt x="1157" y="152"/>
                    </a:lnTo>
                    <a:lnTo>
                      <a:pt x="1160" y="131"/>
                    </a:lnTo>
                    <a:lnTo>
                      <a:pt x="1157" y="111"/>
                    </a:lnTo>
                    <a:lnTo>
                      <a:pt x="1147" y="92"/>
                    </a:lnTo>
                    <a:lnTo>
                      <a:pt x="1133" y="78"/>
                    </a:lnTo>
                    <a:lnTo>
                      <a:pt x="1116" y="70"/>
                    </a:lnTo>
                    <a:lnTo>
                      <a:pt x="1094" y="67"/>
                    </a:lnTo>
                    <a:close/>
                    <a:moveTo>
                      <a:pt x="1102" y="0"/>
                    </a:moveTo>
                    <a:lnTo>
                      <a:pt x="1111" y="0"/>
                    </a:lnTo>
                    <a:lnTo>
                      <a:pt x="1124" y="1"/>
                    </a:lnTo>
                    <a:lnTo>
                      <a:pt x="1139" y="3"/>
                    </a:lnTo>
                    <a:lnTo>
                      <a:pt x="1155" y="7"/>
                    </a:lnTo>
                    <a:lnTo>
                      <a:pt x="1173" y="14"/>
                    </a:lnTo>
                    <a:lnTo>
                      <a:pt x="1191" y="24"/>
                    </a:lnTo>
                    <a:lnTo>
                      <a:pt x="1209" y="35"/>
                    </a:lnTo>
                    <a:lnTo>
                      <a:pt x="1227" y="50"/>
                    </a:lnTo>
                    <a:lnTo>
                      <a:pt x="1243" y="70"/>
                    </a:lnTo>
                    <a:lnTo>
                      <a:pt x="1257" y="94"/>
                    </a:lnTo>
                    <a:lnTo>
                      <a:pt x="1269" y="123"/>
                    </a:lnTo>
                    <a:lnTo>
                      <a:pt x="1282" y="159"/>
                    </a:lnTo>
                    <a:lnTo>
                      <a:pt x="1293" y="190"/>
                    </a:lnTo>
                    <a:lnTo>
                      <a:pt x="1303" y="217"/>
                    </a:lnTo>
                    <a:lnTo>
                      <a:pt x="1312" y="238"/>
                    </a:lnTo>
                    <a:lnTo>
                      <a:pt x="1319" y="256"/>
                    </a:lnTo>
                    <a:lnTo>
                      <a:pt x="1328" y="269"/>
                    </a:lnTo>
                    <a:lnTo>
                      <a:pt x="1335" y="281"/>
                    </a:lnTo>
                    <a:lnTo>
                      <a:pt x="1344" y="289"/>
                    </a:lnTo>
                    <a:lnTo>
                      <a:pt x="1353" y="296"/>
                    </a:lnTo>
                    <a:lnTo>
                      <a:pt x="1362" y="302"/>
                    </a:lnTo>
                    <a:lnTo>
                      <a:pt x="1373" y="307"/>
                    </a:lnTo>
                    <a:lnTo>
                      <a:pt x="1389" y="311"/>
                    </a:lnTo>
                    <a:lnTo>
                      <a:pt x="1411" y="315"/>
                    </a:lnTo>
                    <a:lnTo>
                      <a:pt x="1436" y="320"/>
                    </a:lnTo>
                    <a:lnTo>
                      <a:pt x="1464" y="325"/>
                    </a:lnTo>
                    <a:lnTo>
                      <a:pt x="1494" y="330"/>
                    </a:lnTo>
                    <a:lnTo>
                      <a:pt x="1525" y="336"/>
                    </a:lnTo>
                    <a:lnTo>
                      <a:pt x="1556" y="341"/>
                    </a:lnTo>
                    <a:lnTo>
                      <a:pt x="1588" y="347"/>
                    </a:lnTo>
                    <a:lnTo>
                      <a:pt x="1616" y="353"/>
                    </a:lnTo>
                    <a:lnTo>
                      <a:pt x="1641" y="359"/>
                    </a:lnTo>
                    <a:lnTo>
                      <a:pt x="1664" y="366"/>
                    </a:lnTo>
                    <a:lnTo>
                      <a:pt x="2094" y="366"/>
                    </a:lnTo>
                    <a:lnTo>
                      <a:pt x="2118" y="368"/>
                    </a:lnTo>
                    <a:lnTo>
                      <a:pt x="2140" y="375"/>
                    </a:lnTo>
                    <a:lnTo>
                      <a:pt x="2160" y="388"/>
                    </a:lnTo>
                    <a:lnTo>
                      <a:pt x="2176" y="405"/>
                    </a:lnTo>
                    <a:lnTo>
                      <a:pt x="2189" y="424"/>
                    </a:lnTo>
                    <a:lnTo>
                      <a:pt x="2196" y="446"/>
                    </a:lnTo>
                    <a:lnTo>
                      <a:pt x="2199" y="470"/>
                    </a:lnTo>
                    <a:lnTo>
                      <a:pt x="2199" y="3419"/>
                    </a:lnTo>
                    <a:lnTo>
                      <a:pt x="2196" y="3442"/>
                    </a:lnTo>
                    <a:lnTo>
                      <a:pt x="2189" y="3465"/>
                    </a:lnTo>
                    <a:lnTo>
                      <a:pt x="2176" y="3484"/>
                    </a:lnTo>
                    <a:lnTo>
                      <a:pt x="2160" y="3500"/>
                    </a:lnTo>
                    <a:lnTo>
                      <a:pt x="2140" y="3512"/>
                    </a:lnTo>
                    <a:lnTo>
                      <a:pt x="2118" y="3521"/>
                    </a:lnTo>
                    <a:lnTo>
                      <a:pt x="2094" y="3523"/>
                    </a:lnTo>
                    <a:lnTo>
                      <a:pt x="105" y="3523"/>
                    </a:lnTo>
                    <a:lnTo>
                      <a:pt x="81" y="3521"/>
                    </a:lnTo>
                    <a:lnTo>
                      <a:pt x="59" y="3512"/>
                    </a:lnTo>
                    <a:lnTo>
                      <a:pt x="39" y="3500"/>
                    </a:lnTo>
                    <a:lnTo>
                      <a:pt x="23" y="3484"/>
                    </a:lnTo>
                    <a:lnTo>
                      <a:pt x="11" y="3465"/>
                    </a:lnTo>
                    <a:lnTo>
                      <a:pt x="3" y="3442"/>
                    </a:lnTo>
                    <a:lnTo>
                      <a:pt x="0" y="3419"/>
                    </a:lnTo>
                    <a:lnTo>
                      <a:pt x="0" y="470"/>
                    </a:lnTo>
                    <a:lnTo>
                      <a:pt x="3" y="446"/>
                    </a:lnTo>
                    <a:lnTo>
                      <a:pt x="11" y="424"/>
                    </a:lnTo>
                    <a:lnTo>
                      <a:pt x="23" y="405"/>
                    </a:lnTo>
                    <a:lnTo>
                      <a:pt x="39" y="388"/>
                    </a:lnTo>
                    <a:lnTo>
                      <a:pt x="59" y="375"/>
                    </a:lnTo>
                    <a:lnTo>
                      <a:pt x="81" y="368"/>
                    </a:lnTo>
                    <a:lnTo>
                      <a:pt x="105" y="366"/>
                    </a:lnTo>
                    <a:lnTo>
                      <a:pt x="532" y="366"/>
                    </a:lnTo>
                    <a:lnTo>
                      <a:pt x="555" y="358"/>
                    </a:lnTo>
                    <a:lnTo>
                      <a:pt x="584" y="352"/>
                    </a:lnTo>
                    <a:lnTo>
                      <a:pt x="616" y="345"/>
                    </a:lnTo>
                    <a:lnTo>
                      <a:pt x="650" y="340"/>
                    </a:lnTo>
                    <a:lnTo>
                      <a:pt x="684" y="333"/>
                    </a:lnTo>
                    <a:lnTo>
                      <a:pt x="717" y="327"/>
                    </a:lnTo>
                    <a:lnTo>
                      <a:pt x="749" y="322"/>
                    </a:lnTo>
                    <a:lnTo>
                      <a:pt x="777" y="316"/>
                    </a:lnTo>
                    <a:lnTo>
                      <a:pt x="801" y="312"/>
                    </a:lnTo>
                    <a:lnTo>
                      <a:pt x="819" y="307"/>
                    </a:lnTo>
                    <a:lnTo>
                      <a:pt x="831" y="302"/>
                    </a:lnTo>
                    <a:lnTo>
                      <a:pt x="841" y="297"/>
                    </a:lnTo>
                    <a:lnTo>
                      <a:pt x="851" y="289"/>
                    </a:lnTo>
                    <a:lnTo>
                      <a:pt x="858" y="281"/>
                    </a:lnTo>
                    <a:lnTo>
                      <a:pt x="867" y="270"/>
                    </a:lnTo>
                    <a:lnTo>
                      <a:pt x="874" y="256"/>
                    </a:lnTo>
                    <a:lnTo>
                      <a:pt x="883" y="239"/>
                    </a:lnTo>
                    <a:lnTo>
                      <a:pt x="891" y="217"/>
                    </a:lnTo>
                    <a:lnTo>
                      <a:pt x="901" y="191"/>
                    </a:lnTo>
                    <a:lnTo>
                      <a:pt x="912" y="160"/>
                    </a:lnTo>
                    <a:lnTo>
                      <a:pt x="925" y="123"/>
                    </a:lnTo>
                    <a:lnTo>
                      <a:pt x="937" y="94"/>
                    </a:lnTo>
                    <a:lnTo>
                      <a:pt x="952" y="70"/>
                    </a:lnTo>
                    <a:lnTo>
                      <a:pt x="968" y="50"/>
                    </a:lnTo>
                    <a:lnTo>
                      <a:pt x="986" y="34"/>
                    </a:lnTo>
                    <a:lnTo>
                      <a:pt x="1005" y="23"/>
                    </a:lnTo>
                    <a:lnTo>
                      <a:pt x="1023" y="14"/>
                    </a:lnTo>
                    <a:lnTo>
                      <a:pt x="1041" y="7"/>
                    </a:lnTo>
                    <a:lnTo>
                      <a:pt x="1057" y="3"/>
                    </a:lnTo>
                    <a:lnTo>
                      <a:pt x="1073" y="1"/>
                    </a:lnTo>
                    <a:lnTo>
                      <a:pt x="1084" y="0"/>
                    </a:lnTo>
                    <a:lnTo>
                      <a:pt x="1094" y="0"/>
                    </a:lnTo>
                    <a:lnTo>
                      <a:pt x="1094" y="0"/>
                    </a:lnTo>
                    <a:lnTo>
                      <a:pt x="1096" y="0"/>
                    </a:lnTo>
                    <a:lnTo>
                      <a:pt x="1102" y="0"/>
                    </a:lnTo>
                    <a:close/>
                  </a:path>
                </a:pathLst>
              </a:custGeom>
              <a:solidFill>
                <a:schemeClr val="tx1"/>
              </a:solidFill>
              <a:ln w="0">
                <a:solidFill>
                  <a:schemeClr val="tx1"/>
                </a:solidFill>
                <a:prstDash val="solid"/>
                <a:round/>
                <a:headEnd/>
                <a:tailEnd/>
              </a:ln>
            </p:spPr>
            <p:txBody>
              <a:bodyPr/>
              <a:lstStyle/>
              <a:p>
                <a:endParaRPr lang="de-DE" sz="800" b="0" dirty="0"/>
              </a:p>
            </p:txBody>
          </p:sp>
        </p:grpSp>
        <p:grpSp>
          <p:nvGrpSpPr>
            <p:cNvPr id="32" name="Gruppieren 31"/>
            <p:cNvGrpSpPr>
              <a:grpSpLocks noChangeAspect="1"/>
            </p:cNvGrpSpPr>
            <p:nvPr/>
          </p:nvGrpSpPr>
          <p:grpSpPr>
            <a:xfrm>
              <a:off x="3821779" y="6208306"/>
              <a:ext cx="180000" cy="228118"/>
              <a:chOff x="-696070" y="5354178"/>
              <a:chExt cx="288000" cy="364988"/>
            </a:xfrm>
          </p:grpSpPr>
          <p:sp>
            <p:nvSpPr>
              <p:cNvPr id="33"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p>
            </p:txBody>
          </p:sp>
          <p:grpSp>
            <p:nvGrpSpPr>
              <p:cNvPr id="34" name="Gruppieren 33"/>
              <p:cNvGrpSpPr>
                <a:grpSpLocks noChangeAspect="1"/>
              </p:cNvGrpSpPr>
              <p:nvPr/>
            </p:nvGrpSpPr>
            <p:grpSpPr>
              <a:xfrm>
                <a:off x="-649397" y="5481248"/>
                <a:ext cx="204387" cy="180000"/>
                <a:chOff x="-1305411" y="5962628"/>
                <a:chExt cx="947406" cy="834356"/>
              </a:xfrm>
              <a:solidFill>
                <a:srgbClr val="244894"/>
              </a:solidFill>
            </p:grpSpPr>
            <p:grpSp>
              <p:nvGrpSpPr>
                <p:cNvPr id="35" name="noun_project_01063.eps"/>
                <p:cNvGrpSpPr>
                  <a:grpSpLocks/>
                </p:cNvGrpSpPr>
                <p:nvPr/>
              </p:nvGrpSpPr>
              <p:grpSpPr bwMode="auto">
                <a:xfrm>
                  <a:off x="-1305411" y="5962628"/>
                  <a:ext cx="557212" cy="595313"/>
                  <a:chOff x="2223" y="3060"/>
                  <a:chExt cx="351" cy="375"/>
                </a:xfrm>
                <a:grpFill/>
              </p:grpSpPr>
              <p:sp>
                <p:nvSpPr>
                  <p:cNvPr id="39"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40"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41"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42"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grpSp>
            <p:grpSp>
              <p:nvGrpSpPr>
                <p:cNvPr id="36" name="noun_project_01064.eps"/>
                <p:cNvGrpSpPr>
                  <a:grpSpLocks/>
                </p:cNvGrpSpPr>
                <p:nvPr/>
              </p:nvGrpSpPr>
              <p:grpSpPr bwMode="auto">
                <a:xfrm>
                  <a:off x="-953318" y="6201671"/>
                  <a:ext cx="595313" cy="595313"/>
                  <a:chOff x="2734" y="3060"/>
                  <a:chExt cx="375" cy="375"/>
                </a:xfrm>
                <a:grpFill/>
              </p:grpSpPr>
              <p:sp>
                <p:nvSpPr>
                  <p:cNvPr id="37"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38"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grpSp>
          </p:grpSp>
        </p:grpSp>
      </p:grpSp>
      <p:cxnSp>
        <p:nvCxnSpPr>
          <p:cNvPr id="61" name="Gerade Verbindung mit Pfeil 60"/>
          <p:cNvCxnSpPr>
            <a:stCxn id="113" idx="3"/>
            <a:endCxn id="82" idx="1"/>
          </p:cNvCxnSpPr>
          <p:nvPr/>
        </p:nvCxnSpPr>
        <p:spPr bwMode="auto">
          <a:xfrm>
            <a:off x="3726642" y="3812178"/>
            <a:ext cx="334979" cy="3419"/>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62" name="Abgerundetes Rechteck 61"/>
          <p:cNvSpPr/>
          <p:nvPr/>
        </p:nvSpPr>
        <p:spPr bwMode="auto">
          <a:xfrm>
            <a:off x="10148441" y="3581597"/>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Erstellung Bescheid</a:t>
            </a:r>
          </a:p>
          <a:p>
            <a:pPr algn="ctr"/>
            <a:r>
              <a:rPr lang="de-DE" sz="800" b="0" dirty="0"/>
              <a:t>Widerspruchverfahren</a:t>
            </a:r>
          </a:p>
        </p:txBody>
      </p:sp>
      <p:cxnSp>
        <p:nvCxnSpPr>
          <p:cNvPr id="63" name="Gerade Verbindung mit Pfeil 62"/>
          <p:cNvCxnSpPr>
            <a:stCxn id="62" idx="3"/>
          </p:cNvCxnSpPr>
          <p:nvPr/>
        </p:nvCxnSpPr>
        <p:spPr bwMode="auto">
          <a:xfrm>
            <a:off x="11300441" y="3815597"/>
            <a:ext cx="138198" cy="3704"/>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64" name="Gewinkelter Verbinder 63"/>
          <p:cNvCxnSpPr>
            <a:stCxn id="69" idx="0"/>
            <a:endCxn id="71" idx="0"/>
          </p:cNvCxnSpPr>
          <p:nvPr/>
        </p:nvCxnSpPr>
        <p:spPr bwMode="auto">
          <a:xfrm rot="16200000" flipH="1">
            <a:off x="8549710" y="2793940"/>
            <a:ext cx="6751" cy="1568562"/>
          </a:xfrm>
          <a:prstGeom prst="bentConnector3">
            <a:avLst>
              <a:gd name="adj1" fmla="val -3386165"/>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65" name="Gewinkelter Verbinder 64"/>
          <p:cNvCxnSpPr>
            <a:stCxn id="69" idx="2"/>
            <a:endCxn id="71" idx="2"/>
          </p:cNvCxnSpPr>
          <p:nvPr/>
        </p:nvCxnSpPr>
        <p:spPr bwMode="auto">
          <a:xfrm rot="16200000" flipH="1">
            <a:off x="8549711" y="3261940"/>
            <a:ext cx="6751" cy="1568562"/>
          </a:xfrm>
          <a:prstGeom prst="bentConnector3">
            <a:avLst>
              <a:gd name="adj1" fmla="val 3486165"/>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66" name="Rechteck 65"/>
          <p:cNvSpPr/>
          <p:nvPr/>
        </p:nvSpPr>
        <p:spPr bwMode="auto">
          <a:xfrm>
            <a:off x="8488893" y="3209727"/>
            <a:ext cx="612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senken</a:t>
            </a:r>
          </a:p>
        </p:txBody>
      </p:sp>
      <p:sp>
        <p:nvSpPr>
          <p:cNvPr id="67" name="Rechteck 66"/>
          <p:cNvSpPr/>
          <p:nvPr/>
        </p:nvSpPr>
        <p:spPr bwMode="auto">
          <a:xfrm>
            <a:off x="8488893" y="4292248"/>
            <a:ext cx="612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erhöhen</a:t>
            </a:r>
          </a:p>
        </p:txBody>
      </p:sp>
      <p:cxnSp>
        <p:nvCxnSpPr>
          <p:cNvPr id="68" name="Gerade Verbindung mit Pfeil 67"/>
          <p:cNvCxnSpPr>
            <a:stCxn id="71" idx="3"/>
            <a:endCxn id="62" idx="1"/>
          </p:cNvCxnSpPr>
          <p:nvPr/>
        </p:nvCxnSpPr>
        <p:spPr bwMode="auto">
          <a:xfrm>
            <a:off x="9913367" y="3815597"/>
            <a:ext cx="235074" cy="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69" name="Flussdiagramm: Verzweigung 163">
            <a:extLst>
              <a:ext uri="{FF2B5EF4-FFF2-40B4-BE49-F238E27FC236}">
                <a16:creationId xmlns:a16="http://schemas.microsoft.com/office/drawing/2014/main" id="{0F894D10-92D1-46AC-81ED-B91DEC5EC94B}"/>
              </a:ext>
            </a:extLst>
          </p:cNvPr>
          <p:cNvSpPr>
            <a:spLocks/>
          </p:cNvSpPr>
          <p:nvPr/>
        </p:nvSpPr>
        <p:spPr bwMode="gray">
          <a:xfrm>
            <a:off x="7336765" y="3574846"/>
            <a:ext cx="864080" cy="468000"/>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800" b="0" noProof="1">
                <a:latin typeface="+mn-lt"/>
              </a:rPr>
              <a:t>Betrag im Bescheid</a:t>
            </a:r>
          </a:p>
          <a:p>
            <a:pPr algn="ctr"/>
            <a:r>
              <a:rPr lang="de-DE" sz="800" b="0" noProof="1">
                <a:latin typeface="+mn-lt"/>
              </a:rPr>
              <a:t>erhöhen/senken?</a:t>
            </a:r>
          </a:p>
        </p:txBody>
      </p:sp>
      <p:grpSp>
        <p:nvGrpSpPr>
          <p:cNvPr id="70" name="Gruppieren 69"/>
          <p:cNvGrpSpPr/>
          <p:nvPr/>
        </p:nvGrpSpPr>
        <p:grpSpPr>
          <a:xfrm>
            <a:off x="8761367" y="3581597"/>
            <a:ext cx="1171050" cy="487050"/>
            <a:chOff x="8475639" y="3899173"/>
            <a:chExt cx="1171050" cy="487050"/>
          </a:xfrm>
        </p:grpSpPr>
        <p:sp>
          <p:nvSpPr>
            <p:cNvPr id="71" name="Abgerundetes Rechteck 70"/>
            <p:cNvSpPr/>
            <p:nvPr/>
          </p:nvSpPr>
          <p:spPr bwMode="auto">
            <a:xfrm>
              <a:off x="8475639" y="3899173"/>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Betrag der Bewilligung/ Rückforderung nach VN korrigieren</a:t>
              </a:r>
            </a:p>
          </p:txBody>
        </p:sp>
        <p:sp>
          <p:nvSpPr>
            <p:cNvPr id="72" name="Rechteck: abgerundete Ecken 212">
              <a:extLst>
                <a:ext uri="{FF2B5EF4-FFF2-40B4-BE49-F238E27FC236}">
                  <a16:creationId xmlns:a16="http://schemas.microsoft.com/office/drawing/2014/main" id="{FA8FAD19-5C90-4B1E-8431-1DB39C25984D}"/>
                </a:ext>
              </a:extLst>
            </p:cNvPr>
            <p:cNvSpPr/>
            <p:nvPr/>
          </p:nvSpPr>
          <p:spPr bwMode="auto">
            <a:xfrm>
              <a:off x="9034510" y="4254355"/>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grpSp>
      <p:sp>
        <p:nvSpPr>
          <p:cNvPr id="73" name="Rechteck: abgerundete Ecken 212">
            <a:extLst>
              <a:ext uri="{FF2B5EF4-FFF2-40B4-BE49-F238E27FC236}">
                <a16:creationId xmlns:a16="http://schemas.microsoft.com/office/drawing/2014/main" id="{FA8FAD19-5C90-4B1E-8431-1DB39C25984D}"/>
              </a:ext>
            </a:extLst>
          </p:cNvPr>
          <p:cNvSpPr/>
          <p:nvPr/>
        </p:nvSpPr>
        <p:spPr bwMode="auto">
          <a:xfrm>
            <a:off x="10707312" y="3936779"/>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sp>
        <p:nvSpPr>
          <p:cNvPr id="74" name="Abgerundetes Rechteck 73"/>
          <p:cNvSpPr/>
          <p:nvPr/>
        </p:nvSpPr>
        <p:spPr bwMode="auto">
          <a:xfrm>
            <a:off x="5752589" y="2936412"/>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Erstellung Rückweisung</a:t>
            </a:r>
          </a:p>
        </p:txBody>
      </p:sp>
      <p:cxnSp>
        <p:nvCxnSpPr>
          <p:cNvPr id="75" name="Gerade Verbindung mit Pfeil 74"/>
          <p:cNvCxnSpPr>
            <a:stCxn id="78" idx="0"/>
            <a:endCxn id="74" idx="2"/>
          </p:cNvCxnSpPr>
          <p:nvPr/>
        </p:nvCxnSpPr>
        <p:spPr bwMode="auto">
          <a:xfrm flipV="1">
            <a:off x="6328589" y="3404412"/>
            <a:ext cx="0" cy="170434"/>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76" name="Rechteck 75"/>
          <p:cNvSpPr/>
          <p:nvPr/>
        </p:nvSpPr>
        <p:spPr bwMode="auto">
          <a:xfrm>
            <a:off x="6943508" y="3657330"/>
            <a:ext cx="324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Nein</a:t>
            </a:r>
          </a:p>
        </p:txBody>
      </p:sp>
      <p:sp>
        <p:nvSpPr>
          <p:cNvPr id="77" name="Rechteck 76"/>
          <p:cNvSpPr/>
          <p:nvPr/>
        </p:nvSpPr>
        <p:spPr bwMode="auto">
          <a:xfrm>
            <a:off x="6030371" y="3431900"/>
            <a:ext cx="324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Ja</a:t>
            </a:r>
          </a:p>
        </p:txBody>
      </p:sp>
      <p:sp>
        <p:nvSpPr>
          <p:cNvPr id="78" name="Flussdiagramm: Verzweigung 163">
            <a:extLst>
              <a:ext uri="{FF2B5EF4-FFF2-40B4-BE49-F238E27FC236}">
                <a16:creationId xmlns:a16="http://schemas.microsoft.com/office/drawing/2014/main" id="{0F894D10-92D1-46AC-81ED-B91DEC5EC94B}"/>
              </a:ext>
            </a:extLst>
          </p:cNvPr>
          <p:cNvSpPr>
            <a:spLocks/>
          </p:cNvSpPr>
          <p:nvPr/>
        </p:nvSpPr>
        <p:spPr bwMode="gray">
          <a:xfrm>
            <a:off x="5896549" y="3574846"/>
            <a:ext cx="864080" cy="468000"/>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800" b="0" noProof="1">
                <a:latin typeface="+mn-lt"/>
              </a:rPr>
              <a:t>Rückweisung?</a:t>
            </a:r>
          </a:p>
        </p:txBody>
      </p:sp>
      <p:sp>
        <p:nvSpPr>
          <p:cNvPr id="79" name="Rechteck: abgerundete Ecken 212">
            <a:extLst>
              <a:ext uri="{FF2B5EF4-FFF2-40B4-BE49-F238E27FC236}">
                <a16:creationId xmlns:a16="http://schemas.microsoft.com/office/drawing/2014/main" id="{FA8FAD19-5C90-4B1E-8431-1DB39C25984D}"/>
              </a:ext>
            </a:extLst>
          </p:cNvPr>
          <p:cNvSpPr/>
          <p:nvPr/>
        </p:nvSpPr>
        <p:spPr bwMode="auto">
          <a:xfrm>
            <a:off x="6022500" y="3930028"/>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cxnSp>
        <p:nvCxnSpPr>
          <p:cNvPr id="80" name="Gewinkelte Verbindung 317"/>
          <p:cNvCxnSpPr>
            <a:stCxn id="78" idx="3"/>
            <a:endCxn id="69" idx="1"/>
          </p:cNvCxnSpPr>
          <p:nvPr/>
        </p:nvCxnSpPr>
        <p:spPr bwMode="auto">
          <a:xfrm>
            <a:off x="6760629" y="3808846"/>
            <a:ext cx="576136" cy="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grpSp>
        <p:nvGrpSpPr>
          <p:cNvPr id="81" name="Gruppieren 80"/>
          <p:cNvGrpSpPr/>
          <p:nvPr/>
        </p:nvGrpSpPr>
        <p:grpSpPr>
          <a:xfrm>
            <a:off x="4061621" y="3581597"/>
            <a:ext cx="1171050" cy="487050"/>
            <a:chOff x="1651887" y="3897965"/>
            <a:chExt cx="1171050" cy="487050"/>
          </a:xfrm>
        </p:grpSpPr>
        <p:sp>
          <p:nvSpPr>
            <p:cNvPr id="82" name="Abgerundetes Rechteck 81"/>
            <p:cNvSpPr/>
            <p:nvPr/>
          </p:nvSpPr>
          <p:spPr bwMode="auto">
            <a:xfrm>
              <a:off x="1651887" y="3897965"/>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Erstellung Prüfvermerk</a:t>
              </a:r>
            </a:p>
          </p:txBody>
        </p:sp>
        <p:sp>
          <p:nvSpPr>
            <p:cNvPr id="83" name="Rechteck: abgerundete Ecken 212">
              <a:extLst>
                <a:ext uri="{FF2B5EF4-FFF2-40B4-BE49-F238E27FC236}">
                  <a16:creationId xmlns:a16="http://schemas.microsoft.com/office/drawing/2014/main" id="{FA8FAD19-5C90-4B1E-8431-1DB39C25984D}"/>
                </a:ext>
              </a:extLst>
            </p:cNvPr>
            <p:cNvSpPr/>
            <p:nvPr/>
          </p:nvSpPr>
          <p:spPr bwMode="auto">
            <a:xfrm>
              <a:off x="2210758" y="4253147"/>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grpSp>
      <p:cxnSp>
        <p:nvCxnSpPr>
          <p:cNvPr id="84" name="Gewinkelte Verbindung 16"/>
          <p:cNvCxnSpPr>
            <a:stCxn id="82" idx="3"/>
            <a:endCxn id="78" idx="1"/>
          </p:cNvCxnSpPr>
          <p:nvPr/>
        </p:nvCxnSpPr>
        <p:spPr bwMode="auto">
          <a:xfrm flipV="1">
            <a:off x="5213621" y="3808846"/>
            <a:ext cx="682928" cy="675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85" name="Gerade Verbindung mit Pfeil 84"/>
          <p:cNvCxnSpPr>
            <a:stCxn id="74" idx="3"/>
          </p:cNvCxnSpPr>
          <p:nvPr/>
        </p:nvCxnSpPr>
        <p:spPr bwMode="auto">
          <a:xfrm>
            <a:off x="6904589" y="3170412"/>
            <a:ext cx="4589822" cy="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86" name="Abgerundetes Rechteck 85"/>
          <p:cNvSpPr/>
          <p:nvPr/>
        </p:nvSpPr>
        <p:spPr bwMode="auto">
          <a:xfrm>
            <a:off x="1410907" y="3583011"/>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Fachliche Prüfung</a:t>
            </a:r>
            <a:br>
              <a:rPr lang="de-DE" sz="800" b="0" dirty="0">
                <a:latin typeface="+mn-lt"/>
              </a:rPr>
            </a:br>
            <a:r>
              <a:rPr lang="de-DE" sz="800" b="0" dirty="0">
                <a:latin typeface="+mn-lt"/>
              </a:rPr>
              <a:t>(fachliche Klärungen, Plausibilisierung)</a:t>
            </a:r>
          </a:p>
        </p:txBody>
      </p:sp>
      <p:grpSp>
        <p:nvGrpSpPr>
          <p:cNvPr id="87" name="Gruppieren 86"/>
          <p:cNvGrpSpPr>
            <a:grpSpLocks noChangeAspect="1"/>
          </p:cNvGrpSpPr>
          <p:nvPr/>
        </p:nvGrpSpPr>
        <p:grpSpPr>
          <a:xfrm>
            <a:off x="2256284" y="3091178"/>
            <a:ext cx="288000" cy="464218"/>
            <a:chOff x="-1227749" y="5257321"/>
            <a:chExt cx="347663" cy="560387"/>
          </a:xfrm>
        </p:grpSpPr>
        <p:sp>
          <p:nvSpPr>
            <p:cNvPr id="88" name="Freeform 297"/>
            <p:cNvSpPr>
              <a:spLocks noEditPoints="1"/>
            </p:cNvSpPr>
            <p:nvPr/>
          </p:nvSpPr>
          <p:spPr bwMode="auto">
            <a:xfrm>
              <a:off x="-1176949" y="5358921"/>
              <a:ext cx="63500" cy="63500"/>
            </a:xfrm>
            <a:custGeom>
              <a:avLst/>
              <a:gdLst>
                <a:gd name="T0" fmla="*/ 315 w 406"/>
                <a:gd name="T1" fmla="*/ 140 h 399"/>
                <a:gd name="T2" fmla="*/ 282 w 406"/>
                <a:gd name="T3" fmla="*/ 187 h 399"/>
                <a:gd name="T4" fmla="*/ 254 w 406"/>
                <a:gd name="T5" fmla="*/ 231 h 399"/>
                <a:gd name="T6" fmla="*/ 231 w 406"/>
                <a:gd name="T7" fmla="*/ 270 h 399"/>
                <a:gd name="T8" fmla="*/ 217 w 406"/>
                <a:gd name="T9" fmla="*/ 297 h 399"/>
                <a:gd name="T10" fmla="*/ 212 w 406"/>
                <a:gd name="T11" fmla="*/ 308 h 399"/>
                <a:gd name="T12" fmla="*/ 281 w 406"/>
                <a:gd name="T13" fmla="*/ 341 h 399"/>
                <a:gd name="T14" fmla="*/ 315 w 406"/>
                <a:gd name="T15" fmla="*/ 333 h 399"/>
                <a:gd name="T16" fmla="*/ 339 w 406"/>
                <a:gd name="T17" fmla="*/ 310 h 399"/>
                <a:gd name="T18" fmla="*/ 349 w 406"/>
                <a:gd name="T19" fmla="*/ 277 h 399"/>
                <a:gd name="T20" fmla="*/ 346 w 406"/>
                <a:gd name="T21" fmla="*/ 143 h 399"/>
                <a:gd name="T22" fmla="*/ 332 w 406"/>
                <a:gd name="T23" fmla="*/ 117 h 399"/>
                <a:gd name="T24" fmla="*/ 108 w 406"/>
                <a:gd name="T25" fmla="*/ 97 h 399"/>
                <a:gd name="T26" fmla="*/ 78 w 406"/>
                <a:gd name="T27" fmla="*/ 113 h 399"/>
                <a:gd name="T28" fmla="*/ 61 w 406"/>
                <a:gd name="T29" fmla="*/ 142 h 399"/>
                <a:gd name="T30" fmla="*/ 59 w 406"/>
                <a:gd name="T31" fmla="*/ 277 h 399"/>
                <a:gd name="T32" fmla="*/ 67 w 406"/>
                <a:gd name="T33" fmla="*/ 310 h 399"/>
                <a:gd name="T34" fmla="*/ 92 w 406"/>
                <a:gd name="T35" fmla="*/ 333 h 399"/>
                <a:gd name="T36" fmla="*/ 125 w 406"/>
                <a:gd name="T37" fmla="*/ 341 h 399"/>
                <a:gd name="T38" fmla="*/ 160 w 406"/>
                <a:gd name="T39" fmla="*/ 308 h 399"/>
                <a:gd name="T40" fmla="*/ 132 w 406"/>
                <a:gd name="T41" fmla="*/ 267 h 399"/>
                <a:gd name="T42" fmla="*/ 101 w 406"/>
                <a:gd name="T43" fmla="*/ 241 h 399"/>
                <a:gd name="T44" fmla="*/ 76 w 406"/>
                <a:gd name="T45" fmla="*/ 227 h 399"/>
                <a:gd name="T46" fmla="*/ 64 w 406"/>
                <a:gd name="T47" fmla="*/ 222 h 399"/>
                <a:gd name="T48" fmla="*/ 85 w 406"/>
                <a:gd name="T49" fmla="*/ 168 h 399"/>
                <a:gd name="T50" fmla="*/ 108 w 406"/>
                <a:gd name="T51" fmla="*/ 179 h 399"/>
                <a:gd name="T52" fmla="*/ 144 w 406"/>
                <a:gd name="T53" fmla="*/ 201 h 399"/>
                <a:gd name="T54" fmla="*/ 183 w 406"/>
                <a:gd name="T55" fmla="*/ 238 h 399"/>
                <a:gd name="T56" fmla="*/ 214 w 406"/>
                <a:gd name="T57" fmla="*/ 186 h 399"/>
                <a:gd name="T58" fmla="*/ 255 w 406"/>
                <a:gd name="T59" fmla="*/ 125 h 399"/>
                <a:gd name="T60" fmla="*/ 125 w 406"/>
                <a:gd name="T61" fmla="*/ 94 h 399"/>
                <a:gd name="T62" fmla="*/ 406 w 406"/>
                <a:gd name="T63" fmla="*/ 48 h 399"/>
                <a:gd name="T64" fmla="*/ 372 w 406"/>
                <a:gd name="T65" fmla="*/ 75 h 399"/>
                <a:gd name="T66" fmla="*/ 397 w 406"/>
                <a:gd name="T67" fmla="*/ 113 h 399"/>
                <a:gd name="T68" fmla="*/ 406 w 406"/>
                <a:gd name="T69" fmla="*/ 159 h 399"/>
                <a:gd name="T70" fmla="*/ 402 w 406"/>
                <a:gd name="T71" fmla="*/ 305 h 399"/>
                <a:gd name="T72" fmla="*/ 379 w 406"/>
                <a:gd name="T73" fmla="*/ 353 h 399"/>
                <a:gd name="T74" fmla="*/ 336 w 406"/>
                <a:gd name="T75" fmla="*/ 386 h 399"/>
                <a:gd name="T76" fmla="*/ 281 w 406"/>
                <a:gd name="T77" fmla="*/ 399 h 399"/>
                <a:gd name="T78" fmla="*/ 97 w 406"/>
                <a:gd name="T79" fmla="*/ 396 h 399"/>
                <a:gd name="T80" fmla="*/ 48 w 406"/>
                <a:gd name="T81" fmla="*/ 372 h 399"/>
                <a:gd name="T82" fmla="*/ 13 w 406"/>
                <a:gd name="T83" fmla="*/ 330 h 399"/>
                <a:gd name="T84" fmla="*/ 0 w 406"/>
                <a:gd name="T85" fmla="*/ 277 h 399"/>
                <a:gd name="T86" fmla="*/ 4 w 406"/>
                <a:gd name="T87" fmla="*/ 131 h 399"/>
                <a:gd name="T88" fmla="*/ 29 w 406"/>
                <a:gd name="T89" fmla="*/ 83 h 399"/>
                <a:gd name="T90" fmla="*/ 71 w 406"/>
                <a:gd name="T91" fmla="*/ 50 h 399"/>
                <a:gd name="T92" fmla="*/ 125 w 406"/>
                <a:gd name="T93" fmla="*/ 37 h 399"/>
                <a:gd name="T94" fmla="*/ 302 w 406"/>
                <a:gd name="T95" fmla="*/ 39 h 399"/>
                <a:gd name="T96" fmla="*/ 349 w 406"/>
                <a:gd name="T97" fmla="*/ 1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9">
                  <a:moveTo>
                    <a:pt x="332" y="117"/>
                  </a:moveTo>
                  <a:lnTo>
                    <a:pt x="315" y="140"/>
                  </a:lnTo>
                  <a:lnTo>
                    <a:pt x="298" y="164"/>
                  </a:lnTo>
                  <a:lnTo>
                    <a:pt x="282" y="187"/>
                  </a:lnTo>
                  <a:lnTo>
                    <a:pt x="267" y="210"/>
                  </a:lnTo>
                  <a:lnTo>
                    <a:pt x="254" y="231"/>
                  </a:lnTo>
                  <a:lnTo>
                    <a:pt x="242" y="252"/>
                  </a:lnTo>
                  <a:lnTo>
                    <a:pt x="231" y="270"/>
                  </a:lnTo>
                  <a:lnTo>
                    <a:pt x="224" y="285"/>
                  </a:lnTo>
                  <a:lnTo>
                    <a:pt x="217" y="297"/>
                  </a:lnTo>
                  <a:lnTo>
                    <a:pt x="213" y="305"/>
                  </a:lnTo>
                  <a:lnTo>
                    <a:pt x="212" y="308"/>
                  </a:lnTo>
                  <a:lnTo>
                    <a:pt x="194" y="341"/>
                  </a:lnTo>
                  <a:lnTo>
                    <a:pt x="281" y="341"/>
                  </a:lnTo>
                  <a:lnTo>
                    <a:pt x="299" y="339"/>
                  </a:lnTo>
                  <a:lnTo>
                    <a:pt x="315" y="333"/>
                  </a:lnTo>
                  <a:lnTo>
                    <a:pt x="328" y="323"/>
                  </a:lnTo>
                  <a:lnTo>
                    <a:pt x="339" y="310"/>
                  </a:lnTo>
                  <a:lnTo>
                    <a:pt x="346" y="294"/>
                  </a:lnTo>
                  <a:lnTo>
                    <a:pt x="349" y="277"/>
                  </a:lnTo>
                  <a:lnTo>
                    <a:pt x="349" y="159"/>
                  </a:lnTo>
                  <a:lnTo>
                    <a:pt x="346" y="143"/>
                  </a:lnTo>
                  <a:lnTo>
                    <a:pt x="341" y="130"/>
                  </a:lnTo>
                  <a:lnTo>
                    <a:pt x="332" y="117"/>
                  </a:lnTo>
                  <a:close/>
                  <a:moveTo>
                    <a:pt x="125" y="94"/>
                  </a:moveTo>
                  <a:lnTo>
                    <a:pt x="108" y="97"/>
                  </a:lnTo>
                  <a:lnTo>
                    <a:pt x="92" y="103"/>
                  </a:lnTo>
                  <a:lnTo>
                    <a:pt x="78" y="113"/>
                  </a:lnTo>
                  <a:lnTo>
                    <a:pt x="67" y="126"/>
                  </a:lnTo>
                  <a:lnTo>
                    <a:pt x="61" y="142"/>
                  </a:lnTo>
                  <a:lnTo>
                    <a:pt x="59" y="159"/>
                  </a:lnTo>
                  <a:lnTo>
                    <a:pt x="59" y="277"/>
                  </a:lnTo>
                  <a:lnTo>
                    <a:pt x="61" y="294"/>
                  </a:lnTo>
                  <a:lnTo>
                    <a:pt x="67" y="310"/>
                  </a:lnTo>
                  <a:lnTo>
                    <a:pt x="78" y="323"/>
                  </a:lnTo>
                  <a:lnTo>
                    <a:pt x="92" y="333"/>
                  </a:lnTo>
                  <a:lnTo>
                    <a:pt x="108" y="339"/>
                  </a:lnTo>
                  <a:lnTo>
                    <a:pt x="125" y="341"/>
                  </a:lnTo>
                  <a:lnTo>
                    <a:pt x="177" y="341"/>
                  </a:lnTo>
                  <a:lnTo>
                    <a:pt x="160" y="308"/>
                  </a:lnTo>
                  <a:lnTo>
                    <a:pt x="147" y="285"/>
                  </a:lnTo>
                  <a:lnTo>
                    <a:pt x="132" y="267"/>
                  </a:lnTo>
                  <a:lnTo>
                    <a:pt x="116" y="252"/>
                  </a:lnTo>
                  <a:lnTo>
                    <a:pt x="101" y="241"/>
                  </a:lnTo>
                  <a:lnTo>
                    <a:pt x="87" y="232"/>
                  </a:lnTo>
                  <a:lnTo>
                    <a:pt x="76" y="227"/>
                  </a:lnTo>
                  <a:lnTo>
                    <a:pt x="67" y="224"/>
                  </a:lnTo>
                  <a:lnTo>
                    <a:pt x="64" y="222"/>
                  </a:lnTo>
                  <a:lnTo>
                    <a:pt x="80" y="167"/>
                  </a:lnTo>
                  <a:lnTo>
                    <a:pt x="85" y="168"/>
                  </a:lnTo>
                  <a:lnTo>
                    <a:pt x="94" y="172"/>
                  </a:lnTo>
                  <a:lnTo>
                    <a:pt x="108" y="179"/>
                  </a:lnTo>
                  <a:lnTo>
                    <a:pt x="124" y="188"/>
                  </a:lnTo>
                  <a:lnTo>
                    <a:pt x="144" y="201"/>
                  </a:lnTo>
                  <a:lnTo>
                    <a:pt x="163" y="217"/>
                  </a:lnTo>
                  <a:lnTo>
                    <a:pt x="183" y="238"/>
                  </a:lnTo>
                  <a:lnTo>
                    <a:pt x="197" y="213"/>
                  </a:lnTo>
                  <a:lnTo>
                    <a:pt x="214" y="186"/>
                  </a:lnTo>
                  <a:lnTo>
                    <a:pt x="233" y="156"/>
                  </a:lnTo>
                  <a:lnTo>
                    <a:pt x="255" y="125"/>
                  </a:lnTo>
                  <a:lnTo>
                    <a:pt x="277" y="94"/>
                  </a:lnTo>
                  <a:lnTo>
                    <a:pt x="125" y="94"/>
                  </a:lnTo>
                  <a:close/>
                  <a:moveTo>
                    <a:pt x="375" y="0"/>
                  </a:moveTo>
                  <a:lnTo>
                    <a:pt x="406" y="48"/>
                  </a:lnTo>
                  <a:lnTo>
                    <a:pt x="389" y="61"/>
                  </a:lnTo>
                  <a:lnTo>
                    <a:pt x="372" y="75"/>
                  </a:lnTo>
                  <a:lnTo>
                    <a:pt x="386" y="94"/>
                  </a:lnTo>
                  <a:lnTo>
                    <a:pt x="397" y="113"/>
                  </a:lnTo>
                  <a:lnTo>
                    <a:pt x="403" y="136"/>
                  </a:lnTo>
                  <a:lnTo>
                    <a:pt x="406" y="159"/>
                  </a:lnTo>
                  <a:lnTo>
                    <a:pt x="406" y="277"/>
                  </a:lnTo>
                  <a:lnTo>
                    <a:pt x="402" y="305"/>
                  </a:lnTo>
                  <a:lnTo>
                    <a:pt x="394" y="330"/>
                  </a:lnTo>
                  <a:lnTo>
                    <a:pt x="379" y="353"/>
                  </a:lnTo>
                  <a:lnTo>
                    <a:pt x="359" y="372"/>
                  </a:lnTo>
                  <a:lnTo>
                    <a:pt x="336" y="386"/>
                  </a:lnTo>
                  <a:lnTo>
                    <a:pt x="310" y="396"/>
                  </a:lnTo>
                  <a:lnTo>
                    <a:pt x="281" y="399"/>
                  </a:lnTo>
                  <a:lnTo>
                    <a:pt x="125" y="399"/>
                  </a:lnTo>
                  <a:lnTo>
                    <a:pt x="97" y="396"/>
                  </a:lnTo>
                  <a:lnTo>
                    <a:pt x="71" y="386"/>
                  </a:lnTo>
                  <a:lnTo>
                    <a:pt x="48" y="372"/>
                  </a:lnTo>
                  <a:lnTo>
                    <a:pt x="29" y="353"/>
                  </a:lnTo>
                  <a:lnTo>
                    <a:pt x="13" y="330"/>
                  </a:lnTo>
                  <a:lnTo>
                    <a:pt x="4" y="305"/>
                  </a:lnTo>
                  <a:lnTo>
                    <a:pt x="0" y="277"/>
                  </a:lnTo>
                  <a:lnTo>
                    <a:pt x="0" y="159"/>
                  </a:lnTo>
                  <a:lnTo>
                    <a:pt x="4" y="131"/>
                  </a:lnTo>
                  <a:lnTo>
                    <a:pt x="13" y="105"/>
                  </a:lnTo>
                  <a:lnTo>
                    <a:pt x="29" y="83"/>
                  </a:lnTo>
                  <a:lnTo>
                    <a:pt x="48" y="64"/>
                  </a:lnTo>
                  <a:lnTo>
                    <a:pt x="71" y="50"/>
                  </a:lnTo>
                  <a:lnTo>
                    <a:pt x="97" y="40"/>
                  </a:lnTo>
                  <a:lnTo>
                    <a:pt x="125" y="37"/>
                  </a:lnTo>
                  <a:lnTo>
                    <a:pt x="281" y="37"/>
                  </a:lnTo>
                  <a:lnTo>
                    <a:pt x="302" y="39"/>
                  </a:lnTo>
                  <a:lnTo>
                    <a:pt x="323" y="44"/>
                  </a:lnTo>
                  <a:lnTo>
                    <a:pt x="349" y="19"/>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89" name="Freeform 298"/>
            <p:cNvSpPr>
              <a:spLocks noEditPoints="1"/>
            </p:cNvSpPr>
            <p:nvPr/>
          </p:nvSpPr>
          <p:spPr bwMode="auto">
            <a:xfrm>
              <a:off x="-1176949" y="5431946"/>
              <a:ext cx="63500" cy="60325"/>
            </a:xfrm>
            <a:custGeom>
              <a:avLst/>
              <a:gdLst>
                <a:gd name="T0" fmla="*/ 319 w 406"/>
                <a:gd name="T1" fmla="*/ 134 h 384"/>
                <a:gd name="T2" fmla="*/ 285 w 406"/>
                <a:gd name="T3" fmla="*/ 181 h 384"/>
                <a:gd name="T4" fmla="*/ 256 w 406"/>
                <a:gd name="T5" fmla="*/ 228 h 384"/>
                <a:gd name="T6" fmla="*/ 232 w 406"/>
                <a:gd name="T7" fmla="*/ 268 h 384"/>
                <a:gd name="T8" fmla="*/ 217 w 406"/>
                <a:gd name="T9" fmla="*/ 296 h 384"/>
                <a:gd name="T10" fmla="*/ 212 w 406"/>
                <a:gd name="T11" fmla="*/ 307 h 384"/>
                <a:gd name="T12" fmla="*/ 281 w 406"/>
                <a:gd name="T13" fmla="*/ 326 h 384"/>
                <a:gd name="T14" fmla="*/ 315 w 406"/>
                <a:gd name="T15" fmla="*/ 318 h 384"/>
                <a:gd name="T16" fmla="*/ 339 w 406"/>
                <a:gd name="T17" fmla="*/ 295 h 384"/>
                <a:gd name="T18" fmla="*/ 349 w 406"/>
                <a:gd name="T19" fmla="*/ 263 h 384"/>
                <a:gd name="T20" fmla="*/ 345 w 406"/>
                <a:gd name="T21" fmla="*/ 126 h 384"/>
                <a:gd name="T22" fmla="*/ 125 w 406"/>
                <a:gd name="T23" fmla="*/ 80 h 384"/>
                <a:gd name="T24" fmla="*/ 92 w 406"/>
                <a:gd name="T25" fmla="*/ 89 h 384"/>
                <a:gd name="T26" fmla="*/ 67 w 406"/>
                <a:gd name="T27" fmla="*/ 112 h 384"/>
                <a:gd name="T28" fmla="*/ 59 w 406"/>
                <a:gd name="T29" fmla="*/ 144 h 384"/>
                <a:gd name="T30" fmla="*/ 61 w 406"/>
                <a:gd name="T31" fmla="*/ 279 h 384"/>
                <a:gd name="T32" fmla="*/ 78 w 406"/>
                <a:gd name="T33" fmla="*/ 308 h 384"/>
                <a:gd name="T34" fmla="*/ 108 w 406"/>
                <a:gd name="T35" fmla="*/ 324 h 384"/>
                <a:gd name="T36" fmla="*/ 170 w 406"/>
                <a:gd name="T37" fmla="*/ 326 h 384"/>
                <a:gd name="T38" fmla="*/ 147 w 406"/>
                <a:gd name="T39" fmla="*/ 285 h 384"/>
                <a:gd name="T40" fmla="*/ 116 w 406"/>
                <a:gd name="T41" fmla="*/ 252 h 384"/>
                <a:gd name="T42" fmla="*/ 87 w 406"/>
                <a:gd name="T43" fmla="*/ 232 h 384"/>
                <a:gd name="T44" fmla="*/ 67 w 406"/>
                <a:gd name="T45" fmla="*/ 223 h 384"/>
                <a:gd name="T46" fmla="*/ 80 w 406"/>
                <a:gd name="T47" fmla="*/ 167 h 384"/>
                <a:gd name="T48" fmla="*/ 94 w 406"/>
                <a:gd name="T49" fmla="*/ 171 h 384"/>
                <a:gd name="T50" fmla="*/ 124 w 406"/>
                <a:gd name="T51" fmla="*/ 188 h 384"/>
                <a:gd name="T52" fmla="*/ 163 w 406"/>
                <a:gd name="T53" fmla="*/ 218 h 384"/>
                <a:gd name="T54" fmla="*/ 196 w 406"/>
                <a:gd name="T55" fmla="*/ 216 h 384"/>
                <a:gd name="T56" fmla="*/ 228 w 406"/>
                <a:gd name="T57" fmla="*/ 164 h 384"/>
                <a:gd name="T58" fmla="*/ 267 w 406"/>
                <a:gd name="T59" fmla="*/ 108 h 384"/>
                <a:gd name="T60" fmla="*/ 285 w 406"/>
                <a:gd name="T61" fmla="*/ 80 h 384"/>
                <a:gd name="T62" fmla="*/ 125 w 406"/>
                <a:gd name="T63" fmla="*/ 80 h 384"/>
                <a:gd name="T64" fmla="*/ 406 w 406"/>
                <a:gd name="T65" fmla="*/ 49 h 384"/>
                <a:gd name="T66" fmla="*/ 394 w 406"/>
                <a:gd name="T67" fmla="*/ 92 h 384"/>
                <a:gd name="T68" fmla="*/ 406 w 406"/>
                <a:gd name="T69" fmla="*/ 144 h 384"/>
                <a:gd name="T70" fmla="*/ 402 w 406"/>
                <a:gd name="T71" fmla="*/ 291 h 384"/>
                <a:gd name="T72" fmla="*/ 379 w 406"/>
                <a:gd name="T73" fmla="*/ 338 h 384"/>
                <a:gd name="T74" fmla="*/ 336 w 406"/>
                <a:gd name="T75" fmla="*/ 372 h 384"/>
                <a:gd name="T76" fmla="*/ 281 w 406"/>
                <a:gd name="T77" fmla="*/ 384 h 384"/>
                <a:gd name="T78" fmla="*/ 97 w 406"/>
                <a:gd name="T79" fmla="*/ 381 h 384"/>
                <a:gd name="T80" fmla="*/ 48 w 406"/>
                <a:gd name="T81" fmla="*/ 358 h 384"/>
                <a:gd name="T82" fmla="*/ 13 w 406"/>
                <a:gd name="T83" fmla="*/ 316 h 384"/>
                <a:gd name="T84" fmla="*/ 0 w 406"/>
                <a:gd name="T85" fmla="*/ 263 h 384"/>
                <a:gd name="T86" fmla="*/ 4 w 406"/>
                <a:gd name="T87" fmla="*/ 117 h 384"/>
                <a:gd name="T88" fmla="*/ 29 w 406"/>
                <a:gd name="T89" fmla="*/ 68 h 384"/>
                <a:gd name="T90" fmla="*/ 71 w 406"/>
                <a:gd name="T91" fmla="*/ 35 h 384"/>
                <a:gd name="T92" fmla="*/ 125 w 406"/>
                <a:gd name="T93" fmla="*/ 22 h 384"/>
                <a:gd name="T94" fmla="*/ 308 w 406"/>
                <a:gd name="T95" fmla="*/ 25 h 384"/>
                <a:gd name="T96" fmla="*/ 354 w 406"/>
                <a:gd name="T97" fmla="*/ 1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4">
                  <a:moveTo>
                    <a:pt x="339" y="111"/>
                  </a:moveTo>
                  <a:lnTo>
                    <a:pt x="319" y="134"/>
                  </a:lnTo>
                  <a:lnTo>
                    <a:pt x="302" y="157"/>
                  </a:lnTo>
                  <a:lnTo>
                    <a:pt x="285" y="181"/>
                  </a:lnTo>
                  <a:lnTo>
                    <a:pt x="270" y="205"/>
                  </a:lnTo>
                  <a:lnTo>
                    <a:pt x="256" y="228"/>
                  </a:lnTo>
                  <a:lnTo>
                    <a:pt x="243" y="249"/>
                  </a:lnTo>
                  <a:lnTo>
                    <a:pt x="232" y="268"/>
                  </a:lnTo>
                  <a:lnTo>
                    <a:pt x="224" y="283"/>
                  </a:lnTo>
                  <a:lnTo>
                    <a:pt x="217" y="296"/>
                  </a:lnTo>
                  <a:lnTo>
                    <a:pt x="213" y="304"/>
                  </a:lnTo>
                  <a:lnTo>
                    <a:pt x="212" y="307"/>
                  </a:lnTo>
                  <a:lnTo>
                    <a:pt x="202" y="326"/>
                  </a:lnTo>
                  <a:lnTo>
                    <a:pt x="281" y="326"/>
                  </a:lnTo>
                  <a:lnTo>
                    <a:pt x="299" y="324"/>
                  </a:lnTo>
                  <a:lnTo>
                    <a:pt x="315" y="318"/>
                  </a:lnTo>
                  <a:lnTo>
                    <a:pt x="328" y="308"/>
                  </a:lnTo>
                  <a:lnTo>
                    <a:pt x="339" y="295"/>
                  </a:lnTo>
                  <a:lnTo>
                    <a:pt x="346" y="279"/>
                  </a:lnTo>
                  <a:lnTo>
                    <a:pt x="349" y="263"/>
                  </a:lnTo>
                  <a:lnTo>
                    <a:pt x="349" y="144"/>
                  </a:lnTo>
                  <a:lnTo>
                    <a:pt x="345" y="126"/>
                  </a:lnTo>
                  <a:lnTo>
                    <a:pt x="339" y="111"/>
                  </a:lnTo>
                  <a:close/>
                  <a:moveTo>
                    <a:pt x="125" y="80"/>
                  </a:moveTo>
                  <a:lnTo>
                    <a:pt x="108" y="82"/>
                  </a:lnTo>
                  <a:lnTo>
                    <a:pt x="92" y="89"/>
                  </a:lnTo>
                  <a:lnTo>
                    <a:pt x="78" y="98"/>
                  </a:lnTo>
                  <a:lnTo>
                    <a:pt x="67" y="112"/>
                  </a:lnTo>
                  <a:lnTo>
                    <a:pt x="61" y="127"/>
                  </a:lnTo>
                  <a:lnTo>
                    <a:pt x="59" y="144"/>
                  </a:lnTo>
                  <a:lnTo>
                    <a:pt x="59" y="263"/>
                  </a:lnTo>
                  <a:lnTo>
                    <a:pt x="61" y="279"/>
                  </a:lnTo>
                  <a:lnTo>
                    <a:pt x="67" y="295"/>
                  </a:lnTo>
                  <a:lnTo>
                    <a:pt x="78" y="308"/>
                  </a:lnTo>
                  <a:lnTo>
                    <a:pt x="92" y="318"/>
                  </a:lnTo>
                  <a:lnTo>
                    <a:pt x="108" y="324"/>
                  </a:lnTo>
                  <a:lnTo>
                    <a:pt x="125" y="326"/>
                  </a:lnTo>
                  <a:lnTo>
                    <a:pt x="170" y="326"/>
                  </a:lnTo>
                  <a:lnTo>
                    <a:pt x="160" y="307"/>
                  </a:lnTo>
                  <a:lnTo>
                    <a:pt x="147" y="285"/>
                  </a:lnTo>
                  <a:lnTo>
                    <a:pt x="132" y="266"/>
                  </a:lnTo>
                  <a:lnTo>
                    <a:pt x="116" y="252"/>
                  </a:lnTo>
                  <a:lnTo>
                    <a:pt x="101" y="240"/>
                  </a:lnTo>
                  <a:lnTo>
                    <a:pt x="87" y="232"/>
                  </a:lnTo>
                  <a:lnTo>
                    <a:pt x="76" y="226"/>
                  </a:lnTo>
                  <a:lnTo>
                    <a:pt x="67" y="223"/>
                  </a:lnTo>
                  <a:lnTo>
                    <a:pt x="64" y="222"/>
                  </a:lnTo>
                  <a:lnTo>
                    <a:pt x="80" y="167"/>
                  </a:lnTo>
                  <a:lnTo>
                    <a:pt x="85" y="168"/>
                  </a:lnTo>
                  <a:lnTo>
                    <a:pt x="94" y="171"/>
                  </a:lnTo>
                  <a:lnTo>
                    <a:pt x="108" y="178"/>
                  </a:lnTo>
                  <a:lnTo>
                    <a:pt x="124" y="188"/>
                  </a:lnTo>
                  <a:lnTo>
                    <a:pt x="144" y="200"/>
                  </a:lnTo>
                  <a:lnTo>
                    <a:pt x="163" y="218"/>
                  </a:lnTo>
                  <a:lnTo>
                    <a:pt x="183" y="238"/>
                  </a:lnTo>
                  <a:lnTo>
                    <a:pt x="196" y="216"/>
                  </a:lnTo>
                  <a:lnTo>
                    <a:pt x="211" y="191"/>
                  </a:lnTo>
                  <a:lnTo>
                    <a:pt x="228" y="164"/>
                  </a:lnTo>
                  <a:lnTo>
                    <a:pt x="246" y="136"/>
                  </a:lnTo>
                  <a:lnTo>
                    <a:pt x="267" y="108"/>
                  </a:lnTo>
                  <a:lnTo>
                    <a:pt x="288" y="80"/>
                  </a:lnTo>
                  <a:lnTo>
                    <a:pt x="285" y="80"/>
                  </a:lnTo>
                  <a:lnTo>
                    <a:pt x="281" y="80"/>
                  </a:lnTo>
                  <a:lnTo>
                    <a:pt x="125" y="80"/>
                  </a:lnTo>
                  <a:close/>
                  <a:moveTo>
                    <a:pt x="375" y="0"/>
                  </a:moveTo>
                  <a:lnTo>
                    <a:pt x="406" y="49"/>
                  </a:lnTo>
                  <a:lnTo>
                    <a:pt x="379" y="69"/>
                  </a:lnTo>
                  <a:lnTo>
                    <a:pt x="394" y="92"/>
                  </a:lnTo>
                  <a:lnTo>
                    <a:pt x="402" y="117"/>
                  </a:lnTo>
                  <a:lnTo>
                    <a:pt x="406" y="144"/>
                  </a:lnTo>
                  <a:lnTo>
                    <a:pt x="406" y="263"/>
                  </a:lnTo>
                  <a:lnTo>
                    <a:pt x="402" y="291"/>
                  </a:lnTo>
                  <a:lnTo>
                    <a:pt x="394" y="316"/>
                  </a:lnTo>
                  <a:lnTo>
                    <a:pt x="379" y="338"/>
                  </a:lnTo>
                  <a:lnTo>
                    <a:pt x="359" y="358"/>
                  </a:lnTo>
                  <a:lnTo>
                    <a:pt x="336" y="372"/>
                  </a:lnTo>
                  <a:lnTo>
                    <a:pt x="310" y="381"/>
                  </a:lnTo>
                  <a:lnTo>
                    <a:pt x="281" y="384"/>
                  </a:lnTo>
                  <a:lnTo>
                    <a:pt x="125" y="384"/>
                  </a:lnTo>
                  <a:lnTo>
                    <a:pt x="97" y="381"/>
                  </a:lnTo>
                  <a:lnTo>
                    <a:pt x="71" y="372"/>
                  </a:lnTo>
                  <a:lnTo>
                    <a:pt x="48" y="358"/>
                  </a:lnTo>
                  <a:lnTo>
                    <a:pt x="29" y="338"/>
                  </a:lnTo>
                  <a:lnTo>
                    <a:pt x="13" y="316"/>
                  </a:lnTo>
                  <a:lnTo>
                    <a:pt x="4" y="291"/>
                  </a:lnTo>
                  <a:lnTo>
                    <a:pt x="0" y="263"/>
                  </a:lnTo>
                  <a:lnTo>
                    <a:pt x="0" y="144"/>
                  </a:lnTo>
                  <a:lnTo>
                    <a:pt x="4" y="117"/>
                  </a:lnTo>
                  <a:lnTo>
                    <a:pt x="13" y="91"/>
                  </a:lnTo>
                  <a:lnTo>
                    <a:pt x="29" y="68"/>
                  </a:lnTo>
                  <a:lnTo>
                    <a:pt x="48" y="49"/>
                  </a:lnTo>
                  <a:lnTo>
                    <a:pt x="71" y="35"/>
                  </a:lnTo>
                  <a:lnTo>
                    <a:pt x="97" y="25"/>
                  </a:lnTo>
                  <a:lnTo>
                    <a:pt x="125" y="22"/>
                  </a:lnTo>
                  <a:lnTo>
                    <a:pt x="281" y="22"/>
                  </a:lnTo>
                  <a:lnTo>
                    <a:pt x="308" y="25"/>
                  </a:lnTo>
                  <a:lnTo>
                    <a:pt x="332" y="34"/>
                  </a:lnTo>
                  <a:lnTo>
                    <a:pt x="354" y="15"/>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90" name="Freeform 299"/>
            <p:cNvSpPr>
              <a:spLocks noEditPoints="1"/>
            </p:cNvSpPr>
            <p:nvPr/>
          </p:nvSpPr>
          <p:spPr bwMode="auto">
            <a:xfrm>
              <a:off x="-1176949" y="5503383"/>
              <a:ext cx="63500" cy="61912"/>
            </a:xfrm>
            <a:custGeom>
              <a:avLst/>
              <a:gdLst>
                <a:gd name="T0" fmla="*/ 319 w 406"/>
                <a:gd name="T1" fmla="*/ 134 h 386"/>
                <a:gd name="T2" fmla="*/ 285 w 406"/>
                <a:gd name="T3" fmla="*/ 182 h 386"/>
                <a:gd name="T4" fmla="*/ 256 w 406"/>
                <a:gd name="T5" fmla="*/ 229 h 386"/>
                <a:gd name="T6" fmla="*/ 232 w 406"/>
                <a:gd name="T7" fmla="*/ 268 h 386"/>
                <a:gd name="T8" fmla="*/ 217 w 406"/>
                <a:gd name="T9" fmla="*/ 297 h 386"/>
                <a:gd name="T10" fmla="*/ 212 w 406"/>
                <a:gd name="T11" fmla="*/ 308 h 386"/>
                <a:gd name="T12" fmla="*/ 281 w 406"/>
                <a:gd name="T13" fmla="*/ 328 h 386"/>
                <a:gd name="T14" fmla="*/ 315 w 406"/>
                <a:gd name="T15" fmla="*/ 319 h 386"/>
                <a:gd name="T16" fmla="*/ 339 w 406"/>
                <a:gd name="T17" fmla="*/ 295 h 386"/>
                <a:gd name="T18" fmla="*/ 349 w 406"/>
                <a:gd name="T19" fmla="*/ 263 h 386"/>
                <a:gd name="T20" fmla="*/ 345 w 406"/>
                <a:gd name="T21" fmla="*/ 127 h 386"/>
                <a:gd name="T22" fmla="*/ 125 w 406"/>
                <a:gd name="T23" fmla="*/ 80 h 386"/>
                <a:gd name="T24" fmla="*/ 92 w 406"/>
                <a:gd name="T25" fmla="*/ 90 h 386"/>
                <a:gd name="T26" fmla="*/ 67 w 406"/>
                <a:gd name="T27" fmla="*/ 112 h 386"/>
                <a:gd name="T28" fmla="*/ 59 w 406"/>
                <a:gd name="T29" fmla="*/ 145 h 386"/>
                <a:gd name="T30" fmla="*/ 61 w 406"/>
                <a:gd name="T31" fmla="*/ 280 h 386"/>
                <a:gd name="T32" fmla="*/ 78 w 406"/>
                <a:gd name="T33" fmla="*/ 308 h 386"/>
                <a:gd name="T34" fmla="*/ 108 w 406"/>
                <a:gd name="T35" fmla="*/ 325 h 386"/>
                <a:gd name="T36" fmla="*/ 170 w 406"/>
                <a:gd name="T37" fmla="*/ 328 h 386"/>
                <a:gd name="T38" fmla="*/ 147 w 406"/>
                <a:gd name="T39" fmla="*/ 286 h 386"/>
                <a:gd name="T40" fmla="*/ 116 w 406"/>
                <a:gd name="T41" fmla="*/ 252 h 386"/>
                <a:gd name="T42" fmla="*/ 87 w 406"/>
                <a:gd name="T43" fmla="*/ 233 h 386"/>
                <a:gd name="T44" fmla="*/ 67 w 406"/>
                <a:gd name="T45" fmla="*/ 224 h 386"/>
                <a:gd name="T46" fmla="*/ 80 w 406"/>
                <a:gd name="T47" fmla="*/ 167 h 386"/>
                <a:gd name="T48" fmla="*/ 94 w 406"/>
                <a:gd name="T49" fmla="*/ 173 h 386"/>
                <a:gd name="T50" fmla="*/ 124 w 406"/>
                <a:gd name="T51" fmla="*/ 189 h 386"/>
                <a:gd name="T52" fmla="*/ 163 w 406"/>
                <a:gd name="T53" fmla="*/ 218 h 386"/>
                <a:gd name="T54" fmla="*/ 196 w 406"/>
                <a:gd name="T55" fmla="*/ 217 h 386"/>
                <a:gd name="T56" fmla="*/ 228 w 406"/>
                <a:gd name="T57" fmla="*/ 165 h 386"/>
                <a:gd name="T58" fmla="*/ 267 w 406"/>
                <a:gd name="T59" fmla="*/ 109 h 386"/>
                <a:gd name="T60" fmla="*/ 285 w 406"/>
                <a:gd name="T61" fmla="*/ 81 h 386"/>
                <a:gd name="T62" fmla="*/ 125 w 406"/>
                <a:gd name="T63" fmla="*/ 80 h 386"/>
                <a:gd name="T64" fmla="*/ 406 w 406"/>
                <a:gd name="T65" fmla="*/ 50 h 386"/>
                <a:gd name="T66" fmla="*/ 394 w 406"/>
                <a:gd name="T67" fmla="*/ 92 h 386"/>
                <a:gd name="T68" fmla="*/ 406 w 406"/>
                <a:gd name="T69" fmla="*/ 145 h 386"/>
                <a:gd name="T70" fmla="*/ 402 w 406"/>
                <a:gd name="T71" fmla="*/ 291 h 386"/>
                <a:gd name="T72" fmla="*/ 379 w 406"/>
                <a:gd name="T73" fmla="*/ 339 h 386"/>
                <a:gd name="T74" fmla="*/ 336 w 406"/>
                <a:gd name="T75" fmla="*/ 373 h 386"/>
                <a:gd name="T76" fmla="*/ 281 w 406"/>
                <a:gd name="T77" fmla="*/ 386 h 386"/>
                <a:gd name="T78" fmla="*/ 97 w 406"/>
                <a:gd name="T79" fmla="*/ 382 h 386"/>
                <a:gd name="T80" fmla="*/ 48 w 406"/>
                <a:gd name="T81" fmla="*/ 359 h 386"/>
                <a:gd name="T82" fmla="*/ 13 w 406"/>
                <a:gd name="T83" fmla="*/ 317 h 386"/>
                <a:gd name="T84" fmla="*/ 0 w 406"/>
                <a:gd name="T85" fmla="*/ 263 h 386"/>
                <a:gd name="T86" fmla="*/ 4 w 406"/>
                <a:gd name="T87" fmla="*/ 117 h 386"/>
                <a:gd name="T88" fmla="*/ 29 w 406"/>
                <a:gd name="T89" fmla="*/ 68 h 386"/>
                <a:gd name="T90" fmla="*/ 71 w 406"/>
                <a:gd name="T91" fmla="*/ 35 h 386"/>
                <a:gd name="T92" fmla="*/ 125 w 406"/>
                <a:gd name="T93" fmla="*/ 23 h 386"/>
                <a:gd name="T94" fmla="*/ 308 w 406"/>
                <a:gd name="T95" fmla="*/ 26 h 386"/>
                <a:gd name="T96" fmla="*/ 354 w 406"/>
                <a:gd name="T97" fmla="*/ 1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6">
                  <a:moveTo>
                    <a:pt x="339" y="111"/>
                  </a:moveTo>
                  <a:lnTo>
                    <a:pt x="319" y="134"/>
                  </a:lnTo>
                  <a:lnTo>
                    <a:pt x="302" y="158"/>
                  </a:lnTo>
                  <a:lnTo>
                    <a:pt x="285" y="182"/>
                  </a:lnTo>
                  <a:lnTo>
                    <a:pt x="270" y="206"/>
                  </a:lnTo>
                  <a:lnTo>
                    <a:pt x="256" y="229"/>
                  </a:lnTo>
                  <a:lnTo>
                    <a:pt x="243" y="250"/>
                  </a:lnTo>
                  <a:lnTo>
                    <a:pt x="232" y="268"/>
                  </a:lnTo>
                  <a:lnTo>
                    <a:pt x="224" y="285"/>
                  </a:lnTo>
                  <a:lnTo>
                    <a:pt x="217" y="297"/>
                  </a:lnTo>
                  <a:lnTo>
                    <a:pt x="213" y="305"/>
                  </a:lnTo>
                  <a:lnTo>
                    <a:pt x="212" y="308"/>
                  </a:lnTo>
                  <a:lnTo>
                    <a:pt x="202" y="328"/>
                  </a:lnTo>
                  <a:lnTo>
                    <a:pt x="281" y="328"/>
                  </a:lnTo>
                  <a:lnTo>
                    <a:pt x="299" y="325"/>
                  </a:lnTo>
                  <a:lnTo>
                    <a:pt x="315" y="319"/>
                  </a:lnTo>
                  <a:lnTo>
                    <a:pt x="328" y="308"/>
                  </a:lnTo>
                  <a:lnTo>
                    <a:pt x="339" y="295"/>
                  </a:lnTo>
                  <a:lnTo>
                    <a:pt x="346" y="280"/>
                  </a:lnTo>
                  <a:lnTo>
                    <a:pt x="349" y="263"/>
                  </a:lnTo>
                  <a:lnTo>
                    <a:pt x="349" y="145"/>
                  </a:lnTo>
                  <a:lnTo>
                    <a:pt x="345" y="127"/>
                  </a:lnTo>
                  <a:lnTo>
                    <a:pt x="339" y="111"/>
                  </a:lnTo>
                  <a:close/>
                  <a:moveTo>
                    <a:pt x="125" y="80"/>
                  </a:moveTo>
                  <a:lnTo>
                    <a:pt x="108" y="83"/>
                  </a:lnTo>
                  <a:lnTo>
                    <a:pt x="92" y="90"/>
                  </a:lnTo>
                  <a:lnTo>
                    <a:pt x="78" y="99"/>
                  </a:lnTo>
                  <a:lnTo>
                    <a:pt x="67" y="112"/>
                  </a:lnTo>
                  <a:lnTo>
                    <a:pt x="61" y="127"/>
                  </a:lnTo>
                  <a:lnTo>
                    <a:pt x="59" y="145"/>
                  </a:lnTo>
                  <a:lnTo>
                    <a:pt x="59" y="263"/>
                  </a:lnTo>
                  <a:lnTo>
                    <a:pt x="61" y="280"/>
                  </a:lnTo>
                  <a:lnTo>
                    <a:pt x="67" y="295"/>
                  </a:lnTo>
                  <a:lnTo>
                    <a:pt x="78" y="308"/>
                  </a:lnTo>
                  <a:lnTo>
                    <a:pt x="92" y="319"/>
                  </a:lnTo>
                  <a:lnTo>
                    <a:pt x="108" y="325"/>
                  </a:lnTo>
                  <a:lnTo>
                    <a:pt x="125" y="328"/>
                  </a:lnTo>
                  <a:lnTo>
                    <a:pt x="170" y="328"/>
                  </a:lnTo>
                  <a:lnTo>
                    <a:pt x="160" y="308"/>
                  </a:lnTo>
                  <a:lnTo>
                    <a:pt x="147" y="286"/>
                  </a:lnTo>
                  <a:lnTo>
                    <a:pt x="132" y="267"/>
                  </a:lnTo>
                  <a:lnTo>
                    <a:pt x="116" y="252"/>
                  </a:lnTo>
                  <a:lnTo>
                    <a:pt x="101" y="242"/>
                  </a:lnTo>
                  <a:lnTo>
                    <a:pt x="87" y="233"/>
                  </a:lnTo>
                  <a:lnTo>
                    <a:pt x="76" y="228"/>
                  </a:lnTo>
                  <a:lnTo>
                    <a:pt x="67" y="224"/>
                  </a:lnTo>
                  <a:lnTo>
                    <a:pt x="64" y="223"/>
                  </a:lnTo>
                  <a:lnTo>
                    <a:pt x="80" y="167"/>
                  </a:lnTo>
                  <a:lnTo>
                    <a:pt x="85" y="169"/>
                  </a:lnTo>
                  <a:lnTo>
                    <a:pt x="94" y="173"/>
                  </a:lnTo>
                  <a:lnTo>
                    <a:pt x="108" y="179"/>
                  </a:lnTo>
                  <a:lnTo>
                    <a:pt x="124" y="189"/>
                  </a:lnTo>
                  <a:lnTo>
                    <a:pt x="144" y="202"/>
                  </a:lnTo>
                  <a:lnTo>
                    <a:pt x="163" y="218"/>
                  </a:lnTo>
                  <a:lnTo>
                    <a:pt x="183" y="238"/>
                  </a:lnTo>
                  <a:lnTo>
                    <a:pt x="196" y="217"/>
                  </a:lnTo>
                  <a:lnTo>
                    <a:pt x="211" y="192"/>
                  </a:lnTo>
                  <a:lnTo>
                    <a:pt x="228" y="165"/>
                  </a:lnTo>
                  <a:lnTo>
                    <a:pt x="246" y="137"/>
                  </a:lnTo>
                  <a:lnTo>
                    <a:pt x="267" y="109"/>
                  </a:lnTo>
                  <a:lnTo>
                    <a:pt x="288" y="81"/>
                  </a:lnTo>
                  <a:lnTo>
                    <a:pt x="285" y="81"/>
                  </a:lnTo>
                  <a:lnTo>
                    <a:pt x="281" y="80"/>
                  </a:lnTo>
                  <a:lnTo>
                    <a:pt x="125" y="80"/>
                  </a:lnTo>
                  <a:close/>
                  <a:moveTo>
                    <a:pt x="375" y="0"/>
                  </a:moveTo>
                  <a:lnTo>
                    <a:pt x="406" y="50"/>
                  </a:lnTo>
                  <a:lnTo>
                    <a:pt x="379" y="69"/>
                  </a:lnTo>
                  <a:lnTo>
                    <a:pt x="394" y="92"/>
                  </a:lnTo>
                  <a:lnTo>
                    <a:pt x="402" y="118"/>
                  </a:lnTo>
                  <a:lnTo>
                    <a:pt x="406" y="145"/>
                  </a:lnTo>
                  <a:lnTo>
                    <a:pt x="406" y="263"/>
                  </a:lnTo>
                  <a:lnTo>
                    <a:pt x="402" y="291"/>
                  </a:lnTo>
                  <a:lnTo>
                    <a:pt x="394" y="317"/>
                  </a:lnTo>
                  <a:lnTo>
                    <a:pt x="379" y="339"/>
                  </a:lnTo>
                  <a:lnTo>
                    <a:pt x="359" y="359"/>
                  </a:lnTo>
                  <a:lnTo>
                    <a:pt x="336" y="373"/>
                  </a:lnTo>
                  <a:lnTo>
                    <a:pt x="310" y="382"/>
                  </a:lnTo>
                  <a:lnTo>
                    <a:pt x="281" y="386"/>
                  </a:lnTo>
                  <a:lnTo>
                    <a:pt x="125" y="386"/>
                  </a:lnTo>
                  <a:lnTo>
                    <a:pt x="97" y="382"/>
                  </a:lnTo>
                  <a:lnTo>
                    <a:pt x="71" y="373"/>
                  </a:lnTo>
                  <a:lnTo>
                    <a:pt x="48" y="359"/>
                  </a:lnTo>
                  <a:lnTo>
                    <a:pt x="29" y="339"/>
                  </a:lnTo>
                  <a:lnTo>
                    <a:pt x="13" y="317"/>
                  </a:lnTo>
                  <a:lnTo>
                    <a:pt x="4" y="291"/>
                  </a:lnTo>
                  <a:lnTo>
                    <a:pt x="0" y="263"/>
                  </a:lnTo>
                  <a:lnTo>
                    <a:pt x="0" y="145"/>
                  </a:lnTo>
                  <a:lnTo>
                    <a:pt x="4" y="117"/>
                  </a:lnTo>
                  <a:lnTo>
                    <a:pt x="13" y="91"/>
                  </a:lnTo>
                  <a:lnTo>
                    <a:pt x="29" y="68"/>
                  </a:lnTo>
                  <a:lnTo>
                    <a:pt x="48" y="50"/>
                  </a:lnTo>
                  <a:lnTo>
                    <a:pt x="71" y="35"/>
                  </a:lnTo>
                  <a:lnTo>
                    <a:pt x="97" y="26"/>
                  </a:lnTo>
                  <a:lnTo>
                    <a:pt x="125" y="23"/>
                  </a:lnTo>
                  <a:lnTo>
                    <a:pt x="281" y="23"/>
                  </a:lnTo>
                  <a:lnTo>
                    <a:pt x="308" y="26"/>
                  </a:lnTo>
                  <a:lnTo>
                    <a:pt x="332" y="34"/>
                  </a:lnTo>
                  <a:lnTo>
                    <a:pt x="354" y="16"/>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91" name="Freeform 300"/>
            <p:cNvSpPr>
              <a:spLocks noEditPoints="1"/>
            </p:cNvSpPr>
            <p:nvPr/>
          </p:nvSpPr>
          <p:spPr bwMode="auto">
            <a:xfrm>
              <a:off x="-1176949" y="5573233"/>
              <a:ext cx="63500" cy="61912"/>
            </a:xfrm>
            <a:custGeom>
              <a:avLst/>
              <a:gdLst>
                <a:gd name="T0" fmla="*/ 319 w 406"/>
                <a:gd name="T1" fmla="*/ 134 h 385"/>
                <a:gd name="T2" fmla="*/ 285 w 406"/>
                <a:gd name="T3" fmla="*/ 181 h 385"/>
                <a:gd name="T4" fmla="*/ 256 w 406"/>
                <a:gd name="T5" fmla="*/ 228 h 385"/>
                <a:gd name="T6" fmla="*/ 232 w 406"/>
                <a:gd name="T7" fmla="*/ 267 h 385"/>
                <a:gd name="T8" fmla="*/ 217 w 406"/>
                <a:gd name="T9" fmla="*/ 297 h 385"/>
                <a:gd name="T10" fmla="*/ 212 w 406"/>
                <a:gd name="T11" fmla="*/ 307 h 385"/>
                <a:gd name="T12" fmla="*/ 281 w 406"/>
                <a:gd name="T13" fmla="*/ 327 h 385"/>
                <a:gd name="T14" fmla="*/ 315 w 406"/>
                <a:gd name="T15" fmla="*/ 318 h 385"/>
                <a:gd name="T16" fmla="*/ 339 w 406"/>
                <a:gd name="T17" fmla="*/ 295 h 385"/>
                <a:gd name="T18" fmla="*/ 349 w 406"/>
                <a:gd name="T19" fmla="*/ 262 h 385"/>
                <a:gd name="T20" fmla="*/ 345 w 406"/>
                <a:gd name="T21" fmla="*/ 126 h 385"/>
                <a:gd name="T22" fmla="*/ 125 w 406"/>
                <a:gd name="T23" fmla="*/ 79 h 385"/>
                <a:gd name="T24" fmla="*/ 92 w 406"/>
                <a:gd name="T25" fmla="*/ 89 h 385"/>
                <a:gd name="T26" fmla="*/ 67 w 406"/>
                <a:gd name="T27" fmla="*/ 111 h 385"/>
                <a:gd name="T28" fmla="*/ 59 w 406"/>
                <a:gd name="T29" fmla="*/ 145 h 385"/>
                <a:gd name="T30" fmla="*/ 61 w 406"/>
                <a:gd name="T31" fmla="*/ 279 h 385"/>
                <a:gd name="T32" fmla="*/ 78 w 406"/>
                <a:gd name="T33" fmla="*/ 308 h 385"/>
                <a:gd name="T34" fmla="*/ 108 w 406"/>
                <a:gd name="T35" fmla="*/ 324 h 385"/>
                <a:gd name="T36" fmla="*/ 170 w 406"/>
                <a:gd name="T37" fmla="*/ 327 h 385"/>
                <a:gd name="T38" fmla="*/ 147 w 406"/>
                <a:gd name="T39" fmla="*/ 285 h 385"/>
                <a:gd name="T40" fmla="*/ 116 w 406"/>
                <a:gd name="T41" fmla="*/ 252 h 385"/>
                <a:gd name="T42" fmla="*/ 87 w 406"/>
                <a:gd name="T43" fmla="*/ 232 h 385"/>
                <a:gd name="T44" fmla="*/ 67 w 406"/>
                <a:gd name="T45" fmla="*/ 223 h 385"/>
                <a:gd name="T46" fmla="*/ 80 w 406"/>
                <a:gd name="T47" fmla="*/ 167 h 385"/>
                <a:gd name="T48" fmla="*/ 94 w 406"/>
                <a:gd name="T49" fmla="*/ 172 h 385"/>
                <a:gd name="T50" fmla="*/ 124 w 406"/>
                <a:gd name="T51" fmla="*/ 188 h 385"/>
                <a:gd name="T52" fmla="*/ 163 w 406"/>
                <a:gd name="T53" fmla="*/ 217 h 385"/>
                <a:gd name="T54" fmla="*/ 196 w 406"/>
                <a:gd name="T55" fmla="*/ 216 h 385"/>
                <a:gd name="T56" fmla="*/ 228 w 406"/>
                <a:gd name="T57" fmla="*/ 164 h 385"/>
                <a:gd name="T58" fmla="*/ 267 w 406"/>
                <a:gd name="T59" fmla="*/ 108 h 385"/>
                <a:gd name="T60" fmla="*/ 285 w 406"/>
                <a:gd name="T61" fmla="*/ 80 h 385"/>
                <a:gd name="T62" fmla="*/ 125 w 406"/>
                <a:gd name="T63" fmla="*/ 79 h 385"/>
                <a:gd name="T64" fmla="*/ 406 w 406"/>
                <a:gd name="T65" fmla="*/ 49 h 385"/>
                <a:gd name="T66" fmla="*/ 394 w 406"/>
                <a:gd name="T67" fmla="*/ 91 h 385"/>
                <a:gd name="T68" fmla="*/ 406 w 406"/>
                <a:gd name="T69" fmla="*/ 145 h 385"/>
                <a:gd name="T70" fmla="*/ 402 w 406"/>
                <a:gd name="T71" fmla="*/ 290 h 385"/>
                <a:gd name="T72" fmla="*/ 379 w 406"/>
                <a:gd name="T73" fmla="*/ 338 h 385"/>
                <a:gd name="T74" fmla="*/ 336 w 406"/>
                <a:gd name="T75" fmla="*/ 372 h 385"/>
                <a:gd name="T76" fmla="*/ 281 w 406"/>
                <a:gd name="T77" fmla="*/ 385 h 385"/>
                <a:gd name="T78" fmla="*/ 97 w 406"/>
                <a:gd name="T79" fmla="*/ 382 h 385"/>
                <a:gd name="T80" fmla="*/ 48 w 406"/>
                <a:gd name="T81" fmla="*/ 358 h 385"/>
                <a:gd name="T82" fmla="*/ 13 w 406"/>
                <a:gd name="T83" fmla="*/ 316 h 385"/>
                <a:gd name="T84" fmla="*/ 0 w 406"/>
                <a:gd name="T85" fmla="*/ 262 h 385"/>
                <a:gd name="T86" fmla="*/ 4 w 406"/>
                <a:gd name="T87" fmla="*/ 117 h 385"/>
                <a:gd name="T88" fmla="*/ 29 w 406"/>
                <a:gd name="T89" fmla="*/ 68 h 385"/>
                <a:gd name="T90" fmla="*/ 71 w 406"/>
                <a:gd name="T91" fmla="*/ 35 h 385"/>
                <a:gd name="T92" fmla="*/ 125 w 406"/>
                <a:gd name="T93" fmla="*/ 22 h 385"/>
                <a:gd name="T94" fmla="*/ 308 w 406"/>
                <a:gd name="T95" fmla="*/ 25 h 385"/>
                <a:gd name="T96" fmla="*/ 354 w 406"/>
                <a:gd name="T97"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5">
                  <a:moveTo>
                    <a:pt x="339" y="110"/>
                  </a:moveTo>
                  <a:lnTo>
                    <a:pt x="319" y="134"/>
                  </a:lnTo>
                  <a:lnTo>
                    <a:pt x="302" y="158"/>
                  </a:lnTo>
                  <a:lnTo>
                    <a:pt x="285" y="181"/>
                  </a:lnTo>
                  <a:lnTo>
                    <a:pt x="270" y="205"/>
                  </a:lnTo>
                  <a:lnTo>
                    <a:pt x="256" y="228"/>
                  </a:lnTo>
                  <a:lnTo>
                    <a:pt x="243" y="249"/>
                  </a:lnTo>
                  <a:lnTo>
                    <a:pt x="232" y="267"/>
                  </a:lnTo>
                  <a:lnTo>
                    <a:pt x="224" y="284"/>
                  </a:lnTo>
                  <a:lnTo>
                    <a:pt x="217" y="297"/>
                  </a:lnTo>
                  <a:lnTo>
                    <a:pt x="213" y="304"/>
                  </a:lnTo>
                  <a:lnTo>
                    <a:pt x="212" y="307"/>
                  </a:lnTo>
                  <a:lnTo>
                    <a:pt x="202" y="327"/>
                  </a:lnTo>
                  <a:lnTo>
                    <a:pt x="281" y="327"/>
                  </a:lnTo>
                  <a:lnTo>
                    <a:pt x="299" y="324"/>
                  </a:lnTo>
                  <a:lnTo>
                    <a:pt x="315" y="318"/>
                  </a:lnTo>
                  <a:lnTo>
                    <a:pt x="328" y="308"/>
                  </a:lnTo>
                  <a:lnTo>
                    <a:pt x="339" y="295"/>
                  </a:lnTo>
                  <a:lnTo>
                    <a:pt x="346" y="279"/>
                  </a:lnTo>
                  <a:lnTo>
                    <a:pt x="349" y="262"/>
                  </a:lnTo>
                  <a:lnTo>
                    <a:pt x="349" y="145"/>
                  </a:lnTo>
                  <a:lnTo>
                    <a:pt x="345" y="126"/>
                  </a:lnTo>
                  <a:lnTo>
                    <a:pt x="339" y="110"/>
                  </a:lnTo>
                  <a:close/>
                  <a:moveTo>
                    <a:pt x="125" y="79"/>
                  </a:moveTo>
                  <a:lnTo>
                    <a:pt x="108" y="82"/>
                  </a:lnTo>
                  <a:lnTo>
                    <a:pt x="92" y="89"/>
                  </a:lnTo>
                  <a:lnTo>
                    <a:pt x="78" y="99"/>
                  </a:lnTo>
                  <a:lnTo>
                    <a:pt x="67" y="111"/>
                  </a:lnTo>
                  <a:lnTo>
                    <a:pt x="61" y="128"/>
                  </a:lnTo>
                  <a:lnTo>
                    <a:pt x="59" y="145"/>
                  </a:lnTo>
                  <a:lnTo>
                    <a:pt x="59" y="262"/>
                  </a:lnTo>
                  <a:lnTo>
                    <a:pt x="61" y="279"/>
                  </a:lnTo>
                  <a:lnTo>
                    <a:pt x="67" y="295"/>
                  </a:lnTo>
                  <a:lnTo>
                    <a:pt x="78" y="308"/>
                  </a:lnTo>
                  <a:lnTo>
                    <a:pt x="92" y="318"/>
                  </a:lnTo>
                  <a:lnTo>
                    <a:pt x="108" y="324"/>
                  </a:lnTo>
                  <a:lnTo>
                    <a:pt x="125" y="327"/>
                  </a:lnTo>
                  <a:lnTo>
                    <a:pt x="170" y="327"/>
                  </a:lnTo>
                  <a:lnTo>
                    <a:pt x="160" y="307"/>
                  </a:lnTo>
                  <a:lnTo>
                    <a:pt x="147" y="285"/>
                  </a:lnTo>
                  <a:lnTo>
                    <a:pt x="132" y="266"/>
                  </a:lnTo>
                  <a:lnTo>
                    <a:pt x="116" y="252"/>
                  </a:lnTo>
                  <a:lnTo>
                    <a:pt x="101" y="241"/>
                  </a:lnTo>
                  <a:lnTo>
                    <a:pt x="87" y="232"/>
                  </a:lnTo>
                  <a:lnTo>
                    <a:pt x="76" y="227"/>
                  </a:lnTo>
                  <a:lnTo>
                    <a:pt x="67" y="223"/>
                  </a:lnTo>
                  <a:lnTo>
                    <a:pt x="64" y="222"/>
                  </a:lnTo>
                  <a:lnTo>
                    <a:pt x="80" y="167"/>
                  </a:lnTo>
                  <a:lnTo>
                    <a:pt x="85" y="168"/>
                  </a:lnTo>
                  <a:lnTo>
                    <a:pt x="94" y="172"/>
                  </a:lnTo>
                  <a:lnTo>
                    <a:pt x="108" y="178"/>
                  </a:lnTo>
                  <a:lnTo>
                    <a:pt x="124" y="188"/>
                  </a:lnTo>
                  <a:lnTo>
                    <a:pt x="144" y="201"/>
                  </a:lnTo>
                  <a:lnTo>
                    <a:pt x="163" y="217"/>
                  </a:lnTo>
                  <a:lnTo>
                    <a:pt x="183" y="238"/>
                  </a:lnTo>
                  <a:lnTo>
                    <a:pt x="196" y="216"/>
                  </a:lnTo>
                  <a:lnTo>
                    <a:pt x="211" y="191"/>
                  </a:lnTo>
                  <a:lnTo>
                    <a:pt x="228" y="164"/>
                  </a:lnTo>
                  <a:lnTo>
                    <a:pt x="246" y="136"/>
                  </a:lnTo>
                  <a:lnTo>
                    <a:pt x="267" y="108"/>
                  </a:lnTo>
                  <a:lnTo>
                    <a:pt x="288" y="80"/>
                  </a:lnTo>
                  <a:lnTo>
                    <a:pt x="285" y="80"/>
                  </a:lnTo>
                  <a:lnTo>
                    <a:pt x="281" y="79"/>
                  </a:lnTo>
                  <a:lnTo>
                    <a:pt x="125" y="79"/>
                  </a:lnTo>
                  <a:close/>
                  <a:moveTo>
                    <a:pt x="375" y="0"/>
                  </a:moveTo>
                  <a:lnTo>
                    <a:pt x="406" y="49"/>
                  </a:lnTo>
                  <a:lnTo>
                    <a:pt x="379" y="69"/>
                  </a:lnTo>
                  <a:lnTo>
                    <a:pt x="394" y="91"/>
                  </a:lnTo>
                  <a:lnTo>
                    <a:pt x="402" y="117"/>
                  </a:lnTo>
                  <a:lnTo>
                    <a:pt x="406" y="145"/>
                  </a:lnTo>
                  <a:lnTo>
                    <a:pt x="406" y="262"/>
                  </a:lnTo>
                  <a:lnTo>
                    <a:pt x="402" y="290"/>
                  </a:lnTo>
                  <a:lnTo>
                    <a:pt x="394" y="316"/>
                  </a:lnTo>
                  <a:lnTo>
                    <a:pt x="379" y="338"/>
                  </a:lnTo>
                  <a:lnTo>
                    <a:pt x="359" y="358"/>
                  </a:lnTo>
                  <a:lnTo>
                    <a:pt x="336" y="372"/>
                  </a:lnTo>
                  <a:lnTo>
                    <a:pt x="310" y="382"/>
                  </a:lnTo>
                  <a:lnTo>
                    <a:pt x="281" y="385"/>
                  </a:lnTo>
                  <a:lnTo>
                    <a:pt x="125" y="385"/>
                  </a:lnTo>
                  <a:lnTo>
                    <a:pt x="97" y="382"/>
                  </a:lnTo>
                  <a:lnTo>
                    <a:pt x="71" y="372"/>
                  </a:lnTo>
                  <a:lnTo>
                    <a:pt x="48" y="358"/>
                  </a:lnTo>
                  <a:lnTo>
                    <a:pt x="29" y="338"/>
                  </a:lnTo>
                  <a:lnTo>
                    <a:pt x="13" y="316"/>
                  </a:lnTo>
                  <a:lnTo>
                    <a:pt x="4" y="290"/>
                  </a:lnTo>
                  <a:lnTo>
                    <a:pt x="0" y="262"/>
                  </a:lnTo>
                  <a:lnTo>
                    <a:pt x="0" y="145"/>
                  </a:lnTo>
                  <a:lnTo>
                    <a:pt x="4" y="117"/>
                  </a:lnTo>
                  <a:lnTo>
                    <a:pt x="13" y="91"/>
                  </a:lnTo>
                  <a:lnTo>
                    <a:pt x="29" y="68"/>
                  </a:lnTo>
                  <a:lnTo>
                    <a:pt x="48" y="49"/>
                  </a:lnTo>
                  <a:lnTo>
                    <a:pt x="71" y="35"/>
                  </a:lnTo>
                  <a:lnTo>
                    <a:pt x="97" y="25"/>
                  </a:lnTo>
                  <a:lnTo>
                    <a:pt x="125" y="22"/>
                  </a:lnTo>
                  <a:lnTo>
                    <a:pt x="281" y="22"/>
                  </a:lnTo>
                  <a:lnTo>
                    <a:pt x="308" y="25"/>
                  </a:lnTo>
                  <a:lnTo>
                    <a:pt x="332" y="33"/>
                  </a:lnTo>
                  <a:lnTo>
                    <a:pt x="354" y="16"/>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92" name="Freeform 301"/>
            <p:cNvSpPr>
              <a:spLocks noEditPoints="1"/>
            </p:cNvSpPr>
            <p:nvPr/>
          </p:nvSpPr>
          <p:spPr bwMode="auto">
            <a:xfrm>
              <a:off x="-1176949" y="5644671"/>
              <a:ext cx="63500" cy="58737"/>
            </a:xfrm>
            <a:custGeom>
              <a:avLst/>
              <a:gdLst>
                <a:gd name="T0" fmla="*/ 323 w 406"/>
                <a:gd name="T1" fmla="*/ 130 h 377"/>
                <a:gd name="T2" fmla="*/ 287 w 406"/>
                <a:gd name="T3" fmla="*/ 179 h 377"/>
                <a:gd name="T4" fmla="*/ 257 w 406"/>
                <a:gd name="T5" fmla="*/ 226 h 377"/>
                <a:gd name="T6" fmla="*/ 233 w 406"/>
                <a:gd name="T7" fmla="*/ 267 h 377"/>
                <a:gd name="T8" fmla="*/ 217 w 406"/>
                <a:gd name="T9" fmla="*/ 296 h 377"/>
                <a:gd name="T10" fmla="*/ 212 w 406"/>
                <a:gd name="T11" fmla="*/ 308 h 377"/>
                <a:gd name="T12" fmla="*/ 281 w 406"/>
                <a:gd name="T13" fmla="*/ 319 h 377"/>
                <a:gd name="T14" fmla="*/ 315 w 406"/>
                <a:gd name="T15" fmla="*/ 310 h 377"/>
                <a:gd name="T16" fmla="*/ 339 w 406"/>
                <a:gd name="T17" fmla="*/ 287 h 377"/>
                <a:gd name="T18" fmla="*/ 349 w 406"/>
                <a:gd name="T19" fmla="*/ 254 h 377"/>
                <a:gd name="T20" fmla="*/ 349 w 406"/>
                <a:gd name="T21" fmla="*/ 137 h 377"/>
                <a:gd name="T22" fmla="*/ 341 w 406"/>
                <a:gd name="T23" fmla="*/ 108 h 377"/>
                <a:gd name="T24" fmla="*/ 108 w 406"/>
                <a:gd name="T25" fmla="*/ 74 h 377"/>
                <a:gd name="T26" fmla="*/ 78 w 406"/>
                <a:gd name="T27" fmla="*/ 90 h 377"/>
                <a:gd name="T28" fmla="*/ 61 w 406"/>
                <a:gd name="T29" fmla="*/ 120 h 377"/>
                <a:gd name="T30" fmla="*/ 59 w 406"/>
                <a:gd name="T31" fmla="*/ 254 h 377"/>
                <a:gd name="T32" fmla="*/ 67 w 406"/>
                <a:gd name="T33" fmla="*/ 287 h 377"/>
                <a:gd name="T34" fmla="*/ 92 w 406"/>
                <a:gd name="T35" fmla="*/ 310 h 377"/>
                <a:gd name="T36" fmla="*/ 125 w 406"/>
                <a:gd name="T37" fmla="*/ 320 h 377"/>
                <a:gd name="T38" fmla="*/ 160 w 406"/>
                <a:gd name="T39" fmla="*/ 308 h 377"/>
                <a:gd name="T40" fmla="*/ 132 w 406"/>
                <a:gd name="T41" fmla="*/ 267 h 377"/>
                <a:gd name="T42" fmla="*/ 101 w 406"/>
                <a:gd name="T43" fmla="*/ 241 h 377"/>
                <a:gd name="T44" fmla="*/ 76 w 406"/>
                <a:gd name="T45" fmla="*/ 227 h 377"/>
                <a:gd name="T46" fmla="*/ 64 w 406"/>
                <a:gd name="T47" fmla="*/ 222 h 377"/>
                <a:gd name="T48" fmla="*/ 85 w 406"/>
                <a:gd name="T49" fmla="*/ 169 h 377"/>
                <a:gd name="T50" fmla="*/ 108 w 406"/>
                <a:gd name="T51" fmla="*/ 179 h 377"/>
                <a:gd name="T52" fmla="*/ 144 w 406"/>
                <a:gd name="T53" fmla="*/ 201 h 377"/>
                <a:gd name="T54" fmla="*/ 183 w 406"/>
                <a:gd name="T55" fmla="*/ 238 h 377"/>
                <a:gd name="T56" fmla="*/ 212 w 406"/>
                <a:gd name="T57" fmla="*/ 188 h 377"/>
                <a:gd name="T58" fmla="*/ 250 w 406"/>
                <a:gd name="T59" fmla="*/ 131 h 377"/>
                <a:gd name="T60" fmla="*/ 295 w 406"/>
                <a:gd name="T61" fmla="*/ 73 h 377"/>
                <a:gd name="T62" fmla="*/ 281 w 406"/>
                <a:gd name="T63" fmla="*/ 72 h 377"/>
                <a:gd name="T64" fmla="*/ 375 w 406"/>
                <a:gd name="T65" fmla="*/ 0 h 377"/>
                <a:gd name="T66" fmla="*/ 383 w 406"/>
                <a:gd name="T67" fmla="*/ 66 h 377"/>
                <a:gd name="T68" fmla="*/ 403 w 406"/>
                <a:gd name="T69" fmla="*/ 111 h 377"/>
                <a:gd name="T70" fmla="*/ 406 w 406"/>
                <a:gd name="T71" fmla="*/ 254 h 377"/>
                <a:gd name="T72" fmla="*/ 394 w 406"/>
                <a:gd name="T73" fmla="*/ 308 h 377"/>
                <a:gd name="T74" fmla="*/ 359 w 406"/>
                <a:gd name="T75" fmla="*/ 350 h 377"/>
                <a:gd name="T76" fmla="*/ 310 w 406"/>
                <a:gd name="T77" fmla="*/ 373 h 377"/>
                <a:gd name="T78" fmla="*/ 125 w 406"/>
                <a:gd name="T79" fmla="*/ 377 h 377"/>
                <a:gd name="T80" fmla="*/ 71 w 406"/>
                <a:gd name="T81" fmla="*/ 364 h 377"/>
                <a:gd name="T82" fmla="*/ 29 w 406"/>
                <a:gd name="T83" fmla="*/ 330 h 377"/>
                <a:gd name="T84" fmla="*/ 4 w 406"/>
                <a:gd name="T85" fmla="*/ 282 h 377"/>
                <a:gd name="T86" fmla="*/ 0 w 406"/>
                <a:gd name="T87" fmla="*/ 137 h 377"/>
                <a:gd name="T88" fmla="*/ 13 w 406"/>
                <a:gd name="T89" fmla="*/ 83 h 377"/>
                <a:gd name="T90" fmla="*/ 48 w 406"/>
                <a:gd name="T91" fmla="*/ 41 h 377"/>
                <a:gd name="T92" fmla="*/ 97 w 406"/>
                <a:gd name="T93" fmla="*/ 17 h 377"/>
                <a:gd name="T94" fmla="*/ 281 w 406"/>
                <a:gd name="T95" fmla="*/ 14 h 377"/>
                <a:gd name="T96" fmla="*/ 321 w 406"/>
                <a:gd name="T97" fmla="*/ 21 h 377"/>
                <a:gd name="T98" fmla="*/ 357 w 406"/>
                <a:gd name="T99" fmla="*/ 1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377">
                  <a:moveTo>
                    <a:pt x="341" y="108"/>
                  </a:moveTo>
                  <a:lnTo>
                    <a:pt x="323" y="130"/>
                  </a:lnTo>
                  <a:lnTo>
                    <a:pt x="304" y="155"/>
                  </a:lnTo>
                  <a:lnTo>
                    <a:pt x="287" y="179"/>
                  </a:lnTo>
                  <a:lnTo>
                    <a:pt x="271" y="203"/>
                  </a:lnTo>
                  <a:lnTo>
                    <a:pt x="257" y="226"/>
                  </a:lnTo>
                  <a:lnTo>
                    <a:pt x="244" y="248"/>
                  </a:lnTo>
                  <a:lnTo>
                    <a:pt x="233" y="267"/>
                  </a:lnTo>
                  <a:lnTo>
                    <a:pt x="225" y="283"/>
                  </a:lnTo>
                  <a:lnTo>
                    <a:pt x="217" y="296"/>
                  </a:lnTo>
                  <a:lnTo>
                    <a:pt x="213" y="305"/>
                  </a:lnTo>
                  <a:lnTo>
                    <a:pt x="212" y="308"/>
                  </a:lnTo>
                  <a:lnTo>
                    <a:pt x="206" y="319"/>
                  </a:lnTo>
                  <a:lnTo>
                    <a:pt x="281" y="319"/>
                  </a:lnTo>
                  <a:lnTo>
                    <a:pt x="299" y="316"/>
                  </a:lnTo>
                  <a:lnTo>
                    <a:pt x="315" y="310"/>
                  </a:lnTo>
                  <a:lnTo>
                    <a:pt x="328" y="300"/>
                  </a:lnTo>
                  <a:lnTo>
                    <a:pt x="339" y="287"/>
                  </a:lnTo>
                  <a:lnTo>
                    <a:pt x="346" y="271"/>
                  </a:lnTo>
                  <a:lnTo>
                    <a:pt x="349" y="254"/>
                  </a:lnTo>
                  <a:lnTo>
                    <a:pt x="349" y="254"/>
                  </a:lnTo>
                  <a:lnTo>
                    <a:pt x="349" y="137"/>
                  </a:lnTo>
                  <a:lnTo>
                    <a:pt x="346" y="122"/>
                  </a:lnTo>
                  <a:lnTo>
                    <a:pt x="341" y="108"/>
                  </a:lnTo>
                  <a:close/>
                  <a:moveTo>
                    <a:pt x="125" y="72"/>
                  </a:moveTo>
                  <a:lnTo>
                    <a:pt x="108" y="74"/>
                  </a:lnTo>
                  <a:lnTo>
                    <a:pt x="92" y="81"/>
                  </a:lnTo>
                  <a:lnTo>
                    <a:pt x="78" y="90"/>
                  </a:lnTo>
                  <a:lnTo>
                    <a:pt x="67" y="103"/>
                  </a:lnTo>
                  <a:lnTo>
                    <a:pt x="61" y="120"/>
                  </a:lnTo>
                  <a:lnTo>
                    <a:pt x="59" y="137"/>
                  </a:lnTo>
                  <a:lnTo>
                    <a:pt x="59" y="254"/>
                  </a:lnTo>
                  <a:lnTo>
                    <a:pt x="61" y="271"/>
                  </a:lnTo>
                  <a:lnTo>
                    <a:pt x="67" y="287"/>
                  </a:lnTo>
                  <a:lnTo>
                    <a:pt x="78" y="300"/>
                  </a:lnTo>
                  <a:lnTo>
                    <a:pt x="92" y="310"/>
                  </a:lnTo>
                  <a:lnTo>
                    <a:pt x="108" y="316"/>
                  </a:lnTo>
                  <a:lnTo>
                    <a:pt x="125" y="320"/>
                  </a:lnTo>
                  <a:lnTo>
                    <a:pt x="165" y="320"/>
                  </a:lnTo>
                  <a:lnTo>
                    <a:pt x="160" y="308"/>
                  </a:lnTo>
                  <a:lnTo>
                    <a:pt x="147" y="285"/>
                  </a:lnTo>
                  <a:lnTo>
                    <a:pt x="132" y="267"/>
                  </a:lnTo>
                  <a:lnTo>
                    <a:pt x="116" y="252"/>
                  </a:lnTo>
                  <a:lnTo>
                    <a:pt x="101" y="241"/>
                  </a:lnTo>
                  <a:lnTo>
                    <a:pt x="87" y="233"/>
                  </a:lnTo>
                  <a:lnTo>
                    <a:pt x="76" y="227"/>
                  </a:lnTo>
                  <a:lnTo>
                    <a:pt x="67" y="224"/>
                  </a:lnTo>
                  <a:lnTo>
                    <a:pt x="64" y="222"/>
                  </a:lnTo>
                  <a:lnTo>
                    <a:pt x="80" y="167"/>
                  </a:lnTo>
                  <a:lnTo>
                    <a:pt x="85" y="169"/>
                  </a:lnTo>
                  <a:lnTo>
                    <a:pt x="94" y="172"/>
                  </a:lnTo>
                  <a:lnTo>
                    <a:pt x="108" y="179"/>
                  </a:lnTo>
                  <a:lnTo>
                    <a:pt x="124" y="188"/>
                  </a:lnTo>
                  <a:lnTo>
                    <a:pt x="144" y="201"/>
                  </a:lnTo>
                  <a:lnTo>
                    <a:pt x="163" y="217"/>
                  </a:lnTo>
                  <a:lnTo>
                    <a:pt x="183" y="238"/>
                  </a:lnTo>
                  <a:lnTo>
                    <a:pt x="197" y="215"/>
                  </a:lnTo>
                  <a:lnTo>
                    <a:pt x="212" y="188"/>
                  </a:lnTo>
                  <a:lnTo>
                    <a:pt x="230" y="160"/>
                  </a:lnTo>
                  <a:lnTo>
                    <a:pt x="250" y="131"/>
                  </a:lnTo>
                  <a:lnTo>
                    <a:pt x="272" y="102"/>
                  </a:lnTo>
                  <a:lnTo>
                    <a:pt x="295" y="73"/>
                  </a:lnTo>
                  <a:lnTo>
                    <a:pt x="288" y="72"/>
                  </a:lnTo>
                  <a:lnTo>
                    <a:pt x="281" y="72"/>
                  </a:lnTo>
                  <a:lnTo>
                    <a:pt x="125" y="72"/>
                  </a:lnTo>
                  <a:close/>
                  <a:moveTo>
                    <a:pt x="375" y="0"/>
                  </a:moveTo>
                  <a:lnTo>
                    <a:pt x="406" y="50"/>
                  </a:lnTo>
                  <a:lnTo>
                    <a:pt x="383" y="66"/>
                  </a:lnTo>
                  <a:lnTo>
                    <a:pt x="395" y="87"/>
                  </a:lnTo>
                  <a:lnTo>
                    <a:pt x="403" y="111"/>
                  </a:lnTo>
                  <a:lnTo>
                    <a:pt x="406" y="137"/>
                  </a:lnTo>
                  <a:lnTo>
                    <a:pt x="406" y="254"/>
                  </a:lnTo>
                  <a:lnTo>
                    <a:pt x="402" y="282"/>
                  </a:lnTo>
                  <a:lnTo>
                    <a:pt x="394" y="308"/>
                  </a:lnTo>
                  <a:lnTo>
                    <a:pt x="379" y="330"/>
                  </a:lnTo>
                  <a:lnTo>
                    <a:pt x="359" y="350"/>
                  </a:lnTo>
                  <a:lnTo>
                    <a:pt x="336" y="364"/>
                  </a:lnTo>
                  <a:lnTo>
                    <a:pt x="310" y="373"/>
                  </a:lnTo>
                  <a:lnTo>
                    <a:pt x="281" y="377"/>
                  </a:lnTo>
                  <a:lnTo>
                    <a:pt x="125" y="377"/>
                  </a:lnTo>
                  <a:lnTo>
                    <a:pt x="97" y="373"/>
                  </a:lnTo>
                  <a:lnTo>
                    <a:pt x="71" y="364"/>
                  </a:lnTo>
                  <a:lnTo>
                    <a:pt x="48" y="350"/>
                  </a:lnTo>
                  <a:lnTo>
                    <a:pt x="29" y="330"/>
                  </a:lnTo>
                  <a:lnTo>
                    <a:pt x="13" y="308"/>
                  </a:lnTo>
                  <a:lnTo>
                    <a:pt x="4" y="282"/>
                  </a:lnTo>
                  <a:lnTo>
                    <a:pt x="0" y="254"/>
                  </a:lnTo>
                  <a:lnTo>
                    <a:pt x="0" y="137"/>
                  </a:lnTo>
                  <a:lnTo>
                    <a:pt x="4" y="109"/>
                  </a:lnTo>
                  <a:lnTo>
                    <a:pt x="13" y="83"/>
                  </a:lnTo>
                  <a:lnTo>
                    <a:pt x="29" y="60"/>
                  </a:lnTo>
                  <a:lnTo>
                    <a:pt x="48" y="41"/>
                  </a:lnTo>
                  <a:lnTo>
                    <a:pt x="71" y="27"/>
                  </a:lnTo>
                  <a:lnTo>
                    <a:pt x="97" y="17"/>
                  </a:lnTo>
                  <a:lnTo>
                    <a:pt x="125" y="14"/>
                  </a:lnTo>
                  <a:lnTo>
                    <a:pt x="281" y="14"/>
                  </a:lnTo>
                  <a:lnTo>
                    <a:pt x="301" y="16"/>
                  </a:lnTo>
                  <a:lnTo>
                    <a:pt x="321" y="21"/>
                  </a:lnTo>
                  <a:lnTo>
                    <a:pt x="339" y="28"/>
                  </a:lnTo>
                  <a:lnTo>
                    <a:pt x="357" y="13"/>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93" name="Freeform 302"/>
            <p:cNvSpPr>
              <a:spLocks noEditPoints="1"/>
            </p:cNvSpPr>
            <p:nvPr/>
          </p:nvSpPr>
          <p:spPr bwMode="auto">
            <a:xfrm>
              <a:off x="-1176949" y="5712933"/>
              <a:ext cx="63500" cy="60325"/>
            </a:xfrm>
            <a:custGeom>
              <a:avLst/>
              <a:gdLst>
                <a:gd name="T0" fmla="*/ 318 w 406"/>
                <a:gd name="T1" fmla="*/ 136 h 390"/>
                <a:gd name="T2" fmla="*/ 284 w 406"/>
                <a:gd name="T3" fmla="*/ 183 h 390"/>
                <a:gd name="T4" fmla="*/ 255 w 406"/>
                <a:gd name="T5" fmla="*/ 230 h 390"/>
                <a:gd name="T6" fmla="*/ 232 w 406"/>
                <a:gd name="T7" fmla="*/ 268 h 390"/>
                <a:gd name="T8" fmla="*/ 217 w 406"/>
                <a:gd name="T9" fmla="*/ 296 h 390"/>
                <a:gd name="T10" fmla="*/ 212 w 406"/>
                <a:gd name="T11" fmla="*/ 307 h 390"/>
                <a:gd name="T12" fmla="*/ 281 w 406"/>
                <a:gd name="T13" fmla="*/ 332 h 390"/>
                <a:gd name="T14" fmla="*/ 315 w 406"/>
                <a:gd name="T15" fmla="*/ 323 h 390"/>
                <a:gd name="T16" fmla="*/ 339 w 406"/>
                <a:gd name="T17" fmla="*/ 299 h 390"/>
                <a:gd name="T18" fmla="*/ 349 w 406"/>
                <a:gd name="T19" fmla="*/ 267 h 390"/>
                <a:gd name="T20" fmla="*/ 345 w 406"/>
                <a:gd name="T21" fmla="*/ 129 h 390"/>
                <a:gd name="T22" fmla="*/ 125 w 406"/>
                <a:gd name="T23" fmla="*/ 84 h 390"/>
                <a:gd name="T24" fmla="*/ 92 w 406"/>
                <a:gd name="T25" fmla="*/ 94 h 390"/>
                <a:gd name="T26" fmla="*/ 67 w 406"/>
                <a:gd name="T27" fmla="*/ 117 h 390"/>
                <a:gd name="T28" fmla="*/ 59 w 406"/>
                <a:gd name="T29" fmla="*/ 149 h 390"/>
                <a:gd name="T30" fmla="*/ 61 w 406"/>
                <a:gd name="T31" fmla="*/ 284 h 390"/>
                <a:gd name="T32" fmla="*/ 78 w 406"/>
                <a:gd name="T33" fmla="*/ 313 h 390"/>
                <a:gd name="T34" fmla="*/ 108 w 406"/>
                <a:gd name="T35" fmla="*/ 330 h 390"/>
                <a:gd name="T36" fmla="*/ 172 w 406"/>
                <a:gd name="T37" fmla="*/ 332 h 390"/>
                <a:gd name="T38" fmla="*/ 147 w 406"/>
                <a:gd name="T39" fmla="*/ 285 h 390"/>
                <a:gd name="T40" fmla="*/ 116 w 406"/>
                <a:gd name="T41" fmla="*/ 252 h 390"/>
                <a:gd name="T42" fmla="*/ 87 w 406"/>
                <a:gd name="T43" fmla="*/ 233 h 390"/>
                <a:gd name="T44" fmla="*/ 67 w 406"/>
                <a:gd name="T45" fmla="*/ 223 h 390"/>
                <a:gd name="T46" fmla="*/ 80 w 406"/>
                <a:gd name="T47" fmla="*/ 167 h 390"/>
                <a:gd name="T48" fmla="*/ 94 w 406"/>
                <a:gd name="T49" fmla="*/ 172 h 390"/>
                <a:gd name="T50" fmla="*/ 124 w 406"/>
                <a:gd name="T51" fmla="*/ 188 h 390"/>
                <a:gd name="T52" fmla="*/ 163 w 406"/>
                <a:gd name="T53" fmla="*/ 218 h 390"/>
                <a:gd name="T54" fmla="*/ 198 w 406"/>
                <a:gd name="T55" fmla="*/ 212 h 390"/>
                <a:gd name="T56" fmla="*/ 236 w 406"/>
                <a:gd name="T57" fmla="*/ 150 h 390"/>
                <a:gd name="T58" fmla="*/ 285 w 406"/>
                <a:gd name="T59" fmla="*/ 85 h 390"/>
                <a:gd name="T60" fmla="*/ 281 w 406"/>
                <a:gd name="T61" fmla="*/ 84 h 390"/>
                <a:gd name="T62" fmla="*/ 375 w 406"/>
                <a:gd name="T63" fmla="*/ 0 h 390"/>
                <a:gd name="T64" fmla="*/ 377 w 406"/>
                <a:gd name="T65" fmla="*/ 71 h 390"/>
                <a:gd name="T66" fmla="*/ 398 w 406"/>
                <a:gd name="T67" fmla="*/ 107 h 390"/>
                <a:gd name="T68" fmla="*/ 406 w 406"/>
                <a:gd name="T69" fmla="*/ 149 h 390"/>
                <a:gd name="T70" fmla="*/ 402 w 406"/>
                <a:gd name="T71" fmla="*/ 295 h 390"/>
                <a:gd name="T72" fmla="*/ 379 w 406"/>
                <a:gd name="T73" fmla="*/ 344 h 390"/>
                <a:gd name="T74" fmla="*/ 336 w 406"/>
                <a:gd name="T75" fmla="*/ 377 h 390"/>
                <a:gd name="T76" fmla="*/ 281 w 406"/>
                <a:gd name="T77" fmla="*/ 390 h 390"/>
                <a:gd name="T78" fmla="*/ 97 w 406"/>
                <a:gd name="T79" fmla="*/ 387 h 390"/>
                <a:gd name="T80" fmla="*/ 48 w 406"/>
                <a:gd name="T81" fmla="*/ 363 h 390"/>
                <a:gd name="T82" fmla="*/ 13 w 406"/>
                <a:gd name="T83" fmla="*/ 321 h 390"/>
                <a:gd name="T84" fmla="*/ 0 w 406"/>
                <a:gd name="T85" fmla="*/ 267 h 390"/>
                <a:gd name="T86" fmla="*/ 4 w 406"/>
                <a:gd name="T87" fmla="*/ 121 h 390"/>
                <a:gd name="T88" fmla="*/ 29 w 406"/>
                <a:gd name="T89" fmla="*/ 72 h 390"/>
                <a:gd name="T90" fmla="*/ 71 w 406"/>
                <a:gd name="T91" fmla="*/ 40 h 390"/>
                <a:gd name="T92" fmla="*/ 125 w 406"/>
                <a:gd name="T93" fmla="*/ 27 h 390"/>
                <a:gd name="T94" fmla="*/ 307 w 406"/>
                <a:gd name="T95" fmla="*/ 29 h 390"/>
                <a:gd name="T96" fmla="*/ 352 w 406"/>
                <a:gd name="T97" fmla="*/ 1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0">
                  <a:moveTo>
                    <a:pt x="337" y="113"/>
                  </a:moveTo>
                  <a:lnTo>
                    <a:pt x="318" y="136"/>
                  </a:lnTo>
                  <a:lnTo>
                    <a:pt x="301" y="160"/>
                  </a:lnTo>
                  <a:lnTo>
                    <a:pt x="284" y="183"/>
                  </a:lnTo>
                  <a:lnTo>
                    <a:pt x="269" y="207"/>
                  </a:lnTo>
                  <a:lnTo>
                    <a:pt x="255" y="230"/>
                  </a:lnTo>
                  <a:lnTo>
                    <a:pt x="243" y="250"/>
                  </a:lnTo>
                  <a:lnTo>
                    <a:pt x="232" y="268"/>
                  </a:lnTo>
                  <a:lnTo>
                    <a:pt x="224" y="284"/>
                  </a:lnTo>
                  <a:lnTo>
                    <a:pt x="217" y="296"/>
                  </a:lnTo>
                  <a:lnTo>
                    <a:pt x="213" y="305"/>
                  </a:lnTo>
                  <a:lnTo>
                    <a:pt x="212" y="307"/>
                  </a:lnTo>
                  <a:lnTo>
                    <a:pt x="200" y="332"/>
                  </a:lnTo>
                  <a:lnTo>
                    <a:pt x="281" y="332"/>
                  </a:lnTo>
                  <a:lnTo>
                    <a:pt x="299" y="330"/>
                  </a:lnTo>
                  <a:lnTo>
                    <a:pt x="315" y="323"/>
                  </a:lnTo>
                  <a:lnTo>
                    <a:pt x="328" y="313"/>
                  </a:lnTo>
                  <a:lnTo>
                    <a:pt x="339" y="299"/>
                  </a:lnTo>
                  <a:lnTo>
                    <a:pt x="346" y="284"/>
                  </a:lnTo>
                  <a:lnTo>
                    <a:pt x="349" y="267"/>
                  </a:lnTo>
                  <a:lnTo>
                    <a:pt x="349" y="149"/>
                  </a:lnTo>
                  <a:lnTo>
                    <a:pt x="345" y="129"/>
                  </a:lnTo>
                  <a:lnTo>
                    <a:pt x="337" y="113"/>
                  </a:lnTo>
                  <a:close/>
                  <a:moveTo>
                    <a:pt x="125" y="84"/>
                  </a:moveTo>
                  <a:lnTo>
                    <a:pt x="108" y="87"/>
                  </a:lnTo>
                  <a:lnTo>
                    <a:pt x="92" y="94"/>
                  </a:lnTo>
                  <a:lnTo>
                    <a:pt x="78" y="104"/>
                  </a:lnTo>
                  <a:lnTo>
                    <a:pt x="67" y="117"/>
                  </a:lnTo>
                  <a:lnTo>
                    <a:pt x="61" y="132"/>
                  </a:lnTo>
                  <a:lnTo>
                    <a:pt x="59" y="149"/>
                  </a:lnTo>
                  <a:lnTo>
                    <a:pt x="59" y="267"/>
                  </a:lnTo>
                  <a:lnTo>
                    <a:pt x="61" y="284"/>
                  </a:lnTo>
                  <a:lnTo>
                    <a:pt x="67" y="299"/>
                  </a:lnTo>
                  <a:lnTo>
                    <a:pt x="78" y="313"/>
                  </a:lnTo>
                  <a:lnTo>
                    <a:pt x="92" y="323"/>
                  </a:lnTo>
                  <a:lnTo>
                    <a:pt x="108" y="330"/>
                  </a:lnTo>
                  <a:lnTo>
                    <a:pt x="125" y="332"/>
                  </a:lnTo>
                  <a:lnTo>
                    <a:pt x="172" y="332"/>
                  </a:lnTo>
                  <a:lnTo>
                    <a:pt x="160" y="308"/>
                  </a:lnTo>
                  <a:lnTo>
                    <a:pt x="147" y="285"/>
                  </a:lnTo>
                  <a:lnTo>
                    <a:pt x="132" y="267"/>
                  </a:lnTo>
                  <a:lnTo>
                    <a:pt x="116" y="252"/>
                  </a:lnTo>
                  <a:lnTo>
                    <a:pt x="101" y="240"/>
                  </a:lnTo>
                  <a:lnTo>
                    <a:pt x="87" y="233"/>
                  </a:lnTo>
                  <a:lnTo>
                    <a:pt x="76" y="226"/>
                  </a:lnTo>
                  <a:lnTo>
                    <a:pt x="67" y="223"/>
                  </a:lnTo>
                  <a:lnTo>
                    <a:pt x="64" y="222"/>
                  </a:lnTo>
                  <a:lnTo>
                    <a:pt x="80" y="167"/>
                  </a:lnTo>
                  <a:lnTo>
                    <a:pt x="85" y="168"/>
                  </a:lnTo>
                  <a:lnTo>
                    <a:pt x="94" y="172"/>
                  </a:lnTo>
                  <a:lnTo>
                    <a:pt x="108" y="179"/>
                  </a:lnTo>
                  <a:lnTo>
                    <a:pt x="124" y="188"/>
                  </a:lnTo>
                  <a:lnTo>
                    <a:pt x="144" y="200"/>
                  </a:lnTo>
                  <a:lnTo>
                    <a:pt x="163" y="218"/>
                  </a:lnTo>
                  <a:lnTo>
                    <a:pt x="183" y="238"/>
                  </a:lnTo>
                  <a:lnTo>
                    <a:pt x="198" y="212"/>
                  </a:lnTo>
                  <a:lnTo>
                    <a:pt x="216" y="182"/>
                  </a:lnTo>
                  <a:lnTo>
                    <a:pt x="236" y="150"/>
                  </a:lnTo>
                  <a:lnTo>
                    <a:pt x="260" y="118"/>
                  </a:lnTo>
                  <a:lnTo>
                    <a:pt x="285" y="85"/>
                  </a:lnTo>
                  <a:lnTo>
                    <a:pt x="283" y="85"/>
                  </a:lnTo>
                  <a:lnTo>
                    <a:pt x="281" y="84"/>
                  </a:lnTo>
                  <a:lnTo>
                    <a:pt x="125" y="84"/>
                  </a:lnTo>
                  <a:close/>
                  <a:moveTo>
                    <a:pt x="375" y="0"/>
                  </a:moveTo>
                  <a:lnTo>
                    <a:pt x="406" y="49"/>
                  </a:lnTo>
                  <a:lnTo>
                    <a:pt x="377" y="71"/>
                  </a:lnTo>
                  <a:lnTo>
                    <a:pt x="389" y="89"/>
                  </a:lnTo>
                  <a:lnTo>
                    <a:pt x="398" y="107"/>
                  </a:lnTo>
                  <a:lnTo>
                    <a:pt x="405" y="127"/>
                  </a:lnTo>
                  <a:lnTo>
                    <a:pt x="406" y="149"/>
                  </a:lnTo>
                  <a:lnTo>
                    <a:pt x="406" y="267"/>
                  </a:lnTo>
                  <a:lnTo>
                    <a:pt x="402" y="295"/>
                  </a:lnTo>
                  <a:lnTo>
                    <a:pt x="394" y="321"/>
                  </a:lnTo>
                  <a:lnTo>
                    <a:pt x="379" y="344"/>
                  </a:lnTo>
                  <a:lnTo>
                    <a:pt x="359" y="363"/>
                  </a:lnTo>
                  <a:lnTo>
                    <a:pt x="336" y="377"/>
                  </a:lnTo>
                  <a:lnTo>
                    <a:pt x="310" y="387"/>
                  </a:lnTo>
                  <a:lnTo>
                    <a:pt x="281" y="390"/>
                  </a:lnTo>
                  <a:lnTo>
                    <a:pt x="125" y="390"/>
                  </a:lnTo>
                  <a:lnTo>
                    <a:pt x="97" y="387"/>
                  </a:lnTo>
                  <a:lnTo>
                    <a:pt x="71" y="377"/>
                  </a:lnTo>
                  <a:lnTo>
                    <a:pt x="48" y="363"/>
                  </a:lnTo>
                  <a:lnTo>
                    <a:pt x="29" y="344"/>
                  </a:lnTo>
                  <a:lnTo>
                    <a:pt x="13" y="321"/>
                  </a:lnTo>
                  <a:lnTo>
                    <a:pt x="4" y="295"/>
                  </a:lnTo>
                  <a:lnTo>
                    <a:pt x="0" y="267"/>
                  </a:lnTo>
                  <a:lnTo>
                    <a:pt x="0" y="149"/>
                  </a:lnTo>
                  <a:lnTo>
                    <a:pt x="4" y="121"/>
                  </a:lnTo>
                  <a:lnTo>
                    <a:pt x="13" y="96"/>
                  </a:lnTo>
                  <a:lnTo>
                    <a:pt x="29" y="72"/>
                  </a:lnTo>
                  <a:lnTo>
                    <a:pt x="48" y="54"/>
                  </a:lnTo>
                  <a:lnTo>
                    <a:pt x="71" y="40"/>
                  </a:lnTo>
                  <a:lnTo>
                    <a:pt x="97" y="30"/>
                  </a:lnTo>
                  <a:lnTo>
                    <a:pt x="125" y="27"/>
                  </a:lnTo>
                  <a:lnTo>
                    <a:pt x="281" y="27"/>
                  </a:lnTo>
                  <a:lnTo>
                    <a:pt x="307" y="29"/>
                  </a:lnTo>
                  <a:lnTo>
                    <a:pt x="329" y="37"/>
                  </a:lnTo>
                  <a:lnTo>
                    <a:pt x="352" y="16"/>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94" name="Rectangle 303"/>
            <p:cNvSpPr>
              <a:spLocks noChangeArrowheads="1"/>
            </p:cNvSpPr>
            <p:nvPr/>
          </p:nvSpPr>
          <p:spPr bwMode="auto">
            <a:xfrm>
              <a:off x="-1100749" y="5411308"/>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95" name="Rectangle 304"/>
            <p:cNvSpPr>
              <a:spLocks noChangeArrowheads="1"/>
            </p:cNvSpPr>
            <p:nvPr/>
          </p:nvSpPr>
          <p:spPr bwMode="auto">
            <a:xfrm>
              <a:off x="-1100749" y="5479571"/>
              <a:ext cx="160338" cy="12700"/>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96" name="Rectangle 305"/>
            <p:cNvSpPr>
              <a:spLocks noChangeArrowheads="1"/>
            </p:cNvSpPr>
            <p:nvPr/>
          </p:nvSpPr>
          <p:spPr bwMode="auto">
            <a:xfrm>
              <a:off x="-1100749" y="5551008"/>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97" name="Rectangle 306"/>
            <p:cNvSpPr>
              <a:spLocks noChangeArrowheads="1"/>
            </p:cNvSpPr>
            <p:nvPr/>
          </p:nvSpPr>
          <p:spPr bwMode="auto">
            <a:xfrm>
              <a:off x="-1100749" y="5624033"/>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98" name="Rectangle 307"/>
            <p:cNvSpPr>
              <a:spLocks noChangeArrowheads="1"/>
            </p:cNvSpPr>
            <p:nvPr/>
          </p:nvSpPr>
          <p:spPr bwMode="auto">
            <a:xfrm>
              <a:off x="-1100749" y="5693883"/>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99" name="Rectangle 308"/>
            <p:cNvSpPr>
              <a:spLocks noChangeArrowheads="1"/>
            </p:cNvSpPr>
            <p:nvPr/>
          </p:nvSpPr>
          <p:spPr bwMode="auto">
            <a:xfrm>
              <a:off x="-1100749" y="5762146"/>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100" name="Freeform 309"/>
            <p:cNvSpPr>
              <a:spLocks noEditPoints="1"/>
            </p:cNvSpPr>
            <p:nvPr/>
          </p:nvSpPr>
          <p:spPr bwMode="auto">
            <a:xfrm>
              <a:off x="-1227749" y="5257321"/>
              <a:ext cx="347663" cy="560387"/>
            </a:xfrm>
            <a:custGeom>
              <a:avLst/>
              <a:gdLst>
                <a:gd name="T0" fmla="*/ 241 w 2199"/>
                <a:gd name="T1" fmla="*/ 585 h 3523"/>
                <a:gd name="T2" fmla="*/ 192 w 2199"/>
                <a:gd name="T3" fmla="*/ 634 h 3523"/>
                <a:gd name="T4" fmla="*/ 181 w 2199"/>
                <a:gd name="T5" fmla="*/ 3266 h 3523"/>
                <a:gd name="T6" fmla="*/ 205 w 2199"/>
                <a:gd name="T7" fmla="*/ 3330 h 3523"/>
                <a:gd name="T8" fmla="*/ 262 w 2199"/>
                <a:gd name="T9" fmla="*/ 3367 h 3523"/>
                <a:gd name="T10" fmla="*/ 1945 w 2199"/>
                <a:gd name="T11" fmla="*/ 3367 h 3523"/>
                <a:gd name="T12" fmla="*/ 2004 w 2199"/>
                <a:gd name="T13" fmla="*/ 3330 h 3523"/>
                <a:gd name="T14" fmla="*/ 2026 w 2199"/>
                <a:gd name="T15" fmla="*/ 3266 h 3523"/>
                <a:gd name="T16" fmla="*/ 2015 w 2199"/>
                <a:gd name="T17" fmla="*/ 634 h 3523"/>
                <a:gd name="T18" fmla="*/ 1968 w 2199"/>
                <a:gd name="T19" fmla="*/ 585 h 3523"/>
                <a:gd name="T20" fmla="*/ 286 w 2199"/>
                <a:gd name="T21" fmla="*/ 575 h 3523"/>
                <a:gd name="T22" fmla="*/ 1056 w 2199"/>
                <a:gd name="T23" fmla="*/ 78 h 3523"/>
                <a:gd name="T24" fmla="*/ 1029 w 2199"/>
                <a:gd name="T25" fmla="*/ 131 h 3523"/>
                <a:gd name="T26" fmla="*/ 1056 w 2199"/>
                <a:gd name="T27" fmla="*/ 183 h 3523"/>
                <a:gd name="T28" fmla="*/ 1116 w 2199"/>
                <a:gd name="T29" fmla="*/ 193 h 3523"/>
                <a:gd name="T30" fmla="*/ 1157 w 2199"/>
                <a:gd name="T31" fmla="*/ 152 h 3523"/>
                <a:gd name="T32" fmla="*/ 1147 w 2199"/>
                <a:gd name="T33" fmla="*/ 92 h 3523"/>
                <a:gd name="T34" fmla="*/ 1094 w 2199"/>
                <a:gd name="T35" fmla="*/ 67 h 3523"/>
                <a:gd name="T36" fmla="*/ 1124 w 2199"/>
                <a:gd name="T37" fmla="*/ 1 h 3523"/>
                <a:gd name="T38" fmla="*/ 1173 w 2199"/>
                <a:gd name="T39" fmla="*/ 14 h 3523"/>
                <a:gd name="T40" fmla="*/ 1227 w 2199"/>
                <a:gd name="T41" fmla="*/ 50 h 3523"/>
                <a:gd name="T42" fmla="*/ 1269 w 2199"/>
                <a:gd name="T43" fmla="*/ 123 h 3523"/>
                <a:gd name="T44" fmla="*/ 1303 w 2199"/>
                <a:gd name="T45" fmla="*/ 217 h 3523"/>
                <a:gd name="T46" fmla="*/ 1328 w 2199"/>
                <a:gd name="T47" fmla="*/ 269 h 3523"/>
                <a:gd name="T48" fmla="*/ 1353 w 2199"/>
                <a:gd name="T49" fmla="*/ 296 h 3523"/>
                <a:gd name="T50" fmla="*/ 1389 w 2199"/>
                <a:gd name="T51" fmla="*/ 311 h 3523"/>
                <a:gd name="T52" fmla="*/ 1464 w 2199"/>
                <a:gd name="T53" fmla="*/ 325 h 3523"/>
                <a:gd name="T54" fmla="*/ 1556 w 2199"/>
                <a:gd name="T55" fmla="*/ 341 h 3523"/>
                <a:gd name="T56" fmla="*/ 1641 w 2199"/>
                <a:gd name="T57" fmla="*/ 359 h 3523"/>
                <a:gd name="T58" fmla="*/ 2118 w 2199"/>
                <a:gd name="T59" fmla="*/ 368 h 3523"/>
                <a:gd name="T60" fmla="*/ 2176 w 2199"/>
                <a:gd name="T61" fmla="*/ 405 h 3523"/>
                <a:gd name="T62" fmla="*/ 2199 w 2199"/>
                <a:gd name="T63" fmla="*/ 470 h 3523"/>
                <a:gd name="T64" fmla="*/ 2189 w 2199"/>
                <a:gd name="T65" fmla="*/ 3465 h 3523"/>
                <a:gd name="T66" fmla="*/ 2140 w 2199"/>
                <a:gd name="T67" fmla="*/ 3512 h 3523"/>
                <a:gd name="T68" fmla="*/ 105 w 2199"/>
                <a:gd name="T69" fmla="*/ 3523 h 3523"/>
                <a:gd name="T70" fmla="*/ 39 w 2199"/>
                <a:gd name="T71" fmla="*/ 3500 h 3523"/>
                <a:gd name="T72" fmla="*/ 3 w 2199"/>
                <a:gd name="T73" fmla="*/ 3442 h 3523"/>
                <a:gd name="T74" fmla="*/ 3 w 2199"/>
                <a:gd name="T75" fmla="*/ 446 h 3523"/>
                <a:gd name="T76" fmla="*/ 39 w 2199"/>
                <a:gd name="T77" fmla="*/ 388 h 3523"/>
                <a:gd name="T78" fmla="*/ 105 w 2199"/>
                <a:gd name="T79" fmla="*/ 366 h 3523"/>
                <a:gd name="T80" fmla="*/ 584 w 2199"/>
                <a:gd name="T81" fmla="*/ 352 h 3523"/>
                <a:gd name="T82" fmla="*/ 684 w 2199"/>
                <a:gd name="T83" fmla="*/ 333 h 3523"/>
                <a:gd name="T84" fmla="*/ 777 w 2199"/>
                <a:gd name="T85" fmla="*/ 316 h 3523"/>
                <a:gd name="T86" fmla="*/ 831 w 2199"/>
                <a:gd name="T87" fmla="*/ 302 h 3523"/>
                <a:gd name="T88" fmla="*/ 858 w 2199"/>
                <a:gd name="T89" fmla="*/ 281 h 3523"/>
                <a:gd name="T90" fmla="*/ 883 w 2199"/>
                <a:gd name="T91" fmla="*/ 239 h 3523"/>
                <a:gd name="T92" fmla="*/ 912 w 2199"/>
                <a:gd name="T93" fmla="*/ 160 h 3523"/>
                <a:gd name="T94" fmla="*/ 952 w 2199"/>
                <a:gd name="T95" fmla="*/ 70 h 3523"/>
                <a:gd name="T96" fmla="*/ 1005 w 2199"/>
                <a:gd name="T97" fmla="*/ 23 h 3523"/>
                <a:gd name="T98" fmla="*/ 1057 w 2199"/>
                <a:gd name="T99" fmla="*/ 3 h 3523"/>
                <a:gd name="T100" fmla="*/ 1094 w 2199"/>
                <a:gd name="T101" fmla="*/ 0 h 3523"/>
                <a:gd name="T102" fmla="*/ 1102 w 2199"/>
                <a:gd name="T103" fmla="*/ 0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9" h="3523">
                  <a:moveTo>
                    <a:pt x="286" y="575"/>
                  </a:moveTo>
                  <a:lnTo>
                    <a:pt x="262" y="578"/>
                  </a:lnTo>
                  <a:lnTo>
                    <a:pt x="241" y="585"/>
                  </a:lnTo>
                  <a:lnTo>
                    <a:pt x="221" y="598"/>
                  </a:lnTo>
                  <a:lnTo>
                    <a:pt x="205" y="614"/>
                  </a:lnTo>
                  <a:lnTo>
                    <a:pt x="192" y="634"/>
                  </a:lnTo>
                  <a:lnTo>
                    <a:pt x="185" y="655"/>
                  </a:lnTo>
                  <a:lnTo>
                    <a:pt x="181" y="680"/>
                  </a:lnTo>
                  <a:lnTo>
                    <a:pt x="181" y="3266"/>
                  </a:lnTo>
                  <a:lnTo>
                    <a:pt x="185" y="3290"/>
                  </a:lnTo>
                  <a:lnTo>
                    <a:pt x="192" y="3311"/>
                  </a:lnTo>
                  <a:lnTo>
                    <a:pt x="205" y="3330"/>
                  </a:lnTo>
                  <a:lnTo>
                    <a:pt x="221" y="3347"/>
                  </a:lnTo>
                  <a:lnTo>
                    <a:pt x="241" y="3359"/>
                  </a:lnTo>
                  <a:lnTo>
                    <a:pt x="262" y="3367"/>
                  </a:lnTo>
                  <a:lnTo>
                    <a:pt x="286" y="3370"/>
                  </a:lnTo>
                  <a:lnTo>
                    <a:pt x="1922" y="3370"/>
                  </a:lnTo>
                  <a:lnTo>
                    <a:pt x="1945" y="3367"/>
                  </a:lnTo>
                  <a:lnTo>
                    <a:pt x="1968" y="3359"/>
                  </a:lnTo>
                  <a:lnTo>
                    <a:pt x="1987" y="3347"/>
                  </a:lnTo>
                  <a:lnTo>
                    <a:pt x="2004" y="3330"/>
                  </a:lnTo>
                  <a:lnTo>
                    <a:pt x="2015" y="3311"/>
                  </a:lnTo>
                  <a:lnTo>
                    <a:pt x="2024" y="3290"/>
                  </a:lnTo>
                  <a:lnTo>
                    <a:pt x="2026" y="3266"/>
                  </a:lnTo>
                  <a:lnTo>
                    <a:pt x="2026" y="680"/>
                  </a:lnTo>
                  <a:lnTo>
                    <a:pt x="2024" y="655"/>
                  </a:lnTo>
                  <a:lnTo>
                    <a:pt x="2015" y="634"/>
                  </a:lnTo>
                  <a:lnTo>
                    <a:pt x="2004" y="614"/>
                  </a:lnTo>
                  <a:lnTo>
                    <a:pt x="1987" y="598"/>
                  </a:lnTo>
                  <a:lnTo>
                    <a:pt x="1968" y="585"/>
                  </a:lnTo>
                  <a:lnTo>
                    <a:pt x="1945" y="578"/>
                  </a:lnTo>
                  <a:lnTo>
                    <a:pt x="1922" y="575"/>
                  </a:lnTo>
                  <a:lnTo>
                    <a:pt x="286" y="575"/>
                  </a:lnTo>
                  <a:close/>
                  <a:moveTo>
                    <a:pt x="1094" y="67"/>
                  </a:moveTo>
                  <a:lnTo>
                    <a:pt x="1074" y="70"/>
                  </a:lnTo>
                  <a:lnTo>
                    <a:pt x="1056" y="78"/>
                  </a:lnTo>
                  <a:lnTo>
                    <a:pt x="1042" y="92"/>
                  </a:lnTo>
                  <a:lnTo>
                    <a:pt x="1033" y="111"/>
                  </a:lnTo>
                  <a:lnTo>
                    <a:pt x="1029" y="131"/>
                  </a:lnTo>
                  <a:lnTo>
                    <a:pt x="1033" y="152"/>
                  </a:lnTo>
                  <a:lnTo>
                    <a:pt x="1042" y="169"/>
                  </a:lnTo>
                  <a:lnTo>
                    <a:pt x="1056" y="183"/>
                  </a:lnTo>
                  <a:lnTo>
                    <a:pt x="1074" y="193"/>
                  </a:lnTo>
                  <a:lnTo>
                    <a:pt x="1094" y="196"/>
                  </a:lnTo>
                  <a:lnTo>
                    <a:pt x="1116" y="193"/>
                  </a:lnTo>
                  <a:lnTo>
                    <a:pt x="1133" y="183"/>
                  </a:lnTo>
                  <a:lnTo>
                    <a:pt x="1147" y="169"/>
                  </a:lnTo>
                  <a:lnTo>
                    <a:pt x="1157" y="152"/>
                  </a:lnTo>
                  <a:lnTo>
                    <a:pt x="1160" y="131"/>
                  </a:lnTo>
                  <a:lnTo>
                    <a:pt x="1157" y="111"/>
                  </a:lnTo>
                  <a:lnTo>
                    <a:pt x="1147" y="92"/>
                  </a:lnTo>
                  <a:lnTo>
                    <a:pt x="1133" y="78"/>
                  </a:lnTo>
                  <a:lnTo>
                    <a:pt x="1116" y="70"/>
                  </a:lnTo>
                  <a:lnTo>
                    <a:pt x="1094" y="67"/>
                  </a:lnTo>
                  <a:close/>
                  <a:moveTo>
                    <a:pt x="1102" y="0"/>
                  </a:moveTo>
                  <a:lnTo>
                    <a:pt x="1111" y="0"/>
                  </a:lnTo>
                  <a:lnTo>
                    <a:pt x="1124" y="1"/>
                  </a:lnTo>
                  <a:lnTo>
                    <a:pt x="1139" y="3"/>
                  </a:lnTo>
                  <a:lnTo>
                    <a:pt x="1155" y="7"/>
                  </a:lnTo>
                  <a:lnTo>
                    <a:pt x="1173" y="14"/>
                  </a:lnTo>
                  <a:lnTo>
                    <a:pt x="1191" y="24"/>
                  </a:lnTo>
                  <a:lnTo>
                    <a:pt x="1209" y="35"/>
                  </a:lnTo>
                  <a:lnTo>
                    <a:pt x="1227" y="50"/>
                  </a:lnTo>
                  <a:lnTo>
                    <a:pt x="1243" y="70"/>
                  </a:lnTo>
                  <a:lnTo>
                    <a:pt x="1257" y="94"/>
                  </a:lnTo>
                  <a:lnTo>
                    <a:pt x="1269" y="123"/>
                  </a:lnTo>
                  <a:lnTo>
                    <a:pt x="1282" y="159"/>
                  </a:lnTo>
                  <a:lnTo>
                    <a:pt x="1293" y="190"/>
                  </a:lnTo>
                  <a:lnTo>
                    <a:pt x="1303" y="217"/>
                  </a:lnTo>
                  <a:lnTo>
                    <a:pt x="1312" y="238"/>
                  </a:lnTo>
                  <a:lnTo>
                    <a:pt x="1319" y="256"/>
                  </a:lnTo>
                  <a:lnTo>
                    <a:pt x="1328" y="269"/>
                  </a:lnTo>
                  <a:lnTo>
                    <a:pt x="1335" y="281"/>
                  </a:lnTo>
                  <a:lnTo>
                    <a:pt x="1344" y="289"/>
                  </a:lnTo>
                  <a:lnTo>
                    <a:pt x="1353" y="296"/>
                  </a:lnTo>
                  <a:lnTo>
                    <a:pt x="1362" y="302"/>
                  </a:lnTo>
                  <a:lnTo>
                    <a:pt x="1373" y="307"/>
                  </a:lnTo>
                  <a:lnTo>
                    <a:pt x="1389" y="311"/>
                  </a:lnTo>
                  <a:lnTo>
                    <a:pt x="1411" y="315"/>
                  </a:lnTo>
                  <a:lnTo>
                    <a:pt x="1436" y="320"/>
                  </a:lnTo>
                  <a:lnTo>
                    <a:pt x="1464" y="325"/>
                  </a:lnTo>
                  <a:lnTo>
                    <a:pt x="1494" y="330"/>
                  </a:lnTo>
                  <a:lnTo>
                    <a:pt x="1525" y="336"/>
                  </a:lnTo>
                  <a:lnTo>
                    <a:pt x="1556" y="341"/>
                  </a:lnTo>
                  <a:lnTo>
                    <a:pt x="1588" y="347"/>
                  </a:lnTo>
                  <a:lnTo>
                    <a:pt x="1616" y="353"/>
                  </a:lnTo>
                  <a:lnTo>
                    <a:pt x="1641" y="359"/>
                  </a:lnTo>
                  <a:lnTo>
                    <a:pt x="1664" y="366"/>
                  </a:lnTo>
                  <a:lnTo>
                    <a:pt x="2094" y="366"/>
                  </a:lnTo>
                  <a:lnTo>
                    <a:pt x="2118" y="368"/>
                  </a:lnTo>
                  <a:lnTo>
                    <a:pt x="2140" y="375"/>
                  </a:lnTo>
                  <a:lnTo>
                    <a:pt x="2160" y="388"/>
                  </a:lnTo>
                  <a:lnTo>
                    <a:pt x="2176" y="405"/>
                  </a:lnTo>
                  <a:lnTo>
                    <a:pt x="2189" y="424"/>
                  </a:lnTo>
                  <a:lnTo>
                    <a:pt x="2196" y="446"/>
                  </a:lnTo>
                  <a:lnTo>
                    <a:pt x="2199" y="470"/>
                  </a:lnTo>
                  <a:lnTo>
                    <a:pt x="2199" y="3419"/>
                  </a:lnTo>
                  <a:lnTo>
                    <a:pt x="2196" y="3442"/>
                  </a:lnTo>
                  <a:lnTo>
                    <a:pt x="2189" y="3465"/>
                  </a:lnTo>
                  <a:lnTo>
                    <a:pt x="2176" y="3484"/>
                  </a:lnTo>
                  <a:lnTo>
                    <a:pt x="2160" y="3500"/>
                  </a:lnTo>
                  <a:lnTo>
                    <a:pt x="2140" y="3512"/>
                  </a:lnTo>
                  <a:lnTo>
                    <a:pt x="2118" y="3521"/>
                  </a:lnTo>
                  <a:lnTo>
                    <a:pt x="2094" y="3523"/>
                  </a:lnTo>
                  <a:lnTo>
                    <a:pt x="105" y="3523"/>
                  </a:lnTo>
                  <a:lnTo>
                    <a:pt x="81" y="3521"/>
                  </a:lnTo>
                  <a:lnTo>
                    <a:pt x="59" y="3512"/>
                  </a:lnTo>
                  <a:lnTo>
                    <a:pt x="39" y="3500"/>
                  </a:lnTo>
                  <a:lnTo>
                    <a:pt x="23" y="3484"/>
                  </a:lnTo>
                  <a:lnTo>
                    <a:pt x="11" y="3465"/>
                  </a:lnTo>
                  <a:lnTo>
                    <a:pt x="3" y="3442"/>
                  </a:lnTo>
                  <a:lnTo>
                    <a:pt x="0" y="3419"/>
                  </a:lnTo>
                  <a:lnTo>
                    <a:pt x="0" y="470"/>
                  </a:lnTo>
                  <a:lnTo>
                    <a:pt x="3" y="446"/>
                  </a:lnTo>
                  <a:lnTo>
                    <a:pt x="11" y="424"/>
                  </a:lnTo>
                  <a:lnTo>
                    <a:pt x="23" y="405"/>
                  </a:lnTo>
                  <a:lnTo>
                    <a:pt x="39" y="388"/>
                  </a:lnTo>
                  <a:lnTo>
                    <a:pt x="59" y="375"/>
                  </a:lnTo>
                  <a:lnTo>
                    <a:pt x="81" y="368"/>
                  </a:lnTo>
                  <a:lnTo>
                    <a:pt x="105" y="366"/>
                  </a:lnTo>
                  <a:lnTo>
                    <a:pt x="532" y="366"/>
                  </a:lnTo>
                  <a:lnTo>
                    <a:pt x="555" y="358"/>
                  </a:lnTo>
                  <a:lnTo>
                    <a:pt x="584" y="352"/>
                  </a:lnTo>
                  <a:lnTo>
                    <a:pt x="616" y="345"/>
                  </a:lnTo>
                  <a:lnTo>
                    <a:pt x="650" y="340"/>
                  </a:lnTo>
                  <a:lnTo>
                    <a:pt x="684" y="333"/>
                  </a:lnTo>
                  <a:lnTo>
                    <a:pt x="717" y="327"/>
                  </a:lnTo>
                  <a:lnTo>
                    <a:pt x="749" y="322"/>
                  </a:lnTo>
                  <a:lnTo>
                    <a:pt x="777" y="316"/>
                  </a:lnTo>
                  <a:lnTo>
                    <a:pt x="801" y="312"/>
                  </a:lnTo>
                  <a:lnTo>
                    <a:pt x="819" y="307"/>
                  </a:lnTo>
                  <a:lnTo>
                    <a:pt x="831" y="302"/>
                  </a:lnTo>
                  <a:lnTo>
                    <a:pt x="841" y="297"/>
                  </a:lnTo>
                  <a:lnTo>
                    <a:pt x="851" y="289"/>
                  </a:lnTo>
                  <a:lnTo>
                    <a:pt x="858" y="281"/>
                  </a:lnTo>
                  <a:lnTo>
                    <a:pt x="867" y="270"/>
                  </a:lnTo>
                  <a:lnTo>
                    <a:pt x="874" y="256"/>
                  </a:lnTo>
                  <a:lnTo>
                    <a:pt x="883" y="239"/>
                  </a:lnTo>
                  <a:lnTo>
                    <a:pt x="891" y="217"/>
                  </a:lnTo>
                  <a:lnTo>
                    <a:pt x="901" y="191"/>
                  </a:lnTo>
                  <a:lnTo>
                    <a:pt x="912" y="160"/>
                  </a:lnTo>
                  <a:lnTo>
                    <a:pt x="925" y="123"/>
                  </a:lnTo>
                  <a:lnTo>
                    <a:pt x="937" y="94"/>
                  </a:lnTo>
                  <a:lnTo>
                    <a:pt x="952" y="70"/>
                  </a:lnTo>
                  <a:lnTo>
                    <a:pt x="968" y="50"/>
                  </a:lnTo>
                  <a:lnTo>
                    <a:pt x="986" y="34"/>
                  </a:lnTo>
                  <a:lnTo>
                    <a:pt x="1005" y="23"/>
                  </a:lnTo>
                  <a:lnTo>
                    <a:pt x="1023" y="14"/>
                  </a:lnTo>
                  <a:lnTo>
                    <a:pt x="1041" y="7"/>
                  </a:lnTo>
                  <a:lnTo>
                    <a:pt x="1057" y="3"/>
                  </a:lnTo>
                  <a:lnTo>
                    <a:pt x="1073" y="1"/>
                  </a:lnTo>
                  <a:lnTo>
                    <a:pt x="1084" y="0"/>
                  </a:lnTo>
                  <a:lnTo>
                    <a:pt x="1094" y="0"/>
                  </a:lnTo>
                  <a:lnTo>
                    <a:pt x="1094" y="0"/>
                  </a:lnTo>
                  <a:lnTo>
                    <a:pt x="1096" y="0"/>
                  </a:lnTo>
                  <a:lnTo>
                    <a:pt x="1102" y="0"/>
                  </a:lnTo>
                  <a:close/>
                </a:path>
              </a:pathLst>
            </a:custGeom>
            <a:solidFill>
              <a:schemeClr val="tx1"/>
            </a:solidFill>
            <a:ln w="0">
              <a:solidFill>
                <a:schemeClr val="accent2"/>
              </a:solidFill>
              <a:prstDash val="solid"/>
              <a:round/>
              <a:headEnd/>
              <a:tailEnd/>
            </a:ln>
          </p:spPr>
          <p:txBody>
            <a:bodyPr/>
            <a:lstStyle/>
            <a:p>
              <a:endParaRPr lang="de-DE" sz="800" b="0" dirty="0">
                <a:latin typeface="+mn-lt"/>
              </a:endParaRPr>
            </a:p>
          </p:txBody>
        </p:sp>
      </p:grpSp>
      <p:sp>
        <p:nvSpPr>
          <p:cNvPr id="112" name="Rechteck: abgerundete Ecken 212">
            <a:extLst>
              <a:ext uri="{FF2B5EF4-FFF2-40B4-BE49-F238E27FC236}">
                <a16:creationId xmlns:a16="http://schemas.microsoft.com/office/drawing/2014/main" id="{FA8FAD19-5C90-4B1E-8431-1DB39C25984D}"/>
              </a:ext>
            </a:extLst>
          </p:cNvPr>
          <p:cNvSpPr/>
          <p:nvPr/>
        </p:nvSpPr>
        <p:spPr bwMode="auto">
          <a:xfrm>
            <a:off x="1969778" y="3995343"/>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sp>
        <p:nvSpPr>
          <p:cNvPr id="113" name="Flussdiagramm: Verzweigung 163">
            <a:extLst>
              <a:ext uri="{FF2B5EF4-FFF2-40B4-BE49-F238E27FC236}">
                <a16:creationId xmlns:a16="http://schemas.microsoft.com/office/drawing/2014/main" id="{0F894D10-92D1-46AC-81ED-B91DEC5EC94B}"/>
              </a:ext>
            </a:extLst>
          </p:cNvPr>
          <p:cNvSpPr>
            <a:spLocks/>
          </p:cNvSpPr>
          <p:nvPr/>
        </p:nvSpPr>
        <p:spPr bwMode="gray">
          <a:xfrm>
            <a:off x="2862562" y="3578178"/>
            <a:ext cx="864080" cy="468000"/>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800" b="0" noProof="1">
                <a:latin typeface="+mn-lt"/>
              </a:rPr>
              <a:t>Plausibel?</a:t>
            </a:r>
          </a:p>
        </p:txBody>
      </p:sp>
      <p:sp>
        <p:nvSpPr>
          <p:cNvPr id="114" name="Rechteck 113"/>
          <p:cNvSpPr/>
          <p:nvPr/>
        </p:nvSpPr>
        <p:spPr bwMode="auto">
          <a:xfrm>
            <a:off x="2971802" y="3222007"/>
            <a:ext cx="324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Nein</a:t>
            </a:r>
          </a:p>
        </p:txBody>
      </p:sp>
      <p:sp>
        <p:nvSpPr>
          <p:cNvPr id="115" name="noun_project_01304.eps"/>
          <p:cNvSpPr>
            <a:spLocks noChangeAspect="1" noEditPoints="1"/>
          </p:cNvSpPr>
          <p:nvPr/>
        </p:nvSpPr>
        <p:spPr bwMode="auto">
          <a:xfrm>
            <a:off x="3368006" y="3003651"/>
            <a:ext cx="288000" cy="204600"/>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sz="800" dirty="0">
              <a:latin typeface="+mn-lt"/>
            </a:endParaRPr>
          </a:p>
        </p:txBody>
      </p:sp>
      <p:sp>
        <p:nvSpPr>
          <p:cNvPr id="116" name="Rechteck 115"/>
          <p:cNvSpPr/>
          <p:nvPr/>
        </p:nvSpPr>
        <p:spPr bwMode="auto">
          <a:xfrm>
            <a:off x="3368006" y="3258435"/>
            <a:ext cx="936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r>
              <a:rPr lang="de-DE" sz="800" dirty="0"/>
              <a:t>E-Mail mit Link, Postfach</a:t>
            </a:r>
            <a:endParaRPr lang="de-DE" sz="800" dirty="0">
              <a:solidFill>
                <a:srgbClr val="244894"/>
              </a:solidFill>
            </a:endParaRPr>
          </a:p>
        </p:txBody>
      </p:sp>
      <p:sp>
        <p:nvSpPr>
          <p:cNvPr id="117" name="Rechteck: abgerundete Ecken 212">
            <a:extLst>
              <a:ext uri="{FF2B5EF4-FFF2-40B4-BE49-F238E27FC236}">
                <a16:creationId xmlns:a16="http://schemas.microsoft.com/office/drawing/2014/main" id="{FA8FAD19-5C90-4B1E-8431-1DB39C25984D}"/>
              </a:ext>
            </a:extLst>
          </p:cNvPr>
          <p:cNvSpPr/>
          <p:nvPr/>
        </p:nvSpPr>
        <p:spPr bwMode="auto">
          <a:xfrm>
            <a:off x="2988513" y="3933360"/>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cxnSp>
        <p:nvCxnSpPr>
          <p:cNvPr id="118" name="Gerade Verbindung mit Pfeil 117"/>
          <p:cNvCxnSpPr>
            <a:stCxn id="86" idx="3"/>
            <a:endCxn id="113" idx="1"/>
          </p:cNvCxnSpPr>
          <p:nvPr/>
        </p:nvCxnSpPr>
        <p:spPr bwMode="auto">
          <a:xfrm flipV="1">
            <a:off x="2562907" y="3812178"/>
            <a:ext cx="299655" cy="4833"/>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119" name="Rechteck 118"/>
          <p:cNvSpPr/>
          <p:nvPr/>
        </p:nvSpPr>
        <p:spPr bwMode="auto">
          <a:xfrm>
            <a:off x="3713247" y="3657330"/>
            <a:ext cx="324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Ja</a:t>
            </a:r>
          </a:p>
        </p:txBody>
      </p:sp>
      <p:sp>
        <p:nvSpPr>
          <p:cNvPr id="120" name="Rechteck: abgerundete Ecken 212">
            <a:extLst>
              <a:ext uri="{FF2B5EF4-FFF2-40B4-BE49-F238E27FC236}">
                <a16:creationId xmlns:a16="http://schemas.microsoft.com/office/drawing/2014/main" id="{FA8FAD19-5C90-4B1E-8431-1DB39C25984D}"/>
              </a:ext>
            </a:extLst>
          </p:cNvPr>
          <p:cNvSpPr/>
          <p:nvPr/>
        </p:nvSpPr>
        <p:spPr bwMode="auto">
          <a:xfrm>
            <a:off x="7462716" y="3930028"/>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sp>
        <p:nvSpPr>
          <p:cNvPr id="121" name="Rechteck: abgerundete Ecken 212">
            <a:extLst>
              <a:ext uri="{FF2B5EF4-FFF2-40B4-BE49-F238E27FC236}">
                <a16:creationId xmlns:a16="http://schemas.microsoft.com/office/drawing/2014/main" id="{FA8FAD19-5C90-4B1E-8431-1DB39C25984D}"/>
              </a:ext>
            </a:extLst>
          </p:cNvPr>
          <p:cNvSpPr/>
          <p:nvPr/>
        </p:nvSpPr>
        <p:spPr bwMode="auto">
          <a:xfrm>
            <a:off x="6311460" y="3291594"/>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In Bearbeitung</a:t>
            </a:r>
          </a:p>
        </p:txBody>
      </p:sp>
      <p:cxnSp>
        <p:nvCxnSpPr>
          <p:cNvPr id="122" name="Gewinkelter Verbinder 121"/>
          <p:cNvCxnSpPr>
            <a:endCxn id="86" idx="2"/>
          </p:cNvCxnSpPr>
          <p:nvPr/>
        </p:nvCxnSpPr>
        <p:spPr bwMode="auto">
          <a:xfrm rot="10800000">
            <a:off x="1986908" y="4051012"/>
            <a:ext cx="9514797" cy="550725"/>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123" name="Rechteck 122"/>
          <p:cNvSpPr/>
          <p:nvPr/>
        </p:nvSpPr>
        <p:spPr bwMode="auto">
          <a:xfrm>
            <a:off x="3653508" y="4467590"/>
            <a:ext cx="2844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fontAlgn="base">
              <a:spcBef>
                <a:spcPct val="0"/>
              </a:spcBef>
              <a:spcAft>
                <a:spcPct val="0"/>
              </a:spcAft>
            </a:pPr>
            <a:r>
              <a:rPr lang="de-DE" sz="800" dirty="0"/>
              <a:t>Vorgesetzter gibt Verrichtung inkl. Anmerkungen zurück</a:t>
            </a:r>
          </a:p>
        </p:txBody>
      </p:sp>
      <p:cxnSp>
        <p:nvCxnSpPr>
          <p:cNvPr id="128" name="Gerade Verbindung mit Pfeil 127"/>
          <p:cNvCxnSpPr/>
          <p:nvPr/>
        </p:nvCxnSpPr>
        <p:spPr>
          <a:xfrm>
            <a:off x="1274256" y="3817011"/>
            <a:ext cx="136651" cy="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grpSp>
        <p:nvGrpSpPr>
          <p:cNvPr id="129" name="Gruppieren 128"/>
          <p:cNvGrpSpPr/>
          <p:nvPr/>
        </p:nvGrpSpPr>
        <p:grpSpPr>
          <a:xfrm>
            <a:off x="2587544" y="3182073"/>
            <a:ext cx="281450" cy="334070"/>
            <a:chOff x="-696070" y="5354178"/>
            <a:chExt cx="288000" cy="364988"/>
          </a:xfrm>
          <a:solidFill>
            <a:schemeClr val="tx1"/>
          </a:solidFill>
        </p:grpSpPr>
        <p:sp>
          <p:nvSpPr>
            <p:cNvPr id="130"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grpSp>
          <p:nvGrpSpPr>
            <p:cNvPr id="131" name="Gruppieren 130"/>
            <p:cNvGrpSpPr>
              <a:grpSpLocks noChangeAspect="1"/>
            </p:cNvGrpSpPr>
            <p:nvPr/>
          </p:nvGrpSpPr>
          <p:grpSpPr>
            <a:xfrm>
              <a:off x="-649397" y="5481248"/>
              <a:ext cx="204387" cy="180000"/>
              <a:chOff x="-1305411" y="5962628"/>
              <a:chExt cx="947406" cy="834356"/>
            </a:xfrm>
            <a:grpFill/>
          </p:grpSpPr>
          <p:grpSp>
            <p:nvGrpSpPr>
              <p:cNvPr id="132" name="noun_project_01063.eps"/>
              <p:cNvGrpSpPr>
                <a:grpSpLocks/>
              </p:cNvGrpSpPr>
              <p:nvPr/>
            </p:nvGrpSpPr>
            <p:grpSpPr bwMode="auto">
              <a:xfrm>
                <a:off x="-1305411" y="5962628"/>
                <a:ext cx="557212" cy="595313"/>
                <a:chOff x="2223" y="3060"/>
                <a:chExt cx="351" cy="375"/>
              </a:xfrm>
              <a:grpFill/>
            </p:grpSpPr>
            <p:sp>
              <p:nvSpPr>
                <p:cNvPr id="136"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137"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138"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139"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nvGrpSpPr>
              <p:cNvPr id="133" name="noun_project_01064.eps"/>
              <p:cNvGrpSpPr>
                <a:grpSpLocks/>
              </p:cNvGrpSpPr>
              <p:nvPr/>
            </p:nvGrpSpPr>
            <p:grpSpPr bwMode="auto">
              <a:xfrm>
                <a:off x="-953318" y="6201671"/>
                <a:ext cx="595313" cy="595313"/>
                <a:chOff x="2734" y="3060"/>
                <a:chExt cx="375" cy="375"/>
              </a:xfrm>
              <a:grpFill/>
            </p:grpSpPr>
            <p:sp>
              <p:nvSpPr>
                <p:cNvPr id="134"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135"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grpSp>
      <p:sp>
        <p:nvSpPr>
          <p:cNvPr id="142" name="Abgerundetes Rechteck 141"/>
          <p:cNvSpPr/>
          <p:nvPr/>
        </p:nvSpPr>
        <p:spPr bwMode="auto">
          <a:xfrm>
            <a:off x="2716465" y="2184956"/>
            <a:ext cx="116352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Weitere Informations-bereitstellung</a:t>
            </a:r>
          </a:p>
        </p:txBody>
      </p:sp>
      <p:sp>
        <p:nvSpPr>
          <p:cNvPr id="143" name="Rechteck: abgerundete Ecken 199">
            <a:extLst>
              <a:ext uri="{FF2B5EF4-FFF2-40B4-BE49-F238E27FC236}">
                <a16:creationId xmlns:a16="http://schemas.microsoft.com/office/drawing/2014/main" id="{832DDFC2-E2D7-415D-B7FA-91032166379A}"/>
              </a:ext>
            </a:extLst>
          </p:cNvPr>
          <p:cNvSpPr/>
          <p:nvPr/>
        </p:nvSpPr>
        <p:spPr bwMode="auto">
          <a:xfrm>
            <a:off x="3287470" y="2540752"/>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Rückfrage</a:t>
            </a:r>
          </a:p>
        </p:txBody>
      </p:sp>
      <p:cxnSp>
        <p:nvCxnSpPr>
          <p:cNvPr id="144" name="Gerade Verbindung mit Pfeil 143"/>
          <p:cNvCxnSpPr>
            <a:stCxn id="142" idx="1"/>
          </p:cNvCxnSpPr>
          <p:nvPr/>
        </p:nvCxnSpPr>
        <p:spPr bwMode="auto">
          <a:xfrm flipH="1">
            <a:off x="1246649" y="2418956"/>
            <a:ext cx="1469816" cy="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145" name="Legende mit Linie 2 (Akzentuierungsbalken) 144"/>
          <p:cNvSpPr/>
          <p:nvPr/>
        </p:nvSpPr>
        <p:spPr bwMode="auto">
          <a:xfrm>
            <a:off x="6472624" y="2328939"/>
            <a:ext cx="1236895" cy="349292"/>
          </a:xfrm>
          <a:prstGeom prst="accentCallout2">
            <a:avLst>
              <a:gd name="adj1" fmla="val -339"/>
              <a:gd name="adj2" fmla="val -694"/>
              <a:gd name="adj3" fmla="val 92376"/>
              <a:gd name="adj4" fmla="val -8519"/>
              <a:gd name="adj5" fmla="val 169336"/>
              <a:gd name="adj6" fmla="val -14894"/>
            </a:avLst>
          </a:prstGeom>
          <a:solidFill>
            <a:schemeClr val="accent2">
              <a:lumMod val="10000"/>
              <a:lumOff val="90000"/>
            </a:schemeClr>
          </a:solidFill>
          <a:ln w="9525" cap="flat" cmpd="sng" algn="ctr">
            <a:solidFill>
              <a:schemeClr val="tx1"/>
            </a:solidFill>
            <a:prstDash val="solid"/>
            <a:round/>
            <a:headEnd type="none" w="med" len="med"/>
            <a:tailEnd type="none" w="med" len="med"/>
          </a:ln>
          <a:effectLst/>
        </p:spPr>
        <p:txBody>
          <a:bodyPr vert="horz" wrap="square" lIns="18000" tIns="0" rIns="0" bIns="0" numCol="1" rtlCol="0" anchor="ctr" anchorCtr="0" compatLnSpc="1">
            <a:prstTxWarp prst="textNoShape">
              <a:avLst/>
            </a:prstTxWarp>
          </a:bodyPr>
          <a:lstStyle/>
          <a:p>
            <a:pPr fontAlgn="base">
              <a:spcBef>
                <a:spcPct val="0"/>
              </a:spcBef>
              <a:spcAft>
                <a:spcPct val="0"/>
              </a:spcAft>
            </a:pPr>
            <a:r>
              <a:rPr lang="de-DE" sz="700" dirty="0"/>
              <a:t>Verwaltungsgerichte informieren / einsteuern</a:t>
            </a:r>
          </a:p>
        </p:txBody>
      </p:sp>
      <p:cxnSp>
        <p:nvCxnSpPr>
          <p:cNvPr id="147" name="Gerade Verbindung mit Pfeil 146"/>
          <p:cNvCxnSpPr>
            <a:stCxn id="113" idx="0"/>
            <a:endCxn id="142" idx="2"/>
          </p:cNvCxnSpPr>
          <p:nvPr/>
        </p:nvCxnSpPr>
        <p:spPr>
          <a:xfrm flipV="1">
            <a:off x="3294602" y="2652956"/>
            <a:ext cx="3623" cy="925222"/>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grpSp>
        <p:nvGrpSpPr>
          <p:cNvPr id="148" name="Gruppieren 147"/>
          <p:cNvGrpSpPr/>
          <p:nvPr/>
        </p:nvGrpSpPr>
        <p:grpSpPr>
          <a:xfrm>
            <a:off x="4079273" y="4811780"/>
            <a:ext cx="1125926" cy="720872"/>
            <a:chOff x="4295800" y="6222184"/>
            <a:chExt cx="1152128" cy="787591"/>
          </a:xfrm>
        </p:grpSpPr>
        <p:grpSp>
          <p:nvGrpSpPr>
            <p:cNvPr id="149" name="Group 20">
              <a:extLst>
                <a:ext uri="{FF2B5EF4-FFF2-40B4-BE49-F238E27FC236}">
                  <a16:creationId xmlns:a16="http://schemas.microsoft.com/office/drawing/2014/main" id="{C6144E7F-B5C3-437D-9323-CE4E3349ED29}"/>
                </a:ext>
              </a:extLst>
            </p:cNvPr>
            <p:cNvGrpSpPr>
              <a:grpSpLocks noChangeAspect="1"/>
            </p:cNvGrpSpPr>
            <p:nvPr/>
          </p:nvGrpSpPr>
          <p:grpSpPr>
            <a:xfrm>
              <a:off x="4295800" y="6222184"/>
              <a:ext cx="1152000" cy="787591"/>
              <a:chOff x="7565973" y="4556141"/>
              <a:chExt cx="416180" cy="284531"/>
            </a:xfrm>
            <a:solidFill>
              <a:schemeClr val="accent1"/>
            </a:solidFill>
          </p:grpSpPr>
          <p:sp>
            <p:nvSpPr>
              <p:cNvPr id="151" name="Freeform 7">
                <a:extLst>
                  <a:ext uri="{FF2B5EF4-FFF2-40B4-BE49-F238E27FC236}">
                    <a16:creationId xmlns:a16="http://schemas.microsoft.com/office/drawing/2014/main" id="{6282A240-586D-4EF7-9299-A058C5085EDA}"/>
                  </a:ext>
                </a:extLst>
              </p:cNvPr>
              <p:cNvSpPr>
                <a:spLocks/>
              </p:cNvSpPr>
              <p:nvPr/>
            </p:nvSpPr>
            <p:spPr bwMode="auto">
              <a:xfrm>
                <a:off x="7565973" y="4613618"/>
                <a:ext cx="414903" cy="227054"/>
              </a:xfrm>
              <a:custGeom>
                <a:avLst/>
                <a:gdLst>
                  <a:gd name="T0" fmla="*/ 3218 w 3248"/>
                  <a:gd name="T1" fmla="*/ 44 h 1958"/>
                  <a:gd name="T2" fmla="*/ 3173 w 3248"/>
                  <a:gd name="T3" fmla="*/ 82 h 1958"/>
                  <a:gd name="T4" fmla="*/ 3116 w 3248"/>
                  <a:gd name="T5" fmla="*/ 118 h 1958"/>
                  <a:gd name="T6" fmla="*/ 3045 w 3248"/>
                  <a:gd name="T7" fmla="*/ 151 h 1958"/>
                  <a:gd name="T8" fmla="*/ 2868 w 3248"/>
                  <a:gd name="T9" fmla="*/ 207 h 1958"/>
                  <a:gd name="T10" fmla="*/ 2648 w 3248"/>
                  <a:gd name="T11" fmla="*/ 257 h 1958"/>
                  <a:gd name="T12" fmla="*/ 2391 w 3248"/>
                  <a:gd name="T13" fmla="*/ 295 h 1958"/>
                  <a:gd name="T14" fmla="*/ 2103 w 3248"/>
                  <a:gd name="T15" fmla="*/ 323 h 1958"/>
                  <a:gd name="T16" fmla="*/ 1788 w 3248"/>
                  <a:gd name="T17" fmla="*/ 335 h 1958"/>
                  <a:gd name="T18" fmla="*/ 1460 w 3248"/>
                  <a:gd name="T19" fmla="*/ 337 h 1958"/>
                  <a:gd name="T20" fmla="*/ 1146 w 3248"/>
                  <a:gd name="T21" fmla="*/ 323 h 1958"/>
                  <a:gd name="T22" fmla="*/ 858 w 3248"/>
                  <a:gd name="T23" fmla="*/ 295 h 1958"/>
                  <a:gd name="T24" fmla="*/ 600 w 3248"/>
                  <a:gd name="T25" fmla="*/ 257 h 1958"/>
                  <a:gd name="T26" fmla="*/ 380 w 3248"/>
                  <a:gd name="T27" fmla="*/ 207 h 1958"/>
                  <a:gd name="T28" fmla="*/ 206 w 3248"/>
                  <a:gd name="T29" fmla="*/ 151 h 1958"/>
                  <a:gd name="T30" fmla="*/ 135 w 3248"/>
                  <a:gd name="T31" fmla="*/ 118 h 1958"/>
                  <a:gd name="T32" fmla="*/ 76 w 3248"/>
                  <a:gd name="T33" fmla="*/ 82 h 1958"/>
                  <a:gd name="T34" fmla="*/ 31 w 3248"/>
                  <a:gd name="T35" fmla="*/ 44 h 1958"/>
                  <a:gd name="T36" fmla="*/ 0 w 3248"/>
                  <a:gd name="T37" fmla="*/ 0 h 1958"/>
                  <a:gd name="T38" fmla="*/ 14 w 3248"/>
                  <a:gd name="T39" fmla="*/ 1641 h 1958"/>
                  <a:gd name="T40" fmla="*/ 52 w 3248"/>
                  <a:gd name="T41" fmla="*/ 1684 h 1958"/>
                  <a:gd name="T42" fmla="*/ 104 w 3248"/>
                  <a:gd name="T43" fmla="*/ 1719 h 1958"/>
                  <a:gd name="T44" fmla="*/ 168 w 3248"/>
                  <a:gd name="T45" fmla="*/ 1755 h 1958"/>
                  <a:gd name="T46" fmla="*/ 286 w 3248"/>
                  <a:gd name="T47" fmla="*/ 1800 h 1958"/>
                  <a:gd name="T48" fmla="*/ 487 w 3248"/>
                  <a:gd name="T49" fmla="*/ 1854 h 1958"/>
                  <a:gd name="T50" fmla="*/ 725 w 3248"/>
                  <a:gd name="T51" fmla="*/ 1897 h 1958"/>
                  <a:gd name="T52" fmla="*/ 999 w 3248"/>
                  <a:gd name="T53" fmla="*/ 1930 h 1958"/>
                  <a:gd name="T54" fmla="*/ 1302 w 3248"/>
                  <a:gd name="T55" fmla="*/ 1951 h 1958"/>
                  <a:gd name="T56" fmla="*/ 1625 w 3248"/>
                  <a:gd name="T57" fmla="*/ 1958 h 1958"/>
                  <a:gd name="T58" fmla="*/ 1949 w 3248"/>
                  <a:gd name="T59" fmla="*/ 1951 h 1958"/>
                  <a:gd name="T60" fmla="*/ 2251 w 3248"/>
                  <a:gd name="T61" fmla="*/ 1930 h 1958"/>
                  <a:gd name="T62" fmla="*/ 2525 w 3248"/>
                  <a:gd name="T63" fmla="*/ 1897 h 1958"/>
                  <a:gd name="T64" fmla="*/ 2764 w 3248"/>
                  <a:gd name="T65" fmla="*/ 1854 h 1958"/>
                  <a:gd name="T66" fmla="*/ 2962 w 3248"/>
                  <a:gd name="T67" fmla="*/ 1800 h 1958"/>
                  <a:gd name="T68" fmla="*/ 3081 w 3248"/>
                  <a:gd name="T69" fmla="*/ 1755 h 1958"/>
                  <a:gd name="T70" fmla="*/ 3147 w 3248"/>
                  <a:gd name="T71" fmla="*/ 1719 h 1958"/>
                  <a:gd name="T72" fmla="*/ 3199 w 3248"/>
                  <a:gd name="T73" fmla="*/ 1684 h 1958"/>
                  <a:gd name="T74" fmla="*/ 3236 w 3248"/>
                  <a:gd name="T75" fmla="*/ 1641 h 1958"/>
                  <a:gd name="T76" fmla="*/ 3248 w 3248"/>
                  <a:gd name="T77" fmla="*/ 0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8" h="1958">
                    <a:moveTo>
                      <a:pt x="3236" y="23"/>
                    </a:moveTo>
                    <a:lnTo>
                      <a:pt x="3218" y="44"/>
                    </a:lnTo>
                    <a:lnTo>
                      <a:pt x="3199" y="63"/>
                    </a:lnTo>
                    <a:lnTo>
                      <a:pt x="3173" y="82"/>
                    </a:lnTo>
                    <a:lnTo>
                      <a:pt x="3147" y="101"/>
                    </a:lnTo>
                    <a:lnTo>
                      <a:pt x="3116" y="118"/>
                    </a:lnTo>
                    <a:lnTo>
                      <a:pt x="3081" y="134"/>
                    </a:lnTo>
                    <a:lnTo>
                      <a:pt x="3045" y="151"/>
                    </a:lnTo>
                    <a:lnTo>
                      <a:pt x="2962" y="179"/>
                    </a:lnTo>
                    <a:lnTo>
                      <a:pt x="2868" y="207"/>
                    </a:lnTo>
                    <a:lnTo>
                      <a:pt x="2764" y="233"/>
                    </a:lnTo>
                    <a:lnTo>
                      <a:pt x="2648" y="257"/>
                    </a:lnTo>
                    <a:lnTo>
                      <a:pt x="2525" y="278"/>
                    </a:lnTo>
                    <a:lnTo>
                      <a:pt x="2391" y="295"/>
                    </a:lnTo>
                    <a:lnTo>
                      <a:pt x="2251" y="309"/>
                    </a:lnTo>
                    <a:lnTo>
                      <a:pt x="2103" y="323"/>
                    </a:lnTo>
                    <a:lnTo>
                      <a:pt x="1949" y="330"/>
                    </a:lnTo>
                    <a:lnTo>
                      <a:pt x="1788" y="335"/>
                    </a:lnTo>
                    <a:lnTo>
                      <a:pt x="1625" y="337"/>
                    </a:lnTo>
                    <a:lnTo>
                      <a:pt x="1460" y="337"/>
                    </a:lnTo>
                    <a:lnTo>
                      <a:pt x="1302" y="330"/>
                    </a:lnTo>
                    <a:lnTo>
                      <a:pt x="1146" y="323"/>
                    </a:lnTo>
                    <a:lnTo>
                      <a:pt x="999" y="311"/>
                    </a:lnTo>
                    <a:lnTo>
                      <a:pt x="858" y="295"/>
                    </a:lnTo>
                    <a:lnTo>
                      <a:pt x="725" y="278"/>
                    </a:lnTo>
                    <a:lnTo>
                      <a:pt x="600" y="257"/>
                    </a:lnTo>
                    <a:lnTo>
                      <a:pt x="487" y="233"/>
                    </a:lnTo>
                    <a:lnTo>
                      <a:pt x="380" y="207"/>
                    </a:lnTo>
                    <a:lnTo>
                      <a:pt x="286" y="181"/>
                    </a:lnTo>
                    <a:lnTo>
                      <a:pt x="206" y="151"/>
                    </a:lnTo>
                    <a:lnTo>
                      <a:pt x="168" y="134"/>
                    </a:lnTo>
                    <a:lnTo>
                      <a:pt x="135" y="118"/>
                    </a:lnTo>
                    <a:lnTo>
                      <a:pt x="104" y="101"/>
                    </a:lnTo>
                    <a:lnTo>
                      <a:pt x="76" y="82"/>
                    </a:lnTo>
                    <a:lnTo>
                      <a:pt x="52" y="63"/>
                    </a:lnTo>
                    <a:lnTo>
                      <a:pt x="31" y="44"/>
                    </a:lnTo>
                    <a:lnTo>
                      <a:pt x="14" y="23"/>
                    </a:lnTo>
                    <a:lnTo>
                      <a:pt x="0" y="0"/>
                    </a:lnTo>
                    <a:lnTo>
                      <a:pt x="0" y="1620"/>
                    </a:lnTo>
                    <a:lnTo>
                      <a:pt x="14" y="1641"/>
                    </a:lnTo>
                    <a:lnTo>
                      <a:pt x="31" y="1663"/>
                    </a:lnTo>
                    <a:lnTo>
                      <a:pt x="52" y="1684"/>
                    </a:lnTo>
                    <a:lnTo>
                      <a:pt x="76" y="1703"/>
                    </a:lnTo>
                    <a:lnTo>
                      <a:pt x="104" y="1719"/>
                    </a:lnTo>
                    <a:lnTo>
                      <a:pt x="135" y="1738"/>
                    </a:lnTo>
                    <a:lnTo>
                      <a:pt x="168" y="1755"/>
                    </a:lnTo>
                    <a:lnTo>
                      <a:pt x="206" y="1771"/>
                    </a:lnTo>
                    <a:lnTo>
                      <a:pt x="286" y="1800"/>
                    </a:lnTo>
                    <a:lnTo>
                      <a:pt x="380" y="1828"/>
                    </a:lnTo>
                    <a:lnTo>
                      <a:pt x="487" y="1854"/>
                    </a:lnTo>
                    <a:lnTo>
                      <a:pt x="600" y="1875"/>
                    </a:lnTo>
                    <a:lnTo>
                      <a:pt x="725" y="1897"/>
                    </a:lnTo>
                    <a:lnTo>
                      <a:pt x="858" y="1915"/>
                    </a:lnTo>
                    <a:lnTo>
                      <a:pt x="999" y="1930"/>
                    </a:lnTo>
                    <a:lnTo>
                      <a:pt x="1146" y="1941"/>
                    </a:lnTo>
                    <a:lnTo>
                      <a:pt x="1302" y="1951"/>
                    </a:lnTo>
                    <a:lnTo>
                      <a:pt x="1460" y="1956"/>
                    </a:lnTo>
                    <a:lnTo>
                      <a:pt x="1625" y="1958"/>
                    </a:lnTo>
                    <a:lnTo>
                      <a:pt x="1788" y="1956"/>
                    </a:lnTo>
                    <a:lnTo>
                      <a:pt x="1949" y="1951"/>
                    </a:lnTo>
                    <a:lnTo>
                      <a:pt x="2103" y="1941"/>
                    </a:lnTo>
                    <a:lnTo>
                      <a:pt x="2251" y="1930"/>
                    </a:lnTo>
                    <a:lnTo>
                      <a:pt x="2391" y="1915"/>
                    </a:lnTo>
                    <a:lnTo>
                      <a:pt x="2525" y="1897"/>
                    </a:lnTo>
                    <a:lnTo>
                      <a:pt x="2648" y="1875"/>
                    </a:lnTo>
                    <a:lnTo>
                      <a:pt x="2764" y="1854"/>
                    </a:lnTo>
                    <a:lnTo>
                      <a:pt x="2868" y="1828"/>
                    </a:lnTo>
                    <a:lnTo>
                      <a:pt x="2962" y="1800"/>
                    </a:lnTo>
                    <a:lnTo>
                      <a:pt x="3045" y="1771"/>
                    </a:lnTo>
                    <a:lnTo>
                      <a:pt x="3081" y="1755"/>
                    </a:lnTo>
                    <a:lnTo>
                      <a:pt x="3116" y="1738"/>
                    </a:lnTo>
                    <a:lnTo>
                      <a:pt x="3147" y="1719"/>
                    </a:lnTo>
                    <a:lnTo>
                      <a:pt x="3173" y="1703"/>
                    </a:lnTo>
                    <a:lnTo>
                      <a:pt x="3199" y="1684"/>
                    </a:lnTo>
                    <a:lnTo>
                      <a:pt x="3218" y="1663"/>
                    </a:lnTo>
                    <a:lnTo>
                      <a:pt x="3236" y="1641"/>
                    </a:lnTo>
                    <a:lnTo>
                      <a:pt x="3248" y="1620"/>
                    </a:lnTo>
                    <a:lnTo>
                      <a:pt x="3248" y="0"/>
                    </a:lnTo>
                    <a:lnTo>
                      <a:pt x="3236" y="23"/>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sp>
            <p:nvSpPr>
              <p:cNvPr id="152" name="Oval 8">
                <a:extLst>
                  <a:ext uri="{FF2B5EF4-FFF2-40B4-BE49-F238E27FC236}">
                    <a16:creationId xmlns:a16="http://schemas.microsoft.com/office/drawing/2014/main" id="{80A7073C-2F52-4CF9-A7A9-8D7FEE8D6E90}"/>
                  </a:ext>
                </a:extLst>
              </p:cNvPr>
              <p:cNvSpPr>
                <a:spLocks noChangeArrowheads="1"/>
              </p:cNvSpPr>
              <p:nvPr/>
            </p:nvSpPr>
            <p:spPr bwMode="auto">
              <a:xfrm>
                <a:off x="7566228" y="4556141"/>
                <a:ext cx="415925" cy="83377"/>
              </a:xfrm>
              <a:prstGeom prst="ellipse">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grpSp>
        <p:sp>
          <p:nvSpPr>
            <p:cNvPr id="150" name="Rechteck 149"/>
            <p:cNvSpPr/>
            <p:nvPr/>
          </p:nvSpPr>
          <p:spPr bwMode="auto">
            <a:xfrm>
              <a:off x="4295800" y="6513028"/>
              <a:ext cx="1152128" cy="396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DMS (eAkte)</a:t>
              </a:r>
              <a:br>
                <a:rPr lang="de-DE" sz="800" b="0" dirty="0">
                  <a:latin typeface="+mn-lt"/>
                </a:rPr>
              </a:br>
              <a:r>
                <a:rPr lang="de-DE" sz="800" b="0" dirty="0">
                  <a:latin typeface="+mn-lt"/>
                </a:rPr>
                <a:t>Geschäftszeichen ziehen und Antrag ablegen</a:t>
              </a:r>
            </a:p>
          </p:txBody>
        </p:sp>
      </p:grpSp>
      <p:sp>
        <p:nvSpPr>
          <p:cNvPr id="153" name="noun_project_00453.eps"/>
          <p:cNvSpPr>
            <a:spLocks noChangeAspect="1" noEditPoints="1"/>
          </p:cNvSpPr>
          <p:nvPr/>
        </p:nvSpPr>
        <p:spPr bwMode="auto">
          <a:xfrm>
            <a:off x="5297764" y="4828523"/>
            <a:ext cx="281450" cy="356687"/>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latin typeface="+mn-lt"/>
            </a:endParaRPr>
          </a:p>
        </p:txBody>
      </p:sp>
      <p:grpSp>
        <p:nvGrpSpPr>
          <p:cNvPr id="154" name="noun_project_00456.eps"/>
          <p:cNvGrpSpPr>
            <a:grpSpLocks noChangeAspect="1"/>
          </p:cNvGrpSpPr>
          <p:nvPr/>
        </p:nvGrpSpPr>
        <p:grpSpPr bwMode="auto">
          <a:xfrm>
            <a:off x="5297764" y="5295236"/>
            <a:ext cx="351813" cy="175907"/>
            <a:chOff x="3400" y="3056"/>
            <a:chExt cx="384" cy="192"/>
          </a:xfrm>
          <a:solidFill>
            <a:schemeClr val="tx1"/>
          </a:solidFill>
        </p:grpSpPr>
        <p:sp>
          <p:nvSpPr>
            <p:cNvPr id="155" name="Freeform 379"/>
            <p:cNvSpPr>
              <a:spLocks noChangeAspect="1"/>
            </p:cNvSpPr>
            <p:nvPr/>
          </p:nvSpPr>
          <p:spPr bwMode="auto">
            <a:xfrm>
              <a:off x="3688" y="3056"/>
              <a:ext cx="96" cy="192"/>
            </a:xfrm>
            <a:custGeom>
              <a:avLst/>
              <a:gdLst>
                <a:gd name="T0" fmla="*/ 0 w 864"/>
                <a:gd name="T1" fmla="*/ 0 h 1728"/>
                <a:gd name="T2" fmla="*/ 864 w 864"/>
                <a:gd name="T3" fmla="*/ 864 h 1728"/>
                <a:gd name="T4" fmla="*/ 0 w 864"/>
                <a:gd name="T5" fmla="*/ 1728 h 1728"/>
                <a:gd name="T6" fmla="*/ 0 w 864"/>
                <a:gd name="T7" fmla="*/ 1337 h 1728"/>
                <a:gd name="T8" fmla="*/ 473 w 864"/>
                <a:gd name="T9" fmla="*/ 864 h 1728"/>
                <a:gd name="T10" fmla="*/ 0 w 864"/>
                <a:gd name="T11" fmla="*/ 391 h 1728"/>
                <a:gd name="T12" fmla="*/ 0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0" y="0"/>
                  </a:moveTo>
                  <a:lnTo>
                    <a:pt x="864" y="864"/>
                  </a:lnTo>
                  <a:lnTo>
                    <a:pt x="0" y="1728"/>
                  </a:lnTo>
                  <a:lnTo>
                    <a:pt x="0" y="1337"/>
                  </a:lnTo>
                  <a:lnTo>
                    <a:pt x="473" y="864"/>
                  </a:lnTo>
                  <a:lnTo>
                    <a:pt x="0" y="391"/>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56" name="Freeform 380"/>
            <p:cNvSpPr>
              <a:spLocks noChangeAspect="1"/>
            </p:cNvSpPr>
            <p:nvPr/>
          </p:nvSpPr>
          <p:spPr bwMode="auto">
            <a:xfrm>
              <a:off x="3400" y="3056"/>
              <a:ext cx="96" cy="192"/>
            </a:xfrm>
            <a:custGeom>
              <a:avLst/>
              <a:gdLst>
                <a:gd name="T0" fmla="*/ 864 w 864"/>
                <a:gd name="T1" fmla="*/ 0 h 1728"/>
                <a:gd name="T2" fmla="*/ 864 w 864"/>
                <a:gd name="T3" fmla="*/ 391 h 1728"/>
                <a:gd name="T4" fmla="*/ 391 w 864"/>
                <a:gd name="T5" fmla="*/ 864 h 1728"/>
                <a:gd name="T6" fmla="*/ 864 w 864"/>
                <a:gd name="T7" fmla="*/ 1337 h 1728"/>
                <a:gd name="T8" fmla="*/ 864 w 864"/>
                <a:gd name="T9" fmla="*/ 1728 h 1728"/>
                <a:gd name="T10" fmla="*/ 0 w 864"/>
                <a:gd name="T11" fmla="*/ 864 h 1728"/>
                <a:gd name="T12" fmla="*/ 864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864" y="0"/>
                  </a:moveTo>
                  <a:lnTo>
                    <a:pt x="864" y="391"/>
                  </a:lnTo>
                  <a:lnTo>
                    <a:pt x="391" y="864"/>
                  </a:lnTo>
                  <a:lnTo>
                    <a:pt x="864" y="1337"/>
                  </a:lnTo>
                  <a:lnTo>
                    <a:pt x="864" y="1728"/>
                  </a:lnTo>
                  <a:lnTo>
                    <a:pt x="0" y="864"/>
                  </a:lnTo>
                  <a:lnTo>
                    <a:pt x="864"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57" name="Freeform 381"/>
            <p:cNvSpPr>
              <a:spLocks noChangeAspect="1"/>
            </p:cNvSpPr>
            <p:nvPr/>
          </p:nvSpPr>
          <p:spPr bwMode="auto">
            <a:xfrm>
              <a:off x="3569"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58" name="Freeform 382"/>
            <p:cNvSpPr>
              <a:spLocks noChangeAspect="1"/>
            </p:cNvSpPr>
            <p:nvPr/>
          </p:nvSpPr>
          <p:spPr bwMode="auto">
            <a:xfrm>
              <a:off x="3500" y="3133"/>
              <a:ext cx="46" cy="46"/>
            </a:xfrm>
            <a:custGeom>
              <a:avLst/>
              <a:gdLst>
                <a:gd name="T0" fmla="*/ 207 w 414"/>
                <a:gd name="T1" fmla="*/ 0 h 415"/>
                <a:gd name="T2" fmla="*/ 240 w 414"/>
                <a:gd name="T3" fmla="*/ 3 h 415"/>
                <a:gd name="T4" fmla="*/ 273 w 414"/>
                <a:gd name="T5" fmla="*/ 11 h 415"/>
                <a:gd name="T6" fmla="*/ 302 w 414"/>
                <a:gd name="T7" fmla="*/ 23 h 415"/>
                <a:gd name="T8" fmla="*/ 329 w 414"/>
                <a:gd name="T9" fmla="*/ 40 h 415"/>
                <a:gd name="T10" fmla="*/ 354 w 414"/>
                <a:gd name="T11" fmla="*/ 61 h 415"/>
                <a:gd name="T12" fmla="*/ 374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4 w 414"/>
                <a:gd name="T29" fmla="*/ 330 h 415"/>
                <a:gd name="T30" fmla="*/ 354 w 414"/>
                <a:gd name="T31" fmla="*/ 354 h 415"/>
                <a:gd name="T32" fmla="*/ 329 w 414"/>
                <a:gd name="T33" fmla="*/ 375 h 415"/>
                <a:gd name="T34" fmla="*/ 302 w 414"/>
                <a:gd name="T35" fmla="*/ 392 h 415"/>
                <a:gd name="T36" fmla="*/ 273 w 414"/>
                <a:gd name="T37" fmla="*/ 404 h 415"/>
                <a:gd name="T38" fmla="*/ 240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0" y="3"/>
                  </a:lnTo>
                  <a:lnTo>
                    <a:pt x="273" y="11"/>
                  </a:lnTo>
                  <a:lnTo>
                    <a:pt x="302" y="23"/>
                  </a:lnTo>
                  <a:lnTo>
                    <a:pt x="329" y="40"/>
                  </a:lnTo>
                  <a:lnTo>
                    <a:pt x="354" y="61"/>
                  </a:lnTo>
                  <a:lnTo>
                    <a:pt x="374" y="85"/>
                  </a:lnTo>
                  <a:lnTo>
                    <a:pt x="391" y="112"/>
                  </a:lnTo>
                  <a:lnTo>
                    <a:pt x="404" y="142"/>
                  </a:lnTo>
                  <a:lnTo>
                    <a:pt x="411" y="174"/>
                  </a:lnTo>
                  <a:lnTo>
                    <a:pt x="414" y="208"/>
                  </a:lnTo>
                  <a:lnTo>
                    <a:pt x="411" y="241"/>
                  </a:lnTo>
                  <a:lnTo>
                    <a:pt x="404" y="274"/>
                  </a:lnTo>
                  <a:lnTo>
                    <a:pt x="391" y="303"/>
                  </a:lnTo>
                  <a:lnTo>
                    <a:pt x="374" y="330"/>
                  </a:lnTo>
                  <a:lnTo>
                    <a:pt x="354" y="354"/>
                  </a:lnTo>
                  <a:lnTo>
                    <a:pt x="329" y="375"/>
                  </a:lnTo>
                  <a:lnTo>
                    <a:pt x="302" y="392"/>
                  </a:lnTo>
                  <a:lnTo>
                    <a:pt x="273" y="404"/>
                  </a:lnTo>
                  <a:lnTo>
                    <a:pt x="240"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59" name="Freeform 383"/>
            <p:cNvSpPr>
              <a:spLocks noChangeAspect="1"/>
            </p:cNvSpPr>
            <p:nvPr/>
          </p:nvSpPr>
          <p:spPr bwMode="auto">
            <a:xfrm>
              <a:off x="3638"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4 w 414"/>
                <a:gd name="T43" fmla="*/ 412 h 415"/>
                <a:gd name="T44" fmla="*/ 141 w 414"/>
                <a:gd name="T45" fmla="*/ 404 h 415"/>
                <a:gd name="T46" fmla="*/ 112 w 414"/>
                <a:gd name="T47" fmla="*/ 392 h 415"/>
                <a:gd name="T48" fmla="*/ 85 w 414"/>
                <a:gd name="T49" fmla="*/ 375 h 415"/>
                <a:gd name="T50" fmla="*/ 60 w 414"/>
                <a:gd name="T51" fmla="*/ 354 h 415"/>
                <a:gd name="T52" fmla="*/ 40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40 w 414"/>
                <a:gd name="T69" fmla="*/ 85 h 415"/>
                <a:gd name="T70" fmla="*/ 60 w 414"/>
                <a:gd name="T71" fmla="*/ 61 h 415"/>
                <a:gd name="T72" fmla="*/ 85 w 414"/>
                <a:gd name="T73" fmla="*/ 40 h 415"/>
                <a:gd name="T74" fmla="*/ 112 w 414"/>
                <a:gd name="T75" fmla="*/ 23 h 415"/>
                <a:gd name="T76" fmla="*/ 141 w 414"/>
                <a:gd name="T77" fmla="*/ 11 h 415"/>
                <a:gd name="T78" fmla="*/ 174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4" y="412"/>
                  </a:lnTo>
                  <a:lnTo>
                    <a:pt x="141" y="404"/>
                  </a:lnTo>
                  <a:lnTo>
                    <a:pt x="112" y="392"/>
                  </a:lnTo>
                  <a:lnTo>
                    <a:pt x="85" y="375"/>
                  </a:lnTo>
                  <a:lnTo>
                    <a:pt x="60" y="354"/>
                  </a:lnTo>
                  <a:lnTo>
                    <a:pt x="40" y="330"/>
                  </a:lnTo>
                  <a:lnTo>
                    <a:pt x="23" y="303"/>
                  </a:lnTo>
                  <a:lnTo>
                    <a:pt x="10" y="274"/>
                  </a:lnTo>
                  <a:lnTo>
                    <a:pt x="3" y="241"/>
                  </a:lnTo>
                  <a:lnTo>
                    <a:pt x="0" y="208"/>
                  </a:lnTo>
                  <a:lnTo>
                    <a:pt x="3" y="174"/>
                  </a:lnTo>
                  <a:lnTo>
                    <a:pt x="10" y="142"/>
                  </a:lnTo>
                  <a:lnTo>
                    <a:pt x="23" y="112"/>
                  </a:lnTo>
                  <a:lnTo>
                    <a:pt x="40" y="85"/>
                  </a:lnTo>
                  <a:lnTo>
                    <a:pt x="60" y="61"/>
                  </a:lnTo>
                  <a:lnTo>
                    <a:pt x="85" y="40"/>
                  </a:lnTo>
                  <a:lnTo>
                    <a:pt x="112" y="23"/>
                  </a:lnTo>
                  <a:lnTo>
                    <a:pt x="141" y="11"/>
                  </a:lnTo>
                  <a:lnTo>
                    <a:pt x="174"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grpSp>
      <p:grpSp>
        <p:nvGrpSpPr>
          <p:cNvPr id="160" name="Sticker">
            <a:extLst>
              <a:ext uri="{FF2B5EF4-FFF2-40B4-BE49-F238E27FC236}">
                <a16:creationId xmlns:a16="http://schemas.microsoft.com/office/drawing/2014/main" id="{2392D97A-37AD-4446-A63F-47D130AFC840}"/>
              </a:ext>
            </a:extLst>
          </p:cNvPr>
          <p:cNvGrpSpPr/>
          <p:nvPr>
            <p:custDataLst>
              <p:tags r:id="rId2"/>
            </p:custDataLst>
          </p:nvPr>
        </p:nvGrpSpPr>
        <p:grpSpPr>
          <a:xfrm>
            <a:off x="10626341" y="1274763"/>
            <a:ext cx="899413" cy="215444"/>
            <a:chOff x="-326244" y="15388"/>
            <a:chExt cx="899413" cy="215444"/>
          </a:xfrm>
        </p:grpSpPr>
        <p:sp>
          <p:nvSpPr>
            <p:cNvPr id="161" name="Text">
              <a:extLst>
                <a:ext uri="{FF2B5EF4-FFF2-40B4-BE49-F238E27FC236}">
                  <a16:creationId xmlns:a16="http://schemas.microsoft.com/office/drawing/2014/main" id="{F0D3A2E7-E025-45C2-8DE8-78B0804B4B59}"/>
                </a:ext>
              </a:extLst>
            </p:cNvPr>
            <p:cNvSpPr txBox="1"/>
            <p:nvPr>
              <p:custDataLst>
                <p:tags r:id="rId3"/>
              </p:custDataLst>
            </p:nvPr>
          </p:nvSpPr>
          <p:spPr>
            <a:xfrm>
              <a:off x="-326244" y="15388"/>
              <a:ext cx="899413" cy="215444"/>
            </a:xfrm>
            <a:prstGeom prst="leftRightArrow">
              <a:avLst>
                <a:gd name="adj1" fmla="val 100000"/>
                <a:gd name="adj2" fmla="val 0"/>
              </a:avLst>
            </a:prstGeom>
            <a:noFill/>
          </p:spPr>
          <p:txBody>
            <a:bodyPr vert="horz" wrap="none" lIns="0" tIns="0" rIns="0" bIns="0" rtlCol="0" anchor="ctr">
              <a:spAutoFit/>
            </a:bodyPr>
            <a:lstStyle/>
            <a:p>
              <a:pPr algn="r"/>
              <a:r>
                <a:rPr lang="de-DE" sz="1400" cap="all"/>
                <a:t>Vorschlag</a:t>
              </a:r>
              <a:endParaRPr lang="de-DE" sz="1400" cap="all" dirty="0"/>
            </a:p>
          </p:txBody>
        </p:sp>
        <p:cxnSp>
          <p:nvCxnSpPr>
            <p:cNvPr id="162" name="Linie">
              <a:extLst>
                <a:ext uri="{FF2B5EF4-FFF2-40B4-BE49-F238E27FC236}">
                  <a16:creationId xmlns:a16="http://schemas.microsoft.com/office/drawing/2014/main" id="{F26B5AF2-915B-42B9-AE7A-ED2C0554FD5C}"/>
                </a:ext>
              </a:extLst>
            </p:cNvPr>
            <p:cNvCxnSpPr>
              <a:cxnSpLocks/>
              <a:stCxn id="161" idx="2"/>
              <a:endCxn id="161" idx="0"/>
            </p:cNvCxnSpPr>
            <p:nvPr/>
          </p:nvCxnSpPr>
          <p:spPr>
            <a:xfrm>
              <a:off x="-326244" y="15388"/>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3" name="Linie">
              <a:extLst>
                <a:ext uri="{FF2B5EF4-FFF2-40B4-BE49-F238E27FC236}">
                  <a16:creationId xmlns:a16="http://schemas.microsoft.com/office/drawing/2014/main" id="{D2699AC0-5AB4-4732-B271-22E6717AB338}"/>
                </a:ext>
              </a:extLst>
            </p:cNvPr>
            <p:cNvCxnSpPr>
              <a:cxnSpLocks/>
              <a:stCxn id="161" idx="6"/>
              <a:endCxn id="161" idx="4"/>
            </p:cNvCxnSpPr>
            <p:nvPr/>
          </p:nvCxnSpPr>
          <p:spPr>
            <a:xfrm flipH="1">
              <a:off x="-326244" y="230832"/>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273912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423660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7" imgH="348" progId="TCLayout.ActiveDocument.1">
                  <p:embed/>
                </p:oleObj>
              </mc:Choice>
              <mc:Fallback>
                <p:oleObj name="think-cell Foli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altLang="de-DE" dirty="0"/>
              <a:t>Prozessbeschreibung Förderverfahren „Unser Dorf soll schöner werden“</a:t>
            </a:r>
            <a:endParaRPr lang="de-DE" dirty="0"/>
          </a:p>
        </p:txBody>
      </p:sp>
      <p:sp>
        <p:nvSpPr>
          <p:cNvPr id="3" name="Fußzeilenplatzhalter 2"/>
          <p:cNvSpPr>
            <a:spLocks noGrp="1"/>
          </p:cNvSpPr>
          <p:nvPr>
            <p:ph type="ftr" sz="quarter" idx="10"/>
          </p:nvPr>
        </p:nvSpPr>
        <p:spPr/>
        <p:txBody>
          <a:bodyPr/>
          <a:lstStyle/>
          <a:p>
            <a:pPr>
              <a:defRPr/>
            </a:pPr>
            <a:r>
              <a:rPr lang="de-DE"/>
              <a:t>Factbook Verwaltungsdigitalisierung</a:t>
            </a:r>
            <a:endParaRPr lang="de-DE" dirty="0"/>
          </a:p>
        </p:txBody>
      </p:sp>
      <p:sp>
        <p:nvSpPr>
          <p:cNvPr id="4" name="Foliennummernplatzhalter 3"/>
          <p:cNvSpPr>
            <a:spLocks noGrp="1"/>
          </p:cNvSpPr>
          <p:nvPr>
            <p:ph type="sldNum" sz="quarter" idx="12"/>
          </p:nvPr>
        </p:nvSpPr>
        <p:spPr/>
        <p:txBody>
          <a:bodyPr/>
          <a:lstStyle/>
          <a:p>
            <a:fld id="{D4A18DF9-8FF6-4BA5-BC52-5FB4772E2292}" type="slidenum">
              <a:rPr lang="de-DE" smtClean="0"/>
              <a:pPr/>
              <a:t>11</a:t>
            </a:fld>
            <a:endParaRPr lang="de-DE" dirty="0"/>
          </a:p>
        </p:txBody>
      </p:sp>
      <p:sp>
        <p:nvSpPr>
          <p:cNvPr id="5" name="Textplatzhalter 4"/>
          <p:cNvSpPr>
            <a:spLocks noGrp="1"/>
          </p:cNvSpPr>
          <p:nvPr>
            <p:ph type="body" sz="quarter" idx="14"/>
          </p:nvPr>
        </p:nvSpPr>
        <p:spPr>
          <a:xfrm>
            <a:off x="693211" y="191947"/>
            <a:ext cx="1920398" cy="123111"/>
          </a:xfrm>
        </p:spPr>
        <p:txBody>
          <a:bodyPr/>
          <a:lstStyle/>
          <a:p>
            <a:r>
              <a:rPr lang="de-DE" dirty="0"/>
              <a:t>Plattformbasierte Verwaltungsdigitalisierung</a:t>
            </a:r>
          </a:p>
        </p:txBody>
      </p:sp>
      <p:sp>
        <p:nvSpPr>
          <p:cNvPr id="6" name="Textplatzhalter 5"/>
          <p:cNvSpPr>
            <a:spLocks noGrp="1"/>
          </p:cNvSpPr>
          <p:nvPr>
            <p:ph type="body" sz="quarter" idx="13"/>
          </p:nvPr>
        </p:nvSpPr>
        <p:spPr/>
        <p:txBody>
          <a:bodyPr/>
          <a:lstStyle/>
          <a:p>
            <a:r>
              <a:rPr lang="de-DE" dirty="0"/>
              <a:t>Prozessbeschreibung</a:t>
            </a:r>
          </a:p>
        </p:txBody>
      </p:sp>
      <p:sp>
        <p:nvSpPr>
          <p:cNvPr id="10" name="Rectangle 6">
            <a:extLst>
              <a:ext uri="{FF2B5EF4-FFF2-40B4-BE49-F238E27FC236}">
                <a16:creationId xmlns:a16="http://schemas.microsoft.com/office/drawing/2014/main" id="{32E09671-CE98-4E40-BA8E-8EC7F64BDBE5}"/>
              </a:ext>
            </a:extLst>
          </p:cNvPr>
          <p:cNvSpPr>
            <a:spLocks noChangeArrowheads="1"/>
          </p:cNvSpPr>
          <p:nvPr/>
        </p:nvSpPr>
        <p:spPr bwMode="auto">
          <a:xfrm>
            <a:off x="695325" y="1628775"/>
            <a:ext cx="10810800" cy="306002"/>
          </a:xfrm>
          <a:prstGeom prst="rect">
            <a:avLst/>
          </a:prstGeom>
          <a:solidFill>
            <a:schemeClr val="accent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altLang="de-DE" sz="1400" b="0" dirty="0">
                <a:solidFill>
                  <a:srgbClr val="FFFFFF"/>
                </a:solidFill>
                <a:latin typeface="+mn-lt"/>
              </a:rPr>
              <a:t>Verrichtung Widerspruchsverfahren (3/3)</a:t>
            </a:r>
            <a:endParaRPr lang="de-DE" altLang="de-DE" sz="3600" b="0" dirty="0">
              <a:solidFill>
                <a:schemeClr val="tx1"/>
              </a:solidFill>
              <a:latin typeface="+mn-lt"/>
            </a:endParaRPr>
          </a:p>
        </p:txBody>
      </p:sp>
      <p:grpSp>
        <p:nvGrpSpPr>
          <p:cNvPr id="11" name="Gruppieren 10"/>
          <p:cNvGrpSpPr/>
          <p:nvPr/>
        </p:nvGrpSpPr>
        <p:grpSpPr>
          <a:xfrm>
            <a:off x="695325" y="4680700"/>
            <a:ext cx="10800000" cy="1047291"/>
            <a:chOff x="704793" y="4656507"/>
            <a:chExt cx="11073894" cy="1432720"/>
          </a:xfrm>
        </p:grpSpPr>
        <p:sp>
          <p:nvSpPr>
            <p:cNvPr id="12" name="Rectangle 13">
              <a:extLst>
                <a:ext uri="{FF2B5EF4-FFF2-40B4-BE49-F238E27FC236}">
                  <a16:creationId xmlns:a16="http://schemas.microsoft.com/office/drawing/2014/main" id="{D342D121-1021-4364-8676-69662C9754EB}"/>
                </a:ext>
              </a:extLst>
            </p:cNvPr>
            <p:cNvSpPr>
              <a:spLocks noChangeArrowheads="1"/>
            </p:cNvSpPr>
            <p:nvPr/>
          </p:nvSpPr>
          <p:spPr bwMode="auto">
            <a:xfrm>
              <a:off x="1298405" y="4656507"/>
              <a:ext cx="10480282" cy="1432720"/>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latin typeface="+mn-lt"/>
              </a:endParaRPr>
            </a:p>
          </p:txBody>
        </p:sp>
        <p:sp>
          <p:nvSpPr>
            <p:cNvPr id="13" name="Rectangle 14">
              <a:extLst>
                <a:ext uri="{FF2B5EF4-FFF2-40B4-BE49-F238E27FC236}">
                  <a16:creationId xmlns:a16="http://schemas.microsoft.com/office/drawing/2014/main" id="{D1D2E309-6355-4FEE-B64F-5498BA981CDA}"/>
                </a:ext>
              </a:extLst>
            </p:cNvPr>
            <p:cNvSpPr>
              <a:spLocks noChangeArrowheads="1"/>
            </p:cNvSpPr>
            <p:nvPr/>
          </p:nvSpPr>
          <p:spPr bwMode="auto">
            <a:xfrm>
              <a:off x="704793" y="4656507"/>
              <a:ext cx="593613" cy="1432720"/>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200" b="0" dirty="0">
                  <a:solidFill>
                    <a:schemeClr val="bg1"/>
                  </a:solidFill>
                  <a:latin typeface="+mn-lt"/>
                </a:rPr>
                <a:t>IT-Systeme</a:t>
              </a:r>
            </a:p>
          </p:txBody>
        </p:sp>
      </p:grpSp>
      <p:grpSp>
        <p:nvGrpSpPr>
          <p:cNvPr id="14" name="Gruppieren 13"/>
          <p:cNvGrpSpPr/>
          <p:nvPr/>
        </p:nvGrpSpPr>
        <p:grpSpPr>
          <a:xfrm>
            <a:off x="695325" y="1934778"/>
            <a:ext cx="10800000" cy="936000"/>
            <a:chOff x="704793" y="2296012"/>
            <a:chExt cx="11073894" cy="1132449"/>
          </a:xfrm>
        </p:grpSpPr>
        <p:sp>
          <p:nvSpPr>
            <p:cNvPr id="15" name="Rectangle 9">
              <a:extLst>
                <a:ext uri="{FF2B5EF4-FFF2-40B4-BE49-F238E27FC236}">
                  <a16:creationId xmlns:a16="http://schemas.microsoft.com/office/drawing/2014/main" id="{398D2A2D-DD1D-4948-8598-5A56A7BAE3B7}"/>
                </a:ext>
              </a:extLst>
            </p:cNvPr>
            <p:cNvSpPr>
              <a:spLocks noChangeArrowheads="1"/>
            </p:cNvSpPr>
            <p:nvPr/>
          </p:nvSpPr>
          <p:spPr bwMode="auto">
            <a:xfrm>
              <a:off x="1298405" y="2296012"/>
              <a:ext cx="10480282" cy="1132449"/>
            </a:xfrm>
            <a:prstGeom prst="rect">
              <a:avLst/>
            </a:prstGeom>
            <a:noFill/>
            <a:ln w="4763" cap="rnd">
              <a:solidFill>
                <a:srgbClr val="254F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000" dirty="0">
                <a:latin typeface="+mn-lt"/>
              </a:endParaRPr>
            </a:p>
          </p:txBody>
        </p:sp>
        <p:sp>
          <p:nvSpPr>
            <p:cNvPr id="16" name="Rectangle 10">
              <a:extLst>
                <a:ext uri="{FF2B5EF4-FFF2-40B4-BE49-F238E27FC236}">
                  <a16:creationId xmlns:a16="http://schemas.microsoft.com/office/drawing/2014/main" id="{A67BBDEC-4A9D-4BC1-BF8C-46DC3E54CCED}"/>
                </a:ext>
              </a:extLst>
            </p:cNvPr>
            <p:cNvSpPr>
              <a:spLocks noChangeArrowheads="1"/>
            </p:cNvSpPr>
            <p:nvPr/>
          </p:nvSpPr>
          <p:spPr bwMode="auto">
            <a:xfrm>
              <a:off x="704793" y="2296012"/>
              <a:ext cx="593613" cy="1132449"/>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050" b="0" dirty="0">
                  <a:solidFill>
                    <a:schemeClr val="bg1"/>
                  </a:solidFill>
                  <a:latin typeface="+mn-lt"/>
                </a:rPr>
                <a:t>Antragssteller</a:t>
              </a:r>
            </a:p>
          </p:txBody>
        </p:sp>
      </p:grpSp>
      <p:grpSp>
        <p:nvGrpSpPr>
          <p:cNvPr id="17" name="Gruppieren 16"/>
          <p:cNvGrpSpPr/>
          <p:nvPr/>
        </p:nvGrpSpPr>
        <p:grpSpPr>
          <a:xfrm>
            <a:off x="695325" y="2870584"/>
            <a:ext cx="10800000" cy="1810116"/>
            <a:chOff x="704793" y="3428461"/>
            <a:chExt cx="11073893" cy="1228046"/>
          </a:xfrm>
        </p:grpSpPr>
        <p:sp>
          <p:nvSpPr>
            <p:cNvPr id="18" name="Rectangle 18">
              <a:extLst>
                <a:ext uri="{FF2B5EF4-FFF2-40B4-BE49-F238E27FC236}">
                  <a16:creationId xmlns:a16="http://schemas.microsoft.com/office/drawing/2014/main" id="{917DD591-168F-421A-8AA6-528A1A8BF4D9}"/>
                </a:ext>
              </a:extLst>
            </p:cNvPr>
            <p:cNvSpPr>
              <a:spLocks noChangeArrowheads="1"/>
            </p:cNvSpPr>
            <p:nvPr/>
          </p:nvSpPr>
          <p:spPr bwMode="auto">
            <a:xfrm>
              <a:off x="1298405" y="3428461"/>
              <a:ext cx="10480281" cy="1228046"/>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latin typeface="+mn-lt"/>
              </a:endParaRPr>
            </a:p>
          </p:txBody>
        </p:sp>
        <p:sp>
          <p:nvSpPr>
            <p:cNvPr id="19" name="Rectangle 19">
              <a:extLst>
                <a:ext uri="{FF2B5EF4-FFF2-40B4-BE49-F238E27FC236}">
                  <a16:creationId xmlns:a16="http://schemas.microsoft.com/office/drawing/2014/main" id="{B0A7F657-D396-4384-940E-BA7AE49CB37D}"/>
                </a:ext>
              </a:extLst>
            </p:cNvPr>
            <p:cNvSpPr>
              <a:spLocks noChangeArrowheads="1"/>
            </p:cNvSpPr>
            <p:nvPr/>
          </p:nvSpPr>
          <p:spPr bwMode="auto">
            <a:xfrm>
              <a:off x="704793" y="3428461"/>
              <a:ext cx="593613" cy="1228046"/>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100" b="0" dirty="0">
                  <a:solidFill>
                    <a:schemeClr val="bg1"/>
                  </a:solidFill>
                  <a:latin typeface="+mn-lt"/>
                </a:rPr>
                <a:t>Verwaltung</a:t>
              </a:r>
            </a:p>
          </p:txBody>
        </p:sp>
      </p:grpSp>
      <p:grpSp>
        <p:nvGrpSpPr>
          <p:cNvPr id="20" name="Gruppieren 19"/>
          <p:cNvGrpSpPr/>
          <p:nvPr/>
        </p:nvGrpSpPr>
        <p:grpSpPr>
          <a:xfrm>
            <a:off x="2415156" y="5885090"/>
            <a:ext cx="7452698" cy="290137"/>
            <a:chOff x="2554484" y="6177297"/>
            <a:chExt cx="7452698" cy="290137"/>
          </a:xfrm>
        </p:grpSpPr>
        <p:sp>
          <p:nvSpPr>
            <p:cNvPr id="21" name="noun_project_00453.eps"/>
            <p:cNvSpPr>
              <a:spLocks noChangeAspect="1" noEditPoints="1"/>
            </p:cNvSpPr>
            <p:nvPr/>
          </p:nvSpPr>
          <p:spPr bwMode="auto">
            <a:xfrm>
              <a:off x="2554484" y="6208306"/>
              <a:ext cx="180000" cy="22811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p>
          </p:txBody>
        </p:sp>
        <p:grpSp>
          <p:nvGrpSpPr>
            <p:cNvPr id="22" name="noun_project_00456.eps"/>
            <p:cNvGrpSpPr>
              <a:grpSpLocks noChangeAspect="1"/>
            </p:cNvGrpSpPr>
            <p:nvPr/>
          </p:nvGrpSpPr>
          <p:grpSpPr bwMode="auto">
            <a:xfrm>
              <a:off x="7623664" y="6277365"/>
              <a:ext cx="180000" cy="90000"/>
              <a:chOff x="3400" y="3056"/>
              <a:chExt cx="384" cy="192"/>
            </a:xfrm>
            <a:solidFill>
              <a:schemeClr val="tx1"/>
            </a:solidFill>
          </p:grpSpPr>
          <p:sp>
            <p:nvSpPr>
              <p:cNvPr id="56" name="Freeform 379"/>
              <p:cNvSpPr>
                <a:spLocks noChangeAspect="1"/>
              </p:cNvSpPr>
              <p:nvPr/>
            </p:nvSpPr>
            <p:spPr bwMode="auto">
              <a:xfrm>
                <a:off x="3688" y="3056"/>
                <a:ext cx="96" cy="192"/>
              </a:xfrm>
              <a:custGeom>
                <a:avLst/>
                <a:gdLst>
                  <a:gd name="T0" fmla="*/ 0 w 864"/>
                  <a:gd name="T1" fmla="*/ 0 h 1728"/>
                  <a:gd name="T2" fmla="*/ 864 w 864"/>
                  <a:gd name="T3" fmla="*/ 864 h 1728"/>
                  <a:gd name="T4" fmla="*/ 0 w 864"/>
                  <a:gd name="T5" fmla="*/ 1728 h 1728"/>
                  <a:gd name="T6" fmla="*/ 0 w 864"/>
                  <a:gd name="T7" fmla="*/ 1337 h 1728"/>
                  <a:gd name="T8" fmla="*/ 473 w 864"/>
                  <a:gd name="T9" fmla="*/ 864 h 1728"/>
                  <a:gd name="T10" fmla="*/ 0 w 864"/>
                  <a:gd name="T11" fmla="*/ 391 h 1728"/>
                  <a:gd name="T12" fmla="*/ 0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0" y="0"/>
                    </a:moveTo>
                    <a:lnTo>
                      <a:pt x="864" y="864"/>
                    </a:lnTo>
                    <a:lnTo>
                      <a:pt x="0" y="1728"/>
                    </a:lnTo>
                    <a:lnTo>
                      <a:pt x="0" y="1337"/>
                    </a:lnTo>
                    <a:lnTo>
                      <a:pt x="473" y="864"/>
                    </a:lnTo>
                    <a:lnTo>
                      <a:pt x="0" y="391"/>
                    </a:lnTo>
                    <a:lnTo>
                      <a:pt x="0" y="0"/>
                    </a:lnTo>
                    <a:close/>
                  </a:path>
                </a:pathLst>
              </a:custGeom>
              <a:grpFill/>
              <a:ln w="0">
                <a:solidFill>
                  <a:schemeClr val="tx1"/>
                </a:solidFill>
                <a:prstDash val="solid"/>
                <a:round/>
                <a:headEnd/>
                <a:tailEnd/>
              </a:ln>
            </p:spPr>
            <p:txBody>
              <a:bodyPr/>
              <a:lstStyle/>
              <a:p>
                <a:endParaRPr lang="de-DE" sz="800" b="0" dirty="0"/>
              </a:p>
            </p:txBody>
          </p:sp>
          <p:sp>
            <p:nvSpPr>
              <p:cNvPr id="57" name="Freeform 380"/>
              <p:cNvSpPr>
                <a:spLocks noChangeAspect="1"/>
              </p:cNvSpPr>
              <p:nvPr/>
            </p:nvSpPr>
            <p:spPr bwMode="auto">
              <a:xfrm>
                <a:off x="3400" y="3056"/>
                <a:ext cx="96" cy="192"/>
              </a:xfrm>
              <a:custGeom>
                <a:avLst/>
                <a:gdLst>
                  <a:gd name="T0" fmla="*/ 864 w 864"/>
                  <a:gd name="T1" fmla="*/ 0 h 1728"/>
                  <a:gd name="T2" fmla="*/ 864 w 864"/>
                  <a:gd name="T3" fmla="*/ 391 h 1728"/>
                  <a:gd name="T4" fmla="*/ 391 w 864"/>
                  <a:gd name="T5" fmla="*/ 864 h 1728"/>
                  <a:gd name="T6" fmla="*/ 864 w 864"/>
                  <a:gd name="T7" fmla="*/ 1337 h 1728"/>
                  <a:gd name="T8" fmla="*/ 864 w 864"/>
                  <a:gd name="T9" fmla="*/ 1728 h 1728"/>
                  <a:gd name="T10" fmla="*/ 0 w 864"/>
                  <a:gd name="T11" fmla="*/ 864 h 1728"/>
                  <a:gd name="T12" fmla="*/ 864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864" y="0"/>
                    </a:moveTo>
                    <a:lnTo>
                      <a:pt x="864" y="391"/>
                    </a:lnTo>
                    <a:lnTo>
                      <a:pt x="391" y="864"/>
                    </a:lnTo>
                    <a:lnTo>
                      <a:pt x="864" y="1337"/>
                    </a:lnTo>
                    <a:lnTo>
                      <a:pt x="864" y="1728"/>
                    </a:lnTo>
                    <a:lnTo>
                      <a:pt x="0" y="864"/>
                    </a:lnTo>
                    <a:lnTo>
                      <a:pt x="864" y="0"/>
                    </a:lnTo>
                    <a:close/>
                  </a:path>
                </a:pathLst>
              </a:custGeom>
              <a:grpFill/>
              <a:ln w="0">
                <a:solidFill>
                  <a:schemeClr val="tx1"/>
                </a:solidFill>
                <a:prstDash val="solid"/>
                <a:round/>
                <a:headEnd/>
                <a:tailEnd/>
              </a:ln>
            </p:spPr>
            <p:txBody>
              <a:bodyPr/>
              <a:lstStyle/>
              <a:p>
                <a:endParaRPr lang="de-DE" sz="800" b="0" dirty="0"/>
              </a:p>
            </p:txBody>
          </p:sp>
          <p:sp>
            <p:nvSpPr>
              <p:cNvPr id="58" name="Freeform 381"/>
              <p:cNvSpPr>
                <a:spLocks noChangeAspect="1"/>
              </p:cNvSpPr>
              <p:nvPr/>
            </p:nvSpPr>
            <p:spPr bwMode="auto">
              <a:xfrm>
                <a:off x="3569"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p>
            </p:txBody>
          </p:sp>
          <p:sp>
            <p:nvSpPr>
              <p:cNvPr id="59" name="Freeform 382"/>
              <p:cNvSpPr>
                <a:spLocks noChangeAspect="1"/>
              </p:cNvSpPr>
              <p:nvPr/>
            </p:nvSpPr>
            <p:spPr bwMode="auto">
              <a:xfrm>
                <a:off x="3500" y="3133"/>
                <a:ext cx="46" cy="46"/>
              </a:xfrm>
              <a:custGeom>
                <a:avLst/>
                <a:gdLst>
                  <a:gd name="T0" fmla="*/ 207 w 414"/>
                  <a:gd name="T1" fmla="*/ 0 h 415"/>
                  <a:gd name="T2" fmla="*/ 240 w 414"/>
                  <a:gd name="T3" fmla="*/ 3 h 415"/>
                  <a:gd name="T4" fmla="*/ 273 w 414"/>
                  <a:gd name="T5" fmla="*/ 11 h 415"/>
                  <a:gd name="T6" fmla="*/ 302 w 414"/>
                  <a:gd name="T7" fmla="*/ 23 h 415"/>
                  <a:gd name="T8" fmla="*/ 329 w 414"/>
                  <a:gd name="T9" fmla="*/ 40 h 415"/>
                  <a:gd name="T10" fmla="*/ 354 w 414"/>
                  <a:gd name="T11" fmla="*/ 61 h 415"/>
                  <a:gd name="T12" fmla="*/ 374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4 w 414"/>
                  <a:gd name="T29" fmla="*/ 330 h 415"/>
                  <a:gd name="T30" fmla="*/ 354 w 414"/>
                  <a:gd name="T31" fmla="*/ 354 h 415"/>
                  <a:gd name="T32" fmla="*/ 329 w 414"/>
                  <a:gd name="T33" fmla="*/ 375 h 415"/>
                  <a:gd name="T34" fmla="*/ 302 w 414"/>
                  <a:gd name="T35" fmla="*/ 392 h 415"/>
                  <a:gd name="T36" fmla="*/ 273 w 414"/>
                  <a:gd name="T37" fmla="*/ 404 h 415"/>
                  <a:gd name="T38" fmla="*/ 240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0" y="3"/>
                    </a:lnTo>
                    <a:lnTo>
                      <a:pt x="273" y="11"/>
                    </a:lnTo>
                    <a:lnTo>
                      <a:pt x="302" y="23"/>
                    </a:lnTo>
                    <a:lnTo>
                      <a:pt x="329" y="40"/>
                    </a:lnTo>
                    <a:lnTo>
                      <a:pt x="354" y="61"/>
                    </a:lnTo>
                    <a:lnTo>
                      <a:pt x="374" y="85"/>
                    </a:lnTo>
                    <a:lnTo>
                      <a:pt x="391" y="112"/>
                    </a:lnTo>
                    <a:lnTo>
                      <a:pt x="404" y="142"/>
                    </a:lnTo>
                    <a:lnTo>
                      <a:pt x="411" y="174"/>
                    </a:lnTo>
                    <a:lnTo>
                      <a:pt x="414" y="208"/>
                    </a:lnTo>
                    <a:lnTo>
                      <a:pt x="411" y="241"/>
                    </a:lnTo>
                    <a:lnTo>
                      <a:pt x="404" y="274"/>
                    </a:lnTo>
                    <a:lnTo>
                      <a:pt x="391" y="303"/>
                    </a:lnTo>
                    <a:lnTo>
                      <a:pt x="374" y="330"/>
                    </a:lnTo>
                    <a:lnTo>
                      <a:pt x="354" y="354"/>
                    </a:lnTo>
                    <a:lnTo>
                      <a:pt x="329" y="375"/>
                    </a:lnTo>
                    <a:lnTo>
                      <a:pt x="302" y="392"/>
                    </a:lnTo>
                    <a:lnTo>
                      <a:pt x="273" y="404"/>
                    </a:lnTo>
                    <a:lnTo>
                      <a:pt x="240"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p>
            </p:txBody>
          </p:sp>
          <p:sp>
            <p:nvSpPr>
              <p:cNvPr id="60" name="Freeform 383"/>
              <p:cNvSpPr>
                <a:spLocks noChangeAspect="1"/>
              </p:cNvSpPr>
              <p:nvPr/>
            </p:nvSpPr>
            <p:spPr bwMode="auto">
              <a:xfrm>
                <a:off x="3638"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4 w 414"/>
                  <a:gd name="T43" fmla="*/ 412 h 415"/>
                  <a:gd name="T44" fmla="*/ 141 w 414"/>
                  <a:gd name="T45" fmla="*/ 404 h 415"/>
                  <a:gd name="T46" fmla="*/ 112 w 414"/>
                  <a:gd name="T47" fmla="*/ 392 h 415"/>
                  <a:gd name="T48" fmla="*/ 85 w 414"/>
                  <a:gd name="T49" fmla="*/ 375 h 415"/>
                  <a:gd name="T50" fmla="*/ 60 w 414"/>
                  <a:gd name="T51" fmla="*/ 354 h 415"/>
                  <a:gd name="T52" fmla="*/ 40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40 w 414"/>
                  <a:gd name="T69" fmla="*/ 85 h 415"/>
                  <a:gd name="T70" fmla="*/ 60 w 414"/>
                  <a:gd name="T71" fmla="*/ 61 h 415"/>
                  <a:gd name="T72" fmla="*/ 85 w 414"/>
                  <a:gd name="T73" fmla="*/ 40 h 415"/>
                  <a:gd name="T74" fmla="*/ 112 w 414"/>
                  <a:gd name="T75" fmla="*/ 23 h 415"/>
                  <a:gd name="T76" fmla="*/ 141 w 414"/>
                  <a:gd name="T77" fmla="*/ 11 h 415"/>
                  <a:gd name="T78" fmla="*/ 174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4" y="412"/>
                    </a:lnTo>
                    <a:lnTo>
                      <a:pt x="141" y="404"/>
                    </a:lnTo>
                    <a:lnTo>
                      <a:pt x="112" y="392"/>
                    </a:lnTo>
                    <a:lnTo>
                      <a:pt x="85" y="375"/>
                    </a:lnTo>
                    <a:lnTo>
                      <a:pt x="60" y="354"/>
                    </a:lnTo>
                    <a:lnTo>
                      <a:pt x="40" y="330"/>
                    </a:lnTo>
                    <a:lnTo>
                      <a:pt x="23" y="303"/>
                    </a:lnTo>
                    <a:lnTo>
                      <a:pt x="10" y="274"/>
                    </a:lnTo>
                    <a:lnTo>
                      <a:pt x="3" y="241"/>
                    </a:lnTo>
                    <a:lnTo>
                      <a:pt x="0" y="208"/>
                    </a:lnTo>
                    <a:lnTo>
                      <a:pt x="3" y="174"/>
                    </a:lnTo>
                    <a:lnTo>
                      <a:pt x="10" y="142"/>
                    </a:lnTo>
                    <a:lnTo>
                      <a:pt x="23" y="112"/>
                    </a:lnTo>
                    <a:lnTo>
                      <a:pt x="40" y="85"/>
                    </a:lnTo>
                    <a:lnTo>
                      <a:pt x="60" y="61"/>
                    </a:lnTo>
                    <a:lnTo>
                      <a:pt x="85" y="40"/>
                    </a:lnTo>
                    <a:lnTo>
                      <a:pt x="112" y="23"/>
                    </a:lnTo>
                    <a:lnTo>
                      <a:pt x="141" y="11"/>
                    </a:lnTo>
                    <a:lnTo>
                      <a:pt x="174" y="3"/>
                    </a:lnTo>
                    <a:lnTo>
                      <a:pt x="207" y="0"/>
                    </a:lnTo>
                    <a:close/>
                  </a:path>
                </a:pathLst>
              </a:custGeom>
              <a:grpFill/>
              <a:ln w="0">
                <a:solidFill>
                  <a:schemeClr val="tx1"/>
                </a:solidFill>
                <a:prstDash val="solid"/>
                <a:round/>
                <a:headEnd/>
                <a:tailEnd/>
              </a:ln>
            </p:spPr>
            <p:txBody>
              <a:bodyPr/>
              <a:lstStyle/>
              <a:p>
                <a:endParaRPr lang="de-DE" sz="800" b="0" dirty="0"/>
              </a:p>
            </p:txBody>
          </p:sp>
        </p:grpSp>
        <p:sp>
          <p:nvSpPr>
            <p:cNvPr id="23" name="noun_project_01303.eps"/>
            <p:cNvSpPr>
              <a:spLocks noChangeAspect="1" noEditPoints="1"/>
            </p:cNvSpPr>
            <p:nvPr/>
          </p:nvSpPr>
          <p:spPr bwMode="auto">
            <a:xfrm>
              <a:off x="8886956" y="6233749"/>
              <a:ext cx="180000" cy="177232"/>
            </a:xfrm>
            <a:custGeom>
              <a:avLst/>
              <a:gdLst>
                <a:gd name="T0" fmla="*/ 1525 w 2899"/>
                <a:gd name="T1" fmla="*/ 2291 h 2891"/>
                <a:gd name="T2" fmla="*/ 1419 w 2899"/>
                <a:gd name="T3" fmla="*/ 2373 h 2891"/>
                <a:gd name="T4" fmla="*/ 1368 w 2899"/>
                <a:gd name="T5" fmla="*/ 2250 h 2891"/>
                <a:gd name="T6" fmla="*/ 902 w 2899"/>
                <a:gd name="T7" fmla="*/ 1987 h 2891"/>
                <a:gd name="T8" fmla="*/ 920 w 2899"/>
                <a:gd name="T9" fmla="*/ 2118 h 2891"/>
                <a:gd name="T10" fmla="*/ 788 w 2899"/>
                <a:gd name="T11" fmla="*/ 2101 h 2891"/>
                <a:gd name="T12" fmla="*/ 839 w 2899"/>
                <a:gd name="T13" fmla="*/ 1978 h 2891"/>
                <a:gd name="T14" fmla="*/ 2147 w 2899"/>
                <a:gd name="T15" fmla="*/ 2011 h 2891"/>
                <a:gd name="T16" fmla="*/ 2065 w 2899"/>
                <a:gd name="T17" fmla="*/ 2117 h 2891"/>
                <a:gd name="T18" fmla="*/ 1983 w 2899"/>
                <a:gd name="T19" fmla="*/ 2011 h 2891"/>
                <a:gd name="T20" fmla="*/ 2323 w 2899"/>
                <a:gd name="T21" fmla="*/ 1356 h 2891"/>
                <a:gd name="T22" fmla="*/ 2374 w 2899"/>
                <a:gd name="T23" fmla="*/ 1479 h 2891"/>
                <a:gd name="T24" fmla="*/ 2242 w 2899"/>
                <a:gd name="T25" fmla="*/ 1496 h 2891"/>
                <a:gd name="T26" fmla="*/ 2260 w 2899"/>
                <a:gd name="T27" fmla="*/ 1365 h 2891"/>
                <a:gd name="T28" fmla="*/ 665 w 2899"/>
                <a:gd name="T29" fmla="*/ 1395 h 2891"/>
                <a:gd name="T30" fmla="*/ 615 w 2899"/>
                <a:gd name="T31" fmla="*/ 1518 h 2891"/>
                <a:gd name="T32" fmla="*/ 509 w 2899"/>
                <a:gd name="T33" fmla="*/ 1437 h 2891"/>
                <a:gd name="T34" fmla="*/ 928 w 2899"/>
                <a:gd name="T35" fmla="*/ 746 h 2891"/>
                <a:gd name="T36" fmla="*/ 1907 w 2899"/>
                <a:gd name="T37" fmla="*/ 1301 h 2891"/>
                <a:gd name="T38" fmla="*/ 2026 w 2899"/>
                <a:gd name="T39" fmla="*/ 1403 h 2891"/>
                <a:gd name="T40" fmla="*/ 2002 w 2899"/>
                <a:gd name="T41" fmla="*/ 1556 h 2891"/>
                <a:gd name="T42" fmla="*/ 1423 w 2899"/>
                <a:gd name="T43" fmla="*/ 1619 h 2891"/>
                <a:gd name="T44" fmla="*/ 776 w 2899"/>
                <a:gd name="T45" fmla="*/ 986 h 2891"/>
                <a:gd name="T46" fmla="*/ 780 w 2899"/>
                <a:gd name="T47" fmla="*/ 821 h 2891"/>
                <a:gd name="T48" fmla="*/ 928 w 2899"/>
                <a:gd name="T49" fmla="*/ 746 h 2891"/>
                <a:gd name="T50" fmla="*/ 2123 w 2899"/>
                <a:gd name="T51" fmla="*/ 828 h 2891"/>
                <a:gd name="T52" fmla="*/ 2017 w 2899"/>
                <a:gd name="T53" fmla="*/ 910 h 2891"/>
                <a:gd name="T54" fmla="*/ 1965 w 2899"/>
                <a:gd name="T55" fmla="*/ 787 h 2891"/>
                <a:gd name="T56" fmla="*/ 1487 w 2899"/>
                <a:gd name="T57" fmla="*/ 524 h 2891"/>
                <a:gd name="T58" fmla="*/ 1504 w 2899"/>
                <a:gd name="T59" fmla="*/ 656 h 2891"/>
                <a:gd name="T60" fmla="*/ 1373 w 2899"/>
                <a:gd name="T61" fmla="*/ 639 h 2891"/>
                <a:gd name="T62" fmla="*/ 1423 w 2899"/>
                <a:gd name="T63" fmla="*/ 515 h 2891"/>
                <a:gd name="T64" fmla="*/ 1047 w 2899"/>
                <a:gd name="T65" fmla="*/ 390 h 2891"/>
                <a:gd name="T66" fmla="*/ 595 w 2899"/>
                <a:gd name="T67" fmla="*/ 703 h 2891"/>
                <a:gd name="T68" fmla="*/ 343 w 2899"/>
                <a:gd name="T69" fmla="*/ 1195 h 2891"/>
                <a:gd name="T70" fmla="*/ 364 w 2899"/>
                <a:gd name="T71" fmla="*/ 1767 h 2891"/>
                <a:gd name="T72" fmla="*/ 648 w 2899"/>
                <a:gd name="T73" fmla="*/ 2240 h 2891"/>
                <a:gd name="T74" fmla="*/ 1123 w 2899"/>
                <a:gd name="T75" fmla="*/ 2524 h 2891"/>
                <a:gd name="T76" fmla="*/ 1697 w 2899"/>
                <a:gd name="T77" fmla="*/ 2544 h 2891"/>
                <a:gd name="T78" fmla="*/ 2190 w 2899"/>
                <a:gd name="T79" fmla="*/ 2294 h 2891"/>
                <a:gd name="T80" fmla="*/ 2504 w 2899"/>
                <a:gd name="T81" fmla="*/ 1843 h 2891"/>
                <a:gd name="T82" fmla="*/ 2565 w 2899"/>
                <a:gd name="T83" fmla="*/ 1275 h 2891"/>
                <a:gd name="T84" fmla="*/ 2351 w 2899"/>
                <a:gd name="T85" fmla="*/ 764 h 2891"/>
                <a:gd name="T86" fmla="*/ 1926 w 2899"/>
                <a:gd name="T87" fmla="*/ 421 h 2891"/>
                <a:gd name="T88" fmla="*/ 1449 w 2899"/>
                <a:gd name="T89" fmla="*/ 0 h 2891"/>
                <a:gd name="T90" fmla="*/ 2074 w 2899"/>
                <a:gd name="T91" fmla="*/ 141 h 2891"/>
                <a:gd name="T92" fmla="*/ 2564 w 2899"/>
                <a:gd name="T93" fmla="*/ 521 h 2891"/>
                <a:gd name="T94" fmla="*/ 2851 w 2899"/>
                <a:gd name="T95" fmla="*/ 1076 h 2891"/>
                <a:gd name="T96" fmla="*/ 2872 w 2899"/>
                <a:gd name="T97" fmla="*/ 1725 h 2891"/>
                <a:gd name="T98" fmla="*/ 2619 w 2899"/>
                <a:gd name="T99" fmla="*/ 2299 h 2891"/>
                <a:gd name="T100" fmla="*/ 2155 w 2899"/>
                <a:gd name="T101" fmla="*/ 2709 h 2891"/>
                <a:gd name="T102" fmla="*/ 1544 w 2899"/>
                <a:gd name="T103" fmla="*/ 2888 h 2891"/>
                <a:gd name="T104" fmla="*/ 905 w 2899"/>
                <a:gd name="T105" fmla="*/ 2786 h 2891"/>
                <a:gd name="T106" fmla="*/ 392 w 2899"/>
                <a:gd name="T107" fmla="*/ 2436 h 2891"/>
                <a:gd name="T108" fmla="*/ 73 w 2899"/>
                <a:gd name="T109" fmla="*/ 1902 h 2891"/>
                <a:gd name="T110" fmla="*/ 12 w 2899"/>
                <a:gd name="T111" fmla="*/ 1257 h 2891"/>
                <a:gd name="T112" fmla="*/ 229 w 2899"/>
                <a:gd name="T113" fmla="*/ 665 h 2891"/>
                <a:gd name="T114" fmla="*/ 666 w 2899"/>
                <a:gd name="T115" fmla="*/ 228 h 2891"/>
                <a:gd name="T116" fmla="*/ 1260 w 2899"/>
                <a:gd name="T117" fmla="*/ 12 h 2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99" h="2891">
                  <a:moveTo>
                    <a:pt x="1441" y="2207"/>
                  </a:moveTo>
                  <a:lnTo>
                    <a:pt x="1462" y="2211"/>
                  </a:lnTo>
                  <a:lnTo>
                    <a:pt x="1482" y="2219"/>
                  </a:lnTo>
                  <a:lnTo>
                    <a:pt x="1499" y="2233"/>
                  </a:lnTo>
                  <a:lnTo>
                    <a:pt x="1513" y="2250"/>
                  </a:lnTo>
                  <a:lnTo>
                    <a:pt x="1522" y="2270"/>
                  </a:lnTo>
                  <a:lnTo>
                    <a:pt x="1525" y="2291"/>
                  </a:lnTo>
                  <a:lnTo>
                    <a:pt x="1522" y="2313"/>
                  </a:lnTo>
                  <a:lnTo>
                    <a:pt x="1513" y="2333"/>
                  </a:lnTo>
                  <a:lnTo>
                    <a:pt x="1499" y="2350"/>
                  </a:lnTo>
                  <a:lnTo>
                    <a:pt x="1482" y="2364"/>
                  </a:lnTo>
                  <a:lnTo>
                    <a:pt x="1462" y="2373"/>
                  </a:lnTo>
                  <a:lnTo>
                    <a:pt x="1441" y="2376"/>
                  </a:lnTo>
                  <a:lnTo>
                    <a:pt x="1419" y="2373"/>
                  </a:lnTo>
                  <a:lnTo>
                    <a:pt x="1399" y="2364"/>
                  </a:lnTo>
                  <a:lnTo>
                    <a:pt x="1382" y="2350"/>
                  </a:lnTo>
                  <a:lnTo>
                    <a:pt x="1368" y="2333"/>
                  </a:lnTo>
                  <a:lnTo>
                    <a:pt x="1359" y="2313"/>
                  </a:lnTo>
                  <a:lnTo>
                    <a:pt x="1356" y="2291"/>
                  </a:lnTo>
                  <a:lnTo>
                    <a:pt x="1359" y="2270"/>
                  </a:lnTo>
                  <a:lnTo>
                    <a:pt x="1368" y="2250"/>
                  </a:lnTo>
                  <a:lnTo>
                    <a:pt x="1382" y="2233"/>
                  </a:lnTo>
                  <a:lnTo>
                    <a:pt x="1399" y="2219"/>
                  </a:lnTo>
                  <a:lnTo>
                    <a:pt x="1419" y="2211"/>
                  </a:lnTo>
                  <a:lnTo>
                    <a:pt x="1441" y="2207"/>
                  </a:lnTo>
                  <a:close/>
                  <a:moveTo>
                    <a:pt x="860" y="1975"/>
                  </a:moveTo>
                  <a:lnTo>
                    <a:pt x="882" y="1978"/>
                  </a:lnTo>
                  <a:lnTo>
                    <a:pt x="902" y="1987"/>
                  </a:lnTo>
                  <a:lnTo>
                    <a:pt x="920" y="2000"/>
                  </a:lnTo>
                  <a:lnTo>
                    <a:pt x="933" y="2018"/>
                  </a:lnTo>
                  <a:lnTo>
                    <a:pt x="942" y="2038"/>
                  </a:lnTo>
                  <a:lnTo>
                    <a:pt x="946" y="2059"/>
                  </a:lnTo>
                  <a:lnTo>
                    <a:pt x="942" y="2081"/>
                  </a:lnTo>
                  <a:lnTo>
                    <a:pt x="933" y="2101"/>
                  </a:lnTo>
                  <a:lnTo>
                    <a:pt x="920" y="2118"/>
                  </a:lnTo>
                  <a:lnTo>
                    <a:pt x="902" y="2132"/>
                  </a:lnTo>
                  <a:lnTo>
                    <a:pt x="882" y="2140"/>
                  </a:lnTo>
                  <a:lnTo>
                    <a:pt x="860" y="2143"/>
                  </a:lnTo>
                  <a:lnTo>
                    <a:pt x="839" y="2140"/>
                  </a:lnTo>
                  <a:lnTo>
                    <a:pt x="819" y="2132"/>
                  </a:lnTo>
                  <a:lnTo>
                    <a:pt x="802" y="2118"/>
                  </a:lnTo>
                  <a:lnTo>
                    <a:pt x="788" y="2101"/>
                  </a:lnTo>
                  <a:lnTo>
                    <a:pt x="780" y="2081"/>
                  </a:lnTo>
                  <a:lnTo>
                    <a:pt x="776" y="2059"/>
                  </a:lnTo>
                  <a:lnTo>
                    <a:pt x="780" y="2038"/>
                  </a:lnTo>
                  <a:lnTo>
                    <a:pt x="788" y="2018"/>
                  </a:lnTo>
                  <a:lnTo>
                    <a:pt x="802" y="2000"/>
                  </a:lnTo>
                  <a:lnTo>
                    <a:pt x="819" y="1987"/>
                  </a:lnTo>
                  <a:lnTo>
                    <a:pt x="839" y="1978"/>
                  </a:lnTo>
                  <a:lnTo>
                    <a:pt x="860" y="1975"/>
                  </a:lnTo>
                  <a:close/>
                  <a:moveTo>
                    <a:pt x="2065" y="1949"/>
                  </a:moveTo>
                  <a:lnTo>
                    <a:pt x="2086" y="1952"/>
                  </a:lnTo>
                  <a:lnTo>
                    <a:pt x="2106" y="1960"/>
                  </a:lnTo>
                  <a:lnTo>
                    <a:pt x="2124" y="1974"/>
                  </a:lnTo>
                  <a:lnTo>
                    <a:pt x="2137" y="1991"/>
                  </a:lnTo>
                  <a:lnTo>
                    <a:pt x="2147" y="2011"/>
                  </a:lnTo>
                  <a:lnTo>
                    <a:pt x="2150" y="2033"/>
                  </a:lnTo>
                  <a:lnTo>
                    <a:pt x="2147" y="2054"/>
                  </a:lnTo>
                  <a:lnTo>
                    <a:pt x="2137" y="2074"/>
                  </a:lnTo>
                  <a:lnTo>
                    <a:pt x="2124" y="2092"/>
                  </a:lnTo>
                  <a:lnTo>
                    <a:pt x="2106" y="2105"/>
                  </a:lnTo>
                  <a:lnTo>
                    <a:pt x="2086" y="2114"/>
                  </a:lnTo>
                  <a:lnTo>
                    <a:pt x="2065" y="2117"/>
                  </a:lnTo>
                  <a:lnTo>
                    <a:pt x="2043" y="2114"/>
                  </a:lnTo>
                  <a:lnTo>
                    <a:pt x="2023" y="2105"/>
                  </a:lnTo>
                  <a:lnTo>
                    <a:pt x="2006" y="2092"/>
                  </a:lnTo>
                  <a:lnTo>
                    <a:pt x="1992" y="2074"/>
                  </a:lnTo>
                  <a:lnTo>
                    <a:pt x="1983" y="2054"/>
                  </a:lnTo>
                  <a:lnTo>
                    <a:pt x="1980" y="2033"/>
                  </a:lnTo>
                  <a:lnTo>
                    <a:pt x="1983" y="2011"/>
                  </a:lnTo>
                  <a:lnTo>
                    <a:pt x="1992" y="1991"/>
                  </a:lnTo>
                  <a:lnTo>
                    <a:pt x="2006" y="1974"/>
                  </a:lnTo>
                  <a:lnTo>
                    <a:pt x="2023" y="1960"/>
                  </a:lnTo>
                  <a:lnTo>
                    <a:pt x="2043" y="1952"/>
                  </a:lnTo>
                  <a:lnTo>
                    <a:pt x="2065" y="1949"/>
                  </a:lnTo>
                  <a:close/>
                  <a:moveTo>
                    <a:pt x="2302" y="1353"/>
                  </a:moveTo>
                  <a:lnTo>
                    <a:pt x="2323" y="1356"/>
                  </a:lnTo>
                  <a:lnTo>
                    <a:pt x="2343" y="1365"/>
                  </a:lnTo>
                  <a:lnTo>
                    <a:pt x="2360" y="1378"/>
                  </a:lnTo>
                  <a:lnTo>
                    <a:pt x="2374" y="1395"/>
                  </a:lnTo>
                  <a:lnTo>
                    <a:pt x="2382" y="1415"/>
                  </a:lnTo>
                  <a:lnTo>
                    <a:pt x="2386" y="1437"/>
                  </a:lnTo>
                  <a:lnTo>
                    <a:pt x="2382" y="1459"/>
                  </a:lnTo>
                  <a:lnTo>
                    <a:pt x="2374" y="1479"/>
                  </a:lnTo>
                  <a:lnTo>
                    <a:pt x="2360" y="1496"/>
                  </a:lnTo>
                  <a:lnTo>
                    <a:pt x="2343" y="1509"/>
                  </a:lnTo>
                  <a:lnTo>
                    <a:pt x="2323" y="1518"/>
                  </a:lnTo>
                  <a:lnTo>
                    <a:pt x="2302" y="1521"/>
                  </a:lnTo>
                  <a:lnTo>
                    <a:pt x="2280" y="1518"/>
                  </a:lnTo>
                  <a:lnTo>
                    <a:pt x="2260" y="1509"/>
                  </a:lnTo>
                  <a:lnTo>
                    <a:pt x="2242" y="1496"/>
                  </a:lnTo>
                  <a:lnTo>
                    <a:pt x="2229" y="1479"/>
                  </a:lnTo>
                  <a:lnTo>
                    <a:pt x="2220" y="1459"/>
                  </a:lnTo>
                  <a:lnTo>
                    <a:pt x="2216" y="1437"/>
                  </a:lnTo>
                  <a:lnTo>
                    <a:pt x="2220" y="1415"/>
                  </a:lnTo>
                  <a:lnTo>
                    <a:pt x="2229" y="1395"/>
                  </a:lnTo>
                  <a:lnTo>
                    <a:pt x="2242" y="1378"/>
                  </a:lnTo>
                  <a:lnTo>
                    <a:pt x="2260" y="1365"/>
                  </a:lnTo>
                  <a:lnTo>
                    <a:pt x="2280" y="1356"/>
                  </a:lnTo>
                  <a:lnTo>
                    <a:pt x="2302" y="1353"/>
                  </a:lnTo>
                  <a:close/>
                  <a:moveTo>
                    <a:pt x="593" y="1353"/>
                  </a:moveTo>
                  <a:lnTo>
                    <a:pt x="615" y="1356"/>
                  </a:lnTo>
                  <a:lnTo>
                    <a:pt x="635" y="1365"/>
                  </a:lnTo>
                  <a:lnTo>
                    <a:pt x="652" y="1378"/>
                  </a:lnTo>
                  <a:lnTo>
                    <a:pt x="665" y="1395"/>
                  </a:lnTo>
                  <a:lnTo>
                    <a:pt x="674" y="1415"/>
                  </a:lnTo>
                  <a:lnTo>
                    <a:pt x="677" y="1437"/>
                  </a:lnTo>
                  <a:lnTo>
                    <a:pt x="674" y="1459"/>
                  </a:lnTo>
                  <a:lnTo>
                    <a:pt x="665" y="1479"/>
                  </a:lnTo>
                  <a:lnTo>
                    <a:pt x="652" y="1496"/>
                  </a:lnTo>
                  <a:lnTo>
                    <a:pt x="635" y="1509"/>
                  </a:lnTo>
                  <a:lnTo>
                    <a:pt x="615" y="1518"/>
                  </a:lnTo>
                  <a:lnTo>
                    <a:pt x="593" y="1521"/>
                  </a:lnTo>
                  <a:lnTo>
                    <a:pt x="571" y="1518"/>
                  </a:lnTo>
                  <a:lnTo>
                    <a:pt x="551" y="1509"/>
                  </a:lnTo>
                  <a:lnTo>
                    <a:pt x="534" y="1496"/>
                  </a:lnTo>
                  <a:lnTo>
                    <a:pt x="521" y="1479"/>
                  </a:lnTo>
                  <a:lnTo>
                    <a:pt x="512" y="1459"/>
                  </a:lnTo>
                  <a:lnTo>
                    <a:pt x="509" y="1437"/>
                  </a:lnTo>
                  <a:lnTo>
                    <a:pt x="512" y="1415"/>
                  </a:lnTo>
                  <a:lnTo>
                    <a:pt x="521" y="1395"/>
                  </a:lnTo>
                  <a:lnTo>
                    <a:pt x="534" y="1378"/>
                  </a:lnTo>
                  <a:lnTo>
                    <a:pt x="551" y="1365"/>
                  </a:lnTo>
                  <a:lnTo>
                    <a:pt x="571" y="1356"/>
                  </a:lnTo>
                  <a:lnTo>
                    <a:pt x="593" y="1353"/>
                  </a:lnTo>
                  <a:close/>
                  <a:moveTo>
                    <a:pt x="928" y="746"/>
                  </a:moveTo>
                  <a:lnTo>
                    <a:pt x="953" y="750"/>
                  </a:lnTo>
                  <a:lnTo>
                    <a:pt x="978" y="759"/>
                  </a:lnTo>
                  <a:lnTo>
                    <a:pt x="1002" y="773"/>
                  </a:lnTo>
                  <a:lnTo>
                    <a:pt x="1025" y="793"/>
                  </a:lnTo>
                  <a:lnTo>
                    <a:pt x="1490" y="1299"/>
                  </a:lnTo>
                  <a:lnTo>
                    <a:pt x="1878" y="1299"/>
                  </a:lnTo>
                  <a:lnTo>
                    <a:pt x="1907" y="1301"/>
                  </a:lnTo>
                  <a:lnTo>
                    <a:pt x="1934" y="1307"/>
                  </a:lnTo>
                  <a:lnTo>
                    <a:pt x="1957" y="1317"/>
                  </a:lnTo>
                  <a:lnTo>
                    <a:pt x="1977" y="1329"/>
                  </a:lnTo>
                  <a:lnTo>
                    <a:pt x="1994" y="1345"/>
                  </a:lnTo>
                  <a:lnTo>
                    <a:pt x="2007" y="1362"/>
                  </a:lnTo>
                  <a:lnTo>
                    <a:pt x="2018" y="1382"/>
                  </a:lnTo>
                  <a:lnTo>
                    <a:pt x="2026" y="1403"/>
                  </a:lnTo>
                  <a:lnTo>
                    <a:pt x="2031" y="1425"/>
                  </a:lnTo>
                  <a:lnTo>
                    <a:pt x="2033" y="1448"/>
                  </a:lnTo>
                  <a:lnTo>
                    <a:pt x="2032" y="1471"/>
                  </a:lnTo>
                  <a:lnTo>
                    <a:pt x="2029" y="1493"/>
                  </a:lnTo>
                  <a:lnTo>
                    <a:pt x="2022" y="1515"/>
                  </a:lnTo>
                  <a:lnTo>
                    <a:pt x="2013" y="1536"/>
                  </a:lnTo>
                  <a:lnTo>
                    <a:pt x="2002" y="1556"/>
                  </a:lnTo>
                  <a:lnTo>
                    <a:pt x="1987" y="1574"/>
                  </a:lnTo>
                  <a:lnTo>
                    <a:pt x="1970" y="1589"/>
                  </a:lnTo>
                  <a:lnTo>
                    <a:pt x="1951" y="1602"/>
                  </a:lnTo>
                  <a:lnTo>
                    <a:pt x="1929" y="1611"/>
                  </a:lnTo>
                  <a:lnTo>
                    <a:pt x="1905" y="1617"/>
                  </a:lnTo>
                  <a:lnTo>
                    <a:pt x="1878" y="1619"/>
                  </a:lnTo>
                  <a:lnTo>
                    <a:pt x="1423" y="1619"/>
                  </a:lnTo>
                  <a:lnTo>
                    <a:pt x="1395" y="1617"/>
                  </a:lnTo>
                  <a:lnTo>
                    <a:pt x="1369" y="1611"/>
                  </a:lnTo>
                  <a:lnTo>
                    <a:pt x="1345" y="1600"/>
                  </a:lnTo>
                  <a:lnTo>
                    <a:pt x="1325" y="1585"/>
                  </a:lnTo>
                  <a:lnTo>
                    <a:pt x="1306" y="1566"/>
                  </a:lnTo>
                  <a:lnTo>
                    <a:pt x="794" y="1010"/>
                  </a:lnTo>
                  <a:lnTo>
                    <a:pt x="776" y="986"/>
                  </a:lnTo>
                  <a:lnTo>
                    <a:pt x="761" y="962"/>
                  </a:lnTo>
                  <a:lnTo>
                    <a:pt x="753" y="937"/>
                  </a:lnTo>
                  <a:lnTo>
                    <a:pt x="750" y="913"/>
                  </a:lnTo>
                  <a:lnTo>
                    <a:pt x="752" y="888"/>
                  </a:lnTo>
                  <a:lnTo>
                    <a:pt x="757" y="865"/>
                  </a:lnTo>
                  <a:lnTo>
                    <a:pt x="768" y="842"/>
                  </a:lnTo>
                  <a:lnTo>
                    <a:pt x="780" y="821"/>
                  </a:lnTo>
                  <a:lnTo>
                    <a:pt x="796" y="802"/>
                  </a:lnTo>
                  <a:lnTo>
                    <a:pt x="814" y="785"/>
                  </a:lnTo>
                  <a:lnTo>
                    <a:pt x="834" y="770"/>
                  </a:lnTo>
                  <a:lnTo>
                    <a:pt x="856" y="759"/>
                  </a:lnTo>
                  <a:lnTo>
                    <a:pt x="879" y="751"/>
                  </a:lnTo>
                  <a:lnTo>
                    <a:pt x="904" y="746"/>
                  </a:lnTo>
                  <a:lnTo>
                    <a:pt x="928" y="746"/>
                  </a:lnTo>
                  <a:close/>
                  <a:moveTo>
                    <a:pt x="2038" y="744"/>
                  </a:moveTo>
                  <a:lnTo>
                    <a:pt x="2060" y="747"/>
                  </a:lnTo>
                  <a:lnTo>
                    <a:pt x="2080" y="756"/>
                  </a:lnTo>
                  <a:lnTo>
                    <a:pt x="2097" y="769"/>
                  </a:lnTo>
                  <a:lnTo>
                    <a:pt x="2110" y="787"/>
                  </a:lnTo>
                  <a:lnTo>
                    <a:pt x="2119" y="806"/>
                  </a:lnTo>
                  <a:lnTo>
                    <a:pt x="2123" y="828"/>
                  </a:lnTo>
                  <a:lnTo>
                    <a:pt x="2119" y="850"/>
                  </a:lnTo>
                  <a:lnTo>
                    <a:pt x="2110" y="870"/>
                  </a:lnTo>
                  <a:lnTo>
                    <a:pt x="2097" y="887"/>
                  </a:lnTo>
                  <a:lnTo>
                    <a:pt x="2080" y="901"/>
                  </a:lnTo>
                  <a:lnTo>
                    <a:pt x="2060" y="910"/>
                  </a:lnTo>
                  <a:lnTo>
                    <a:pt x="2038" y="913"/>
                  </a:lnTo>
                  <a:lnTo>
                    <a:pt x="2017" y="910"/>
                  </a:lnTo>
                  <a:lnTo>
                    <a:pt x="1996" y="901"/>
                  </a:lnTo>
                  <a:lnTo>
                    <a:pt x="1979" y="887"/>
                  </a:lnTo>
                  <a:lnTo>
                    <a:pt x="1965" y="870"/>
                  </a:lnTo>
                  <a:lnTo>
                    <a:pt x="1957" y="850"/>
                  </a:lnTo>
                  <a:lnTo>
                    <a:pt x="1953" y="828"/>
                  </a:lnTo>
                  <a:lnTo>
                    <a:pt x="1957" y="806"/>
                  </a:lnTo>
                  <a:lnTo>
                    <a:pt x="1965" y="787"/>
                  </a:lnTo>
                  <a:lnTo>
                    <a:pt x="1979" y="769"/>
                  </a:lnTo>
                  <a:lnTo>
                    <a:pt x="1996" y="756"/>
                  </a:lnTo>
                  <a:lnTo>
                    <a:pt x="2017" y="747"/>
                  </a:lnTo>
                  <a:lnTo>
                    <a:pt x="2038" y="744"/>
                  </a:lnTo>
                  <a:close/>
                  <a:moveTo>
                    <a:pt x="1445" y="511"/>
                  </a:moveTo>
                  <a:lnTo>
                    <a:pt x="1467" y="515"/>
                  </a:lnTo>
                  <a:lnTo>
                    <a:pt x="1487" y="524"/>
                  </a:lnTo>
                  <a:lnTo>
                    <a:pt x="1504" y="537"/>
                  </a:lnTo>
                  <a:lnTo>
                    <a:pt x="1518" y="554"/>
                  </a:lnTo>
                  <a:lnTo>
                    <a:pt x="1526" y="574"/>
                  </a:lnTo>
                  <a:lnTo>
                    <a:pt x="1529" y="596"/>
                  </a:lnTo>
                  <a:lnTo>
                    <a:pt x="1526" y="618"/>
                  </a:lnTo>
                  <a:lnTo>
                    <a:pt x="1518" y="639"/>
                  </a:lnTo>
                  <a:lnTo>
                    <a:pt x="1504" y="656"/>
                  </a:lnTo>
                  <a:lnTo>
                    <a:pt x="1487" y="670"/>
                  </a:lnTo>
                  <a:lnTo>
                    <a:pt x="1467" y="679"/>
                  </a:lnTo>
                  <a:lnTo>
                    <a:pt x="1445" y="682"/>
                  </a:lnTo>
                  <a:lnTo>
                    <a:pt x="1423" y="679"/>
                  </a:lnTo>
                  <a:lnTo>
                    <a:pt x="1403" y="670"/>
                  </a:lnTo>
                  <a:lnTo>
                    <a:pt x="1386" y="656"/>
                  </a:lnTo>
                  <a:lnTo>
                    <a:pt x="1373" y="639"/>
                  </a:lnTo>
                  <a:lnTo>
                    <a:pt x="1364" y="618"/>
                  </a:lnTo>
                  <a:lnTo>
                    <a:pt x="1361" y="596"/>
                  </a:lnTo>
                  <a:lnTo>
                    <a:pt x="1364" y="574"/>
                  </a:lnTo>
                  <a:lnTo>
                    <a:pt x="1373" y="554"/>
                  </a:lnTo>
                  <a:lnTo>
                    <a:pt x="1386" y="537"/>
                  </a:lnTo>
                  <a:lnTo>
                    <a:pt x="1403" y="524"/>
                  </a:lnTo>
                  <a:lnTo>
                    <a:pt x="1423" y="515"/>
                  </a:lnTo>
                  <a:lnTo>
                    <a:pt x="1445" y="511"/>
                  </a:lnTo>
                  <a:close/>
                  <a:moveTo>
                    <a:pt x="1449" y="316"/>
                  </a:moveTo>
                  <a:lnTo>
                    <a:pt x="1365" y="320"/>
                  </a:lnTo>
                  <a:lnTo>
                    <a:pt x="1282" y="329"/>
                  </a:lnTo>
                  <a:lnTo>
                    <a:pt x="1201" y="344"/>
                  </a:lnTo>
                  <a:lnTo>
                    <a:pt x="1123" y="364"/>
                  </a:lnTo>
                  <a:lnTo>
                    <a:pt x="1047" y="390"/>
                  </a:lnTo>
                  <a:lnTo>
                    <a:pt x="972" y="421"/>
                  </a:lnTo>
                  <a:lnTo>
                    <a:pt x="901" y="457"/>
                  </a:lnTo>
                  <a:lnTo>
                    <a:pt x="833" y="497"/>
                  </a:lnTo>
                  <a:lnTo>
                    <a:pt x="768" y="542"/>
                  </a:lnTo>
                  <a:lnTo>
                    <a:pt x="706" y="592"/>
                  </a:lnTo>
                  <a:lnTo>
                    <a:pt x="648" y="646"/>
                  </a:lnTo>
                  <a:lnTo>
                    <a:pt x="595" y="703"/>
                  </a:lnTo>
                  <a:lnTo>
                    <a:pt x="545" y="764"/>
                  </a:lnTo>
                  <a:lnTo>
                    <a:pt x="499" y="829"/>
                  </a:lnTo>
                  <a:lnTo>
                    <a:pt x="457" y="896"/>
                  </a:lnTo>
                  <a:lnTo>
                    <a:pt x="421" y="967"/>
                  </a:lnTo>
                  <a:lnTo>
                    <a:pt x="390" y="1040"/>
                  </a:lnTo>
                  <a:lnTo>
                    <a:pt x="364" y="1116"/>
                  </a:lnTo>
                  <a:lnTo>
                    <a:pt x="343" y="1195"/>
                  </a:lnTo>
                  <a:lnTo>
                    <a:pt x="328" y="1275"/>
                  </a:lnTo>
                  <a:lnTo>
                    <a:pt x="319" y="1357"/>
                  </a:lnTo>
                  <a:lnTo>
                    <a:pt x="316" y="1441"/>
                  </a:lnTo>
                  <a:lnTo>
                    <a:pt x="319" y="1526"/>
                  </a:lnTo>
                  <a:lnTo>
                    <a:pt x="328" y="1608"/>
                  </a:lnTo>
                  <a:lnTo>
                    <a:pt x="343" y="1689"/>
                  </a:lnTo>
                  <a:lnTo>
                    <a:pt x="364" y="1767"/>
                  </a:lnTo>
                  <a:lnTo>
                    <a:pt x="390" y="1843"/>
                  </a:lnTo>
                  <a:lnTo>
                    <a:pt x="421" y="1917"/>
                  </a:lnTo>
                  <a:lnTo>
                    <a:pt x="457" y="1988"/>
                  </a:lnTo>
                  <a:lnTo>
                    <a:pt x="499" y="2056"/>
                  </a:lnTo>
                  <a:lnTo>
                    <a:pt x="545" y="2120"/>
                  </a:lnTo>
                  <a:lnTo>
                    <a:pt x="595" y="2183"/>
                  </a:lnTo>
                  <a:lnTo>
                    <a:pt x="648" y="2240"/>
                  </a:lnTo>
                  <a:lnTo>
                    <a:pt x="706" y="2294"/>
                  </a:lnTo>
                  <a:lnTo>
                    <a:pt x="768" y="2344"/>
                  </a:lnTo>
                  <a:lnTo>
                    <a:pt x="833" y="2389"/>
                  </a:lnTo>
                  <a:lnTo>
                    <a:pt x="901" y="2430"/>
                  </a:lnTo>
                  <a:lnTo>
                    <a:pt x="972" y="2467"/>
                  </a:lnTo>
                  <a:lnTo>
                    <a:pt x="1047" y="2498"/>
                  </a:lnTo>
                  <a:lnTo>
                    <a:pt x="1123" y="2524"/>
                  </a:lnTo>
                  <a:lnTo>
                    <a:pt x="1201" y="2544"/>
                  </a:lnTo>
                  <a:lnTo>
                    <a:pt x="1282" y="2559"/>
                  </a:lnTo>
                  <a:lnTo>
                    <a:pt x="1365" y="2569"/>
                  </a:lnTo>
                  <a:lnTo>
                    <a:pt x="1449" y="2572"/>
                  </a:lnTo>
                  <a:lnTo>
                    <a:pt x="1533" y="2569"/>
                  </a:lnTo>
                  <a:lnTo>
                    <a:pt x="1617" y="2559"/>
                  </a:lnTo>
                  <a:lnTo>
                    <a:pt x="1697" y="2544"/>
                  </a:lnTo>
                  <a:lnTo>
                    <a:pt x="1776" y="2524"/>
                  </a:lnTo>
                  <a:lnTo>
                    <a:pt x="1851" y="2498"/>
                  </a:lnTo>
                  <a:lnTo>
                    <a:pt x="1926" y="2467"/>
                  </a:lnTo>
                  <a:lnTo>
                    <a:pt x="1996" y="2430"/>
                  </a:lnTo>
                  <a:lnTo>
                    <a:pt x="2064" y="2389"/>
                  </a:lnTo>
                  <a:lnTo>
                    <a:pt x="2128" y="2344"/>
                  </a:lnTo>
                  <a:lnTo>
                    <a:pt x="2190" y="2294"/>
                  </a:lnTo>
                  <a:lnTo>
                    <a:pt x="2248" y="2240"/>
                  </a:lnTo>
                  <a:lnTo>
                    <a:pt x="2301" y="2183"/>
                  </a:lnTo>
                  <a:lnTo>
                    <a:pt x="2351" y="2120"/>
                  </a:lnTo>
                  <a:lnTo>
                    <a:pt x="2396" y="2056"/>
                  </a:lnTo>
                  <a:lnTo>
                    <a:pt x="2437" y="1988"/>
                  </a:lnTo>
                  <a:lnTo>
                    <a:pt x="2473" y="1917"/>
                  </a:lnTo>
                  <a:lnTo>
                    <a:pt x="2504" y="1843"/>
                  </a:lnTo>
                  <a:lnTo>
                    <a:pt x="2530" y="1767"/>
                  </a:lnTo>
                  <a:lnTo>
                    <a:pt x="2551" y="1689"/>
                  </a:lnTo>
                  <a:lnTo>
                    <a:pt x="2565" y="1608"/>
                  </a:lnTo>
                  <a:lnTo>
                    <a:pt x="2574" y="1526"/>
                  </a:lnTo>
                  <a:lnTo>
                    <a:pt x="2578" y="1441"/>
                  </a:lnTo>
                  <a:lnTo>
                    <a:pt x="2574" y="1357"/>
                  </a:lnTo>
                  <a:lnTo>
                    <a:pt x="2565" y="1275"/>
                  </a:lnTo>
                  <a:lnTo>
                    <a:pt x="2551" y="1195"/>
                  </a:lnTo>
                  <a:lnTo>
                    <a:pt x="2530" y="1116"/>
                  </a:lnTo>
                  <a:lnTo>
                    <a:pt x="2504" y="1040"/>
                  </a:lnTo>
                  <a:lnTo>
                    <a:pt x="2473" y="967"/>
                  </a:lnTo>
                  <a:lnTo>
                    <a:pt x="2437" y="896"/>
                  </a:lnTo>
                  <a:lnTo>
                    <a:pt x="2396" y="829"/>
                  </a:lnTo>
                  <a:lnTo>
                    <a:pt x="2351" y="764"/>
                  </a:lnTo>
                  <a:lnTo>
                    <a:pt x="2301" y="703"/>
                  </a:lnTo>
                  <a:lnTo>
                    <a:pt x="2248" y="646"/>
                  </a:lnTo>
                  <a:lnTo>
                    <a:pt x="2190" y="592"/>
                  </a:lnTo>
                  <a:lnTo>
                    <a:pt x="2128" y="542"/>
                  </a:lnTo>
                  <a:lnTo>
                    <a:pt x="2064" y="497"/>
                  </a:lnTo>
                  <a:lnTo>
                    <a:pt x="1996" y="457"/>
                  </a:lnTo>
                  <a:lnTo>
                    <a:pt x="1926" y="421"/>
                  </a:lnTo>
                  <a:lnTo>
                    <a:pt x="1851" y="390"/>
                  </a:lnTo>
                  <a:lnTo>
                    <a:pt x="1776" y="364"/>
                  </a:lnTo>
                  <a:lnTo>
                    <a:pt x="1697" y="344"/>
                  </a:lnTo>
                  <a:lnTo>
                    <a:pt x="1617" y="329"/>
                  </a:lnTo>
                  <a:lnTo>
                    <a:pt x="1533" y="320"/>
                  </a:lnTo>
                  <a:lnTo>
                    <a:pt x="1449" y="316"/>
                  </a:lnTo>
                  <a:close/>
                  <a:moveTo>
                    <a:pt x="1449" y="0"/>
                  </a:moveTo>
                  <a:lnTo>
                    <a:pt x="1544" y="3"/>
                  </a:lnTo>
                  <a:lnTo>
                    <a:pt x="1638" y="12"/>
                  </a:lnTo>
                  <a:lnTo>
                    <a:pt x="1730" y="27"/>
                  </a:lnTo>
                  <a:lnTo>
                    <a:pt x="1819" y="48"/>
                  </a:lnTo>
                  <a:lnTo>
                    <a:pt x="1907" y="74"/>
                  </a:lnTo>
                  <a:lnTo>
                    <a:pt x="1992" y="105"/>
                  </a:lnTo>
                  <a:lnTo>
                    <a:pt x="2074" y="141"/>
                  </a:lnTo>
                  <a:lnTo>
                    <a:pt x="2155" y="182"/>
                  </a:lnTo>
                  <a:lnTo>
                    <a:pt x="2231" y="228"/>
                  </a:lnTo>
                  <a:lnTo>
                    <a:pt x="2305" y="278"/>
                  </a:lnTo>
                  <a:lnTo>
                    <a:pt x="2375" y="333"/>
                  </a:lnTo>
                  <a:lnTo>
                    <a:pt x="2442" y="392"/>
                  </a:lnTo>
                  <a:lnTo>
                    <a:pt x="2505" y="454"/>
                  </a:lnTo>
                  <a:lnTo>
                    <a:pt x="2564" y="521"/>
                  </a:lnTo>
                  <a:lnTo>
                    <a:pt x="2619" y="591"/>
                  </a:lnTo>
                  <a:lnTo>
                    <a:pt x="2669" y="665"/>
                  </a:lnTo>
                  <a:lnTo>
                    <a:pt x="2716" y="741"/>
                  </a:lnTo>
                  <a:lnTo>
                    <a:pt x="2757" y="821"/>
                  </a:lnTo>
                  <a:lnTo>
                    <a:pt x="2794" y="903"/>
                  </a:lnTo>
                  <a:lnTo>
                    <a:pt x="2825" y="988"/>
                  </a:lnTo>
                  <a:lnTo>
                    <a:pt x="2851" y="1076"/>
                  </a:lnTo>
                  <a:lnTo>
                    <a:pt x="2872" y="1165"/>
                  </a:lnTo>
                  <a:lnTo>
                    <a:pt x="2887" y="1257"/>
                  </a:lnTo>
                  <a:lnTo>
                    <a:pt x="2896" y="1350"/>
                  </a:lnTo>
                  <a:lnTo>
                    <a:pt x="2899" y="1446"/>
                  </a:lnTo>
                  <a:lnTo>
                    <a:pt x="2896" y="1540"/>
                  </a:lnTo>
                  <a:lnTo>
                    <a:pt x="2887" y="1634"/>
                  </a:lnTo>
                  <a:lnTo>
                    <a:pt x="2872" y="1725"/>
                  </a:lnTo>
                  <a:lnTo>
                    <a:pt x="2851" y="1814"/>
                  </a:lnTo>
                  <a:lnTo>
                    <a:pt x="2825" y="1902"/>
                  </a:lnTo>
                  <a:lnTo>
                    <a:pt x="2794" y="1986"/>
                  </a:lnTo>
                  <a:lnTo>
                    <a:pt x="2757" y="2069"/>
                  </a:lnTo>
                  <a:lnTo>
                    <a:pt x="2716" y="2149"/>
                  </a:lnTo>
                  <a:lnTo>
                    <a:pt x="2669" y="2226"/>
                  </a:lnTo>
                  <a:lnTo>
                    <a:pt x="2619" y="2299"/>
                  </a:lnTo>
                  <a:lnTo>
                    <a:pt x="2564" y="2369"/>
                  </a:lnTo>
                  <a:lnTo>
                    <a:pt x="2505" y="2436"/>
                  </a:lnTo>
                  <a:lnTo>
                    <a:pt x="2442" y="2498"/>
                  </a:lnTo>
                  <a:lnTo>
                    <a:pt x="2375" y="2557"/>
                  </a:lnTo>
                  <a:lnTo>
                    <a:pt x="2305" y="2612"/>
                  </a:lnTo>
                  <a:lnTo>
                    <a:pt x="2231" y="2663"/>
                  </a:lnTo>
                  <a:lnTo>
                    <a:pt x="2155" y="2709"/>
                  </a:lnTo>
                  <a:lnTo>
                    <a:pt x="2074" y="2750"/>
                  </a:lnTo>
                  <a:lnTo>
                    <a:pt x="1992" y="2786"/>
                  </a:lnTo>
                  <a:lnTo>
                    <a:pt x="1907" y="2818"/>
                  </a:lnTo>
                  <a:lnTo>
                    <a:pt x="1819" y="2844"/>
                  </a:lnTo>
                  <a:lnTo>
                    <a:pt x="1730" y="2864"/>
                  </a:lnTo>
                  <a:lnTo>
                    <a:pt x="1638" y="2879"/>
                  </a:lnTo>
                  <a:lnTo>
                    <a:pt x="1544" y="2888"/>
                  </a:lnTo>
                  <a:lnTo>
                    <a:pt x="1449" y="2891"/>
                  </a:lnTo>
                  <a:lnTo>
                    <a:pt x="1354" y="2888"/>
                  </a:lnTo>
                  <a:lnTo>
                    <a:pt x="1260" y="2879"/>
                  </a:lnTo>
                  <a:lnTo>
                    <a:pt x="1168" y="2864"/>
                  </a:lnTo>
                  <a:lnTo>
                    <a:pt x="1078" y="2844"/>
                  </a:lnTo>
                  <a:lnTo>
                    <a:pt x="990" y="2818"/>
                  </a:lnTo>
                  <a:lnTo>
                    <a:pt x="905" y="2786"/>
                  </a:lnTo>
                  <a:lnTo>
                    <a:pt x="823" y="2750"/>
                  </a:lnTo>
                  <a:lnTo>
                    <a:pt x="742" y="2709"/>
                  </a:lnTo>
                  <a:lnTo>
                    <a:pt x="666" y="2663"/>
                  </a:lnTo>
                  <a:lnTo>
                    <a:pt x="592" y="2612"/>
                  </a:lnTo>
                  <a:lnTo>
                    <a:pt x="522" y="2557"/>
                  </a:lnTo>
                  <a:lnTo>
                    <a:pt x="455" y="2498"/>
                  </a:lnTo>
                  <a:lnTo>
                    <a:pt x="392" y="2436"/>
                  </a:lnTo>
                  <a:lnTo>
                    <a:pt x="334" y="2369"/>
                  </a:lnTo>
                  <a:lnTo>
                    <a:pt x="279" y="2299"/>
                  </a:lnTo>
                  <a:lnTo>
                    <a:pt x="229" y="2226"/>
                  </a:lnTo>
                  <a:lnTo>
                    <a:pt x="182" y="2149"/>
                  </a:lnTo>
                  <a:lnTo>
                    <a:pt x="141" y="2069"/>
                  </a:lnTo>
                  <a:lnTo>
                    <a:pt x="104" y="1986"/>
                  </a:lnTo>
                  <a:lnTo>
                    <a:pt x="73" y="1902"/>
                  </a:lnTo>
                  <a:lnTo>
                    <a:pt x="47" y="1814"/>
                  </a:lnTo>
                  <a:lnTo>
                    <a:pt x="27" y="1725"/>
                  </a:lnTo>
                  <a:lnTo>
                    <a:pt x="12" y="1634"/>
                  </a:lnTo>
                  <a:lnTo>
                    <a:pt x="3" y="1540"/>
                  </a:lnTo>
                  <a:lnTo>
                    <a:pt x="0" y="1446"/>
                  </a:lnTo>
                  <a:lnTo>
                    <a:pt x="3" y="1350"/>
                  </a:lnTo>
                  <a:lnTo>
                    <a:pt x="12" y="1257"/>
                  </a:lnTo>
                  <a:lnTo>
                    <a:pt x="27" y="1165"/>
                  </a:lnTo>
                  <a:lnTo>
                    <a:pt x="47" y="1076"/>
                  </a:lnTo>
                  <a:lnTo>
                    <a:pt x="73" y="988"/>
                  </a:lnTo>
                  <a:lnTo>
                    <a:pt x="104" y="903"/>
                  </a:lnTo>
                  <a:lnTo>
                    <a:pt x="141" y="821"/>
                  </a:lnTo>
                  <a:lnTo>
                    <a:pt x="182" y="741"/>
                  </a:lnTo>
                  <a:lnTo>
                    <a:pt x="229" y="665"/>
                  </a:lnTo>
                  <a:lnTo>
                    <a:pt x="279" y="591"/>
                  </a:lnTo>
                  <a:lnTo>
                    <a:pt x="334" y="521"/>
                  </a:lnTo>
                  <a:lnTo>
                    <a:pt x="392" y="454"/>
                  </a:lnTo>
                  <a:lnTo>
                    <a:pt x="455" y="392"/>
                  </a:lnTo>
                  <a:lnTo>
                    <a:pt x="522" y="333"/>
                  </a:lnTo>
                  <a:lnTo>
                    <a:pt x="592" y="278"/>
                  </a:lnTo>
                  <a:lnTo>
                    <a:pt x="666" y="228"/>
                  </a:lnTo>
                  <a:lnTo>
                    <a:pt x="742" y="182"/>
                  </a:lnTo>
                  <a:lnTo>
                    <a:pt x="823" y="141"/>
                  </a:lnTo>
                  <a:lnTo>
                    <a:pt x="905" y="105"/>
                  </a:lnTo>
                  <a:lnTo>
                    <a:pt x="990" y="74"/>
                  </a:lnTo>
                  <a:lnTo>
                    <a:pt x="1078" y="48"/>
                  </a:lnTo>
                  <a:lnTo>
                    <a:pt x="1168" y="27"/>
                  </a:lnTo>
                  <a:lnTo>
                    <a:pt x="1260" y="12"/>
                  </a:lnTo>
                  <a:lnTo>
                    <a:pt x="1354" y="3"/>
                  </a:lnTo>
                  <a:lnTo>
                    <a:pt x="1449" y="0"/>
                  </a:lnTo>
                  <a:close/>
                </a:path>
              </a:pathLst>
            </a:custGeom>
            <a:solidFill>
              <a:schemeClr val="tx1"/>
            </a:solidFill>
            <a:ln>
              <a:solidFill>
                <a:schemeClr val="tx1"/>
              </a:solidFill>
            </a:ln>
          </p:spPr>
          <p:txBody>
            <a:bodyPr/>
            <a:lstStyle/>
            <a:p>
              <a:endParaRPr lang="de-DE" sz="800" b="0" dirty="0"/>
            </a:p>
          </p:txBody>
        </p:sp>
        <p:sp>
          <p:nvSpPr>
            <p:cNvPr id="24" name="noun_project_01304.eps"/>
            <p:cNvSpPr>
              <a:spLocks noChangeAspect="1" noEditPoints="1"/>
            </p:cNvSpPr>
            <p:nvPr/>
          </p:nvSpPr>
          <p:spPr bwMode="auto">
            <a:xfrm>
              <a:off x="6352366" y="6258428"/>
              <a:ext cx="180000" cy="127875"/>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sz="800" b="0" dirty="0"/>
            </a:p>
          </p:txBody>
        </p:sp>
        <p:sp>
          <p:nvSpPr>
            <p:cNvPr id="25" name="Rechteck 24"/>
            <p:cNvSpPr/>
            <p:nvPr/>
          </p:nvSpPr>
          <p:spPr bwMode="auto">
            <a:xfrm>
              <a:off x="2773323"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Dokument</a:t>
              </a:r>
            </a:p>
          </p:txBody>
        </p:sp>
        <p:sp>
          <p:nvSpPr>
            <p:cNvPr id="26" name="Rechteck 25"/>
            <p:cNvSpPr/>
            <p:nvPr/>
          </p:nvSpPr>
          <p:spPr bwMode="auto">
            <a:xfrm>
              <a:off x="6573639"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Kommunikation</a:t>
              </a:r>
            </a:p>
          </p:txBody>
        </p:sp>
        <p:sp>
          <p:nvSpPr>
            <p:cNvPr id="27" name="Rechteck 26"/>
            <p:cNvSpPr/>
            <p:nvPr/>
          </p:nvSpPr>
          <p:spPr bwMode="auto">
            <a:xfrm>
              <a:off x="7840411"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Schnittstelle</a:t>
              </a:r>
            </a:p>
          </p:txBody>
        </p:sp>
        <p:sp>
          <p:nvSpPr>
            <p:cNvPr id="28" name="Rechteck 27"/>
            <p:cNvSpPr/>
            <p:nvPr/>
          </p:nvSpPr>
          <p:spPr bwMode="auto">
            <a:xfrm>
              <a:off x="9107182"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Fristablauf</a:t>
              </a:r>
            </a:p>
          </p:txBody>
        </p:sp>
        <p:sp>
          <p:nvSpPr>
            <p:cNvPr id="29" name="Rechteck 28"/>
            <p:cNvSpPr/>
            <p:nvPr/>
          </p:nvSpPr>
          <p:spPr bwMode="auto">
            <a:xfrm>
              <a:off x="4040095"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Formular mit Logik</a:t>
              </a:r>
            </a:p>
          </p:txBody>
        </p:sp>
        <p:sp>
          <p:nvSpPr>
            <p:cNvPr id="30" name="Rechteck 29"/>
            <p:cNvSpPr/>
            <p:nvPr/>
          </p:nvSpPr>
          <p:spPr bwMode="auto">
            <a:xfrm>
              <a:off x="5306867"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Checkliste</a:t>
              </a:r>
            </a:p>
          </p:txBody>
        </p:sp>
        <p:grpSp>
          <p:nvGrpSpPr>
            <p:cNvPr id="31" name="Gruppieren 30"/>
            <p:cNvGrpSpPr>
              <a:grpSpLocks noChangeAspect="1"/>
            </p:cNvGrpSpPr>
            <p:nvPr/>
          </p:nvGrpSpPr>
          <p:grpSpPr>
            <a:xfrm>
              <a:off x="5089074" y="6177297"/>
              <a:ext cx="180000" cy="290137"/>
              <a:chOff x="-1227749" y="5257321"/>
              <a:chExt cx="347663" cy="560387"/>
            </a:xfrm>
          </p:grpSpPr>
          <p:sp>
            <p:nvSpPr>
              <p:cNvPr id="43" name="Freeform 297"/>
              <p:cNvSpPr>
                <a:spLocks noEditPoints="1"/>
              </p:cNvSpPr>
              <p:nvPr/>
            </p:nvSpPr>
            <p:spPr bwMode="auto">
              <a:xfrm>
                <a:off x="-1176949" y="5358921"/>
                <a:ext cx="63500" cy="63500"/>
              </a:xfrm>
              <a:custGeom>
                <a:avLst/>
                <a:gdLst>
                  <a:gd name="T0" fmla="*/ 315 w 406"/>
                  <a:gd name="T1" fmla="*/ 140 h 399"/>
                  <a:gd name="T2" fmla="*/ 282 w 406"/>
                  <a:gd name="T3" fmla="*/ 187 h 399"/>
                  <a:gd name="T4" fmla="*/ 254 w 406"/>
                  <a:gd name="T5" fmla="*/ 231 h 399"/>
                  <a:gd name="T6" fmla="*/ 231 w 406"/>
                  <a:gd name="T7" fmla="*/ 270 h 399"/>
                  <a:gd name="T8" fmla="*/ 217 w 406"/>
                  <a:gd name="T9" fmla="*/ 297 h 399"/>
                  <a:gd name="T10" fmla="*/ 212 w 406"/>
                  <a:gd name="T11" fmla="*/ 308 h 399"/>
                  <a:gd name="T12" fmla="*/ 281 w 406"/>
                  <a:gd name="T13" fmla="*/ 341 h 399"/>
                  <a:gd name="T14" fmla="*/ 315 w 406"/>
                  <a:gd name="T15" fmla="*/ 333 h 399"/>
                  <a:gd name="T16" fmla="*/ 339 w 406"/>
                  <a:gd name="T17" fmla="*/ 310 h 399"/>
                  <a:gd name="T18" fmla="*/ 349 w 406"/>
                  <a:gd name="T19" fmla="*/ 277 h 399"/>
                  <a:gd name="T20" fmla="*/ 346 w 406"/>
                  <a:gd name="T21" fmla="*/ 143 h 399"/>
                  <a:gd name="T22" fmla="*/ 332 w 406"/>
                  <a:gd name="T23" fmla="*/ 117 h 399"/>
                  <a:gd name="T24" fmla="*/ 108 w 406"/>
                  <a:gd name="T25" fmla="*/ 97 h 399"/>
                  <a:gd name="T26" fmla="*/ 78 w 406"/>
                  <a:gd name="T27" fmla="*/ 113 h 399"/>
                  <a:gd name="T28" fmla="*/ 61 w 406"/>
                  <a:gd name="T29" fmla="*/ 142 h 399"/>
                  <a:gd name="T30" fmla="*/ 59 w 406"/>
                  <a:gd name="T31" fmla="*/ 277 h 399"/>
                  <a:gd name="T32" fmla="*/ 67 w 406"/>
                  <a:gd name="T33" fmla="*/ 310 h 399"/>
                  <a:gd name="T34" fmla="*/ 92 w 406"/>
                  <a:gd name="T35" fmla="*/ 333 h 399"/>
                  <a:gd name="T36" fmla="*/ 125 w 406"/>
                  <a:gd name="T37" fmla="*/ 341 h 399"/>
                  <a:gd name="T38" fmla="*/ 160 w 406"/>
                  <a:gd name="T39" fmla="*/ 308 h 399"/>
                  <a:gd name="T40" fmla="*/ 132 w 406"/>
                  <a:gd name="T41" fmla="*/ 267 h 399"/>
                  <a:gd name="T42" fmla="*/ 101 w 406"/>
                  <a:gd name="T43" fmla="*/ 241 h 399"/>
                  <a:gd name="T44" fmla="*/ 76 w 406"/>
                  <a:gd name="T45" fmla="*/ 227 h 399"/>
                  <a:gd name="T46" fmla="*/ 64 w 406"/>
                  <a:gd name="T47" fmla="*/ 222 h 399"/>
                  <a:gd name="T48" fmla="*/ 85 w 406"/>
                  <a:gd name="T49" fmla="*/ 168 h 399"/>
                  <a:gd name="T50" fmla="*/ 108 w 406"/>
                  <a:gd name="T51" fmla="*/ 179 h 399"/>
                  <a:gd name="T52" fmla="*/ 144 w 406"/>
                  <a:gd name="T53" fmla="*/ 201 h 399"/>
                  <a:gd name="T54" fmla="*/ 183 w 406"/>
                  <a:gd name="T55" fmla="*/ 238 h 399"/>
                  <a:gd name="T56" fmla="*/ 214 w 406"/>
                  <a:gd name="T57" fmla="*/ 186 h 399"/>
                  <a:gd name="T58" fmla="*/ 255 w 406"/>
                  <a:gd name="T59" fmla="*/ 125 h 399"/>
                  <a:gd name="T60" fmla="*/ 125 w 406"/>
                  <a:gd name="T61" fmla="*/ 94 h 399"/>
                  <a:gd name="T62" fmla="*/ 406 w 406"/>
                  <a:gd name="T63" fmla="*/ 48 h 399"/>
                  <a:gd name="T64" fmla="*/ 372 w 406"/>
                  <a:gd name="T65" fmla="*/ 75 h 399"/>
                  <a:gd name="T66" fmla="*/ 397 w 406"/>
                  <a:gd name="T67" fmla="*/ 113 h 399"/>
                  <a:gd name="T68" fmla="*/ 406 w 406"/>
                  <a:gd name="T69" fmla="*/ 159 h 399"/>
                  <a:gd name="T70" fmla="*/ 402 w 406"/>
                  <a:gd name="T71" fmla="*/ 305 h 399"/>
                  <a:gd name="T72" fmla="*/ 379 w 406"/>
                  <a:gd name="T73" fmla="*/ 353 h 399"/>
                  <a:gd name="T74" fmla="*/ 336 w 406"/>
                  <a:gd name="T75" fmla="*/ 386 h 399"/>
                  <a:gd name="T76" fmla="*/ 281 w 406"/>
                  <a:gd name="T77" fmla="*/ 399 h 399"/>
                  <a:gd name="T78" fmla="*/ 97 w 406"/>
                  <a:gd name="T79" fmla="*/ 396 h 399"/>
                  <a:gd name="T80" fmla="*/ 48 w 406"/>
                  <a:gd name="T81" fmla="*/ 372 h 399"/>
                  <a:gd name="T82" fmla="*/ 13 w 406"/>
                  <a:gd name="T83" fmla="*/ 330 h 399"/>
                  <a:gd name="T84" fmla="*/ 0 w 406"/>
                  <a:gd name="T85" fmla="*/ 277 h 399"/>
                  <a:gd name="T86" fmla="*/ 4 w 406"/>
                  <a:gd name="T87" fmla="*/ 131 h 399"/>
                  <a:gd name="T88" fmla="*/ 29 w 406"/>
                  <a:gd name="T89" fmla="*/ 83 h 399"/>
                  <a:gd name="T90" fmla="*/ 71 w 406"/>
                  <a:gd name="T91" fmla="*/ 50 h 399"/>
                  <a:gd name="T92" fmla="*/ 125 w 406"/>
                  <a:gd name="T93" fmla="*/ 37 h 399"/>
                  <a:gd name="T94" fmla="*/ 302 w 406"/>
                  <a:gd name="T95" fmla="*/ 39 h 399"/>
                  <a:gd name="T96" fmla="*/ 349 w 406"/>
                  <a:gd name="T97" fmla="*/ 1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9">
                    <a:moveTo>
                      <a:pt x="332" y="117"/>
                    </a:moveTo>
                    <a:lnTo>
                      <a:pt x="315" y="140"/>
                    </a:lnTo>
                    <a:lnTo>
                      <a:pt x="298" y="164"/>
                    </a:lnTo>
                    <a:lnTo>
                      <a:pt x="282" y="187"/>
                    </a:lnTo>
                    <a:lnTo>
                      <a:pt x="267" y="210"/>
                    </a:lnTo>
                    <a:lnTo>
                      <a:pt x="254" y="231"/>
                    </a:lnTo>
                    <a:lnTo>
                      <a:pt x="242" y="252"/>
                    </a:lnTo>
                    <a:lnTo>
                      <a:pt x="231" y="270"/>
                    </a:lnTo>
                    <a:lnTo>
                      <a:pt x="224" y="285"/>
                    </a:lnTo>
                    <a:lnTo>
                      <a:pt x="217" y="297"/>
                    </a:lnTo>
                    <a:lnTo>
                      <a:pt x="213" y="305"/>
                    </a:lnTo>
                    <a:lnTo>
                      <a:pt x="212" y="308"/>
                    </a:lnTo>
                    <a:lnTo>
                      <a:pt x="194" y="341"/>
                    </a:lnTo>
                    <a:lnTo>
                      <a:pt x="281" y="341"/>
                    </a:lnTo>
                    <a:lnTo>
                      <a:pt x="299" y="339"/>
                    </a:lnTo>
                    <a:lnTo>
                      <a:pt x="315" y="333"/>
                    </a:lnTo>
                    <a:lnTo>
                      <a:pt x="328" y="323"/>
                    </a:lnTo>
                    <a:lnTo>
                      <a:pt x="339" y="310"/>
                    </a:lnTo>
                    <a:lnTo>
                      <a:pt x="346" y="294"/>
                    </a:lnTo>
                    <a:lnTo>
                      <a:pt x="349" y="277"/>
                    </a:lnTo>
                    <a:lnTo>
                      <a:pt x="349" y="159"/>
                    </a:lnTo>
                    <a:lnTo>
                      <a:pt x="346" y="143"/>
                    </a:lnTo>
                    <a:lnTo>
                      <a:pt x="341" y="130"/>
                    </a:lnTo>
                    <a:lnTo>
                      <a:pt x="332" y="117"/>
                    </a:lnTo>
                    <a:close/>
                    <a:moveTo>
                      <a:pt x="125" y="94"/>
                    </a:moveTo>
                    <a:lnTo>
                      <a:pt x="108" y="97"/>
                    </a:lnTo>
                    <a:lnTo>
                      <a:pt x="92" y="103"/>
                    </a:lnTo>
                    <a:lnTo>
                      <a:pt x="78" y="113"/>
                    </a:lnTo>
                    <a:lnTo>
                      <a:pt x="67" y="126"/>
                    </a:lnTo>
                    <a:lnTo>
                      <a:pt x="61" y="142"/>
                    </a:lnTo>
                    <a:lnTo>
                      <a:pt x="59" y="159"/>
                    </a:lnTo>
                    <a:lnTo>
                      <a:pt x="59" y="277"/>
                    </a:lnTo>
                    <a:lnTo>
                      <a:pt x="61" y="294"/>
                    </a:lnTo>
                    <a:lnTo>
                      <a:pt x="67" y="310"/>
                    </a:lnTo>
                    <a:lnTo>
                      <a:pt x="78" y="323"/>
                    </a:lnTo>
                    <a:lnTo>
                      <a:pt x="92" y="333"/>
                    </a:lnTo>
                    <a:lnTo>
                      <a:pt x="108" y="339"/>
                    </a:lnTo>
                    <a:lnTo>
                      <a:pt x="125" y="341"/>
                    </a:lnTo>
                    <a:lnTo>
                      <a:pt x="177" y="341"/>
                    </a:lnTo>
                    <a:lnTo>
                      <a:pt x="160" y="308"/>
                    </a:lnTo>
                    <a:lnTo>
                      <a:pt x="147" y="285"/>
                    </a:lnTo>
                    <a:lnTo>
                      <a:pt x="132" y="267"/>
                    </a:lnTo>
                    <a:lnTo>
                      <a:pt x="116" y="252"/>
                    </a:lnTo>
                    <a:lnTo>
                      <a:pt x="101" y="241"/>
                    </a:lnTo>
                    <a:lnTo>
                      <a:pt x="87" y="232"/>
                    </a:lnTo>
                    <a:lnTo>
                      <a:pt x="76" y="227"/>
                    </a:lnTo>
                    <a:lnTo>
                      <a:pt x="67" y="224"/>
                    </a:lnTo>
                    <a:lnTo>
                      <a:pt x="64" y="222"/>
                    </a:lnTo>
                    <a:lnTo>
                      <a:pt x="80" y="167"/>
                    </a:lnTo>
                    <a:lnTo>
                      <a:pt x="85" y="168"/>
                    </a:lnTo>
                    <a:lnTo>
                      <a:pt x="94" y="172"/>
                    </a:lnTo>
                    <a:lnTo>
                      <a:pt x="108" y="179"/>
                    </a:lnTo>
                    <a:lnTo>
                      <a:pt x="124" y="188"/>
                    </a:lnTo>
                    <a:lnTo>
                      <a:pt x="144" y="201"/>
                    </a:lnTo>
                    <a:lnTo>
                      <a:pt x="163" y="217"/>
                    </a:lnTo>
                    <a:lnTo>
                      <a:pt x="183" y="238"/>
                    </a:lnTo>
                    <a:lnTo>
                      <a:pt x="197" y="213"/>
                    </a:lnTo>
                    <a:lnTo>
                      <a:pt x="214" y="186"/>
                    </a:lnTo>
                    <a:lnTo>
                      <a:pt x="233" y="156"/>
                    </a:lnTo>
                    <a:lnTo>
                      <a:pt x="255" y="125"/>
                    </a:lnTo>
                    <a:lnTo>
                      <a:pt x="277" y="94"/>
                    </a:lnTo>
                    <a:lnTo>
                      <a:pt x="125" y="94"/>
                    </a:lnTo>
                    <a:close/>
                    <a:moveTo>
                      <a:pt x="375" y="0"/>
                    </a:moveTo>
                    <a:lnTo>
                      <a:pt x="406" y="48"/>
                    </a:lnTo>
                    <a:lnTo>
                      <a:pt x="389" y="61"/>
                    </a:lnTo>
                    <a:lnTo>
                      <a:pt x="372" y="75"/>
                    </a:lnTo>
                    <a:lnTo>
                      <a:pt x="386" y="94"/>
                    </a:lnTo>
                    <a:lnTo>
                      <a:pt x="397" y="113"/>
                    </a:lnTo>
                    <a:lnTo>
                      <a:pt x="403" y="136"/>
                    </a:lnTo>
                    <a:lnTo>
                      <a:pt x="406" y="159"/>
                    </a:lnTo>
                    <a:lnTo>
                      <a:pt x="406" y="277"/>
                    </a:lnTo>
                    <a:lnTo>
                      <a:pt x="402" y="305"/>
                    </a:lnTo>
                    <a:lnTo>
                      <a:pt x="394" y="330"/>
                    </a:lnTo>
                    <a:lnTo>
                      <a:pt x="379" y="353"/>
                    </a:lnTo>
                    <a:lnTo>
                      <a:pt x="359" y="372"/>
                    </a:lnTo>
                    <a:lnTo>
                      <a:pt x="336" y="386"/>
                    </a:lnTo>
                    <a:lnTo>
                      <a:pt x="310" y="396"/>
                    </a:lnTo>
                    <a:lnTo>
                      <a:pt x="281" y="399"/>
                    </a:lnTo>
                    <a:lnTo>
                      <a:pt x="125" y="399"/>
                    </a:lnTo>
                    <a:lnTo>
                      <a:pt x="97" y="396"/>
                    </a:lnTo>
                    <a:lnTo>
                      <a:pt x="71" y="386"/>
                    </a:lnTo>
                    <a:lnTo>
                      <a:pt x="48" y="372"/>
                    </a:lnTo>
                    <a:lnTo>
                      <a:pt x="29" y="353"/>
                    </a:lnTo>
                    <a:lnTo>
                      <a:pt x="13" y="330"/>
                    </a:lnTo>
                    <a:lnTo>
                      <a:pt x="4" y="305"/>
                    </a:lnTo>
                    <a:lnTo>
                      <a:pt x="0" y="277"/>
                    </a:lnTo>
                    <a:lnTo>
                      <a:pt x="0" y="159"/>
                    </a:lnTo>
                    <a:lnTo>
                      <a:pt x="4" y="131"/>
                    </a:lnTo>
                    <a:lnTo>
                      <a:pt x="13" y="105"/>
                    </a:lnTo>
                    <a:lnTo>
                      <a:pt x="29" y="83"/>
                    </a:lnTo>
                    <a:lnTo>
                      <a:pt x="48" y="64"/>
                    </a:lnTo>
                    <a:lnTo>
                      <a:pt x="71" y="50"/>
                    </a:lnTo>
                    <a:lnTo>
                      <a:pt x="97" y="40"/>
                    </a:lnTo>
                    <a:lnTo>
                      <a:pt x="125" y="37"/>
                    </a:lnTo>
                    <a:lnTo>
                      <a:pt x="281" y="37"/>
                    </a:lnTo>
                    <a:lnTo>
                      <a:pt x="302" y="39"/>
                    </a:lnTo>
                    <a:lnTo>
                      <a:pt x="323" y="44"/>
                    </a:lnTo>
                    <a:lnTo>
                      <a:pt x="349" y="19"/>
                    </a:lnTo>
                    <a:lnTo>
                      <a:pt x="375" y="0"/>
                    </a:lnTo>
                    <a:close/>
                  </a:path>
                </a:pathLst>
              </a:custGeom>
              <a:solidFill>
                <a:schemeClr val="tx1"/>
              </a:solidFill>
              <a:ln w="3175">
                <a:noFill/>
                <a:prstDash val="solid"/>
                <a:round/>
                <a:headEnd/>
                <a:tailEnd/>
              </a:ln>
            </p:spPr>
            <p:txBody>
              <a:bodyPr/>
              <a:lstStyle/>
              <a:p>
                <a:endParaRPr lang="de-DE" sz="800" b="0" dirty="0"/>
              </a:p>
            </p:txBody>
          </p:sp>
          <p:sp>
            <p:nvSpPr>
              <p:cNvPr id="44" name="Freeform 298"/>
              <p:cNvSpPr>
                <a:spLocks noEditPoints="1"/>
              </p:cNvSpPr>
              <p:nvPr/>
            </p:nvSpPr>
            <p:spPr bwMode="auto">
              <a:xfrm>
                <a:off x="-1176949" y="5431946"/>
                <a:ext cx="63500" cy="60325"/>
              </a:xfrm>
              <a:custGeom>
                <a:avLst/>
                <a:gdLst>
                  <a:gd name="T0" fmla="*/ 319 w 406"/>
                  <a:gd name="T1" fmla="*/ 134 h 384"/>
                  <a:gd name="T2" fmla="*/ 285 w 406"/>
                  <a:gd name="T3" fmla="*/ 181 h 384"/>
                  <a:gd name="T4" fmla="*/ 256 w 406"/>
                  <a:gd name="T5" fmla="*/ 228 h 384"/>
                  <a:gd name="T6" fmla="*/ 232 w 406"/>
                  <a:gd name="T7" fmla="*/ 268 h 384"/>
                  <a:gd name="T8" fmla="*/ 217 w 406"/>
                  <a:gd name="T9" fmla="*/ 296 h 384"/>
                  <a:gd name="T10" fmla="*/ 212 w 406"/>
                  <a:gd name="T11" fmla="*/ 307 h 384"/>
                  <a:gd name="T12" fmla="*/ 281 w 406"/>
                  <a:gd name="T13" fmla="*/ 326 h 384"/>
                  <a:gd name="T14" fmla="*/ 315 w 406"/>
                  <a:gd name="T15" fmla="*/ 318 h 384"/>
                  <a:gd name="T16" fmla="*/ 339 w 406"/>
                  <a:gd name="T17" fmla="*/ 295 h 384"/>
                  <a:gd name="T18" fmla="*/ 349 w 406"/>
                  <a:gd name="T19" fmla="*/ 263 h 384"/>
                  <a:gd name="T20" fmla="*/ 345 w 406"/>
                  <a:gd name="T21" fmla="*/ 126 h 384"/>
                  <a:gd name="T22" fmla="*/ 125 w 406"/>
                  <a:gd name="T23" fmla="*/ 80 h 384"/>
                  <a:gd name="T24" fmla="*/ 92 w 406"/>
                  <a:gd name="T25" fmla="*/ 89 h 384"/>
                  <a:gd name="T26" fmla="*/ 67 w 406"/>
                  <a:gd name="T27" fmla="*/ 112 h 384"/>
                  <a:gd name="T28" fmla="*/ 59 w 406"/>
                  <a:gd name="T29" fmla="*/ 144 h 384"/>
                  <a:gd name="T30" fmla="*/ 61 w 406"/>
                  <a:gd name="T31" fmla="*/ 279 h 384"/>
                  <a:gd name="T32" fmla="*/ 78 w 406"/>
                  <a:gd name="T33" fmla="*/ 308 h 384"/>
                  <a:gd name="T34" fmla="*/ 108 w 406"/>
                  <a:gd name="T35" fmla="*/ 324 h 384"/>
                  <a:gd name="T36" fmla="*/ 170 w 406"/>
                  <a:gd name="T37" fmla="*/ 326 h 384"/>
                  <a:gd name="T38" fmla="*/ 147 w 406"/>
                  <a:gd name="T39" fmla="*/ 285 h 384"/>
                  <a:gd name="T40" fmla="*/ 116 w 406"/>
                  <a:gd name="T41" fmla="*/ 252 h 384"/>
                  <a:gd name="T42" fmla="*/ 87 w 406"/>
                  <a:gd name="T43" fmla="*/ 232 h 384"/>
                  <a:gd name="T44" fmla="*/ 67 w 406"/>
                  <a:gd name="T45" fmla="*/ 223 h 384"/>
                  <a:gd name="T46" fmla="*/ 80 w 406"/>
                  <a:gd name="T47" fmla="*/ 167 h 384"/>
                  <a:gd name="T48" fmla="*/ 94 w 406"/>
                  <a:gd name="T49" fmla="*/ 171 h 384"/>
                  <a:gd name="T50" fmla="*/ 124 w 406"/>
                  <a:gd name="T51" fmla="*/ 188 h 384"/>
                  <a:gd name="T52" fmla="*/ 163 w 406"/>
                  <a:gd name="T53" fmla="*/ 218 h 384"/>
                  <a:gd name="T54" fmla="*/ 196 w 406"/>
                  <a:gd name="T55" fmla="*/ 216 h 384"/>
                  <a:gd name="T56" fmla="*/ 228 w 406"/>
                  <a:gd name="T57" fmla="*/ 164 h 384"/>
                  <a:gd name="T58" fmla="*/ 267 w 406"/>
                  <a:gd name="T59" fmla="*/ 108 h 384"/>
                  <a:gd name="T60" fmla="*/ 285 w 406"/>
                  <a:gd name="T61" fmla="*/ 80 h 384"/>
                  <a:gd name="T62" fmla="*/ 125 w 406"/>
                  <a:gd name="T63" fmla="*/ 80 h 384"/>
                  <a:gd name="T64" fmla="*/ 406 w 406"/>
                  <a:gd name="T65" fmla="*/ 49 h 384"/>
                  <a:gd name="T66" fmla="*/ 394 w 406"/>
                  <a:gd name="T67" fmla="*/ 92 h 384"/>
                  <a:gd name="T68" fmla="*/ 406 w 406"/>
                  <a:gd name="T69" fmla="*/ 144 h 384"/>
                  <a:gd name="T70" fmla="*/ 402 w 406"/>
                  <a:gd name="T71" fmla="*/ 291 h 384"/>
                  <a:gd name="T72" fmla="*/ 379 w 406"/>
                  <a:gd name="T73" fmla="*/ 338 h 384"/>
                  <a:gd name="T74" fmla="*/ 336 w 406"/>
                  <a:gd name="T75" fmla="*/ 372 h 384"/>
                  <a:gd name="T76" fmla="*/ 281 w 406"/>
                  <a:gd name="T77" fmla="*/ 384 h 384"/>
                  <a:gd name="T78" fmla="*/ 97 w 406"/>
                  <a:gd name="T79" fmla="*/ 381 h 384"/>
                  <a:gd name="T80" fmla="*/ 48 w 406"/>
                  <a:gd name="T81" fmla="*/ 358 h 384"/>
                  <a:gd name="T82" fmla="*/ 13 w 406"/>
                  <a:gd name="T83" fmla="*/ 316 h 384"/>
                  <a:gd name="T84" fmla="*/ 0 w 406"/>
                  <a:gd name="T85" fmla="*/ 263 h 384"/>
                  <a:gd name="T86" fmla="*/ 4 w 406"/>
                  <a:gd name="T87" fmla="*/ 117 h 384"/>
                  <a:gd name="T88" fmla="*/ 29 w 406"/>
                  <a:gd name="T89" fmla="*/ 68 h 384"/>
                  <a:gd name="T90" fmla="*/ 71 w 406"/>
                  <a:gd name="T91" fmla="*/ 35 h 384"/>
                  <a:gd name="T92" fmla="*/ 125 w 406"/>
                  <a:gd name="T93" fmla="*/ 22 h 384"/>
                  <a:gd name="T94" fmla="*/ 308 w 406"/>
                  <a:gd name="T95" fmla="*/ 25 h 384"/>
                  <a:gd name="T96" fmla="*/ 354 w 406"/>
                  <a:gd name="T97" fmla="*/ 1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4">
                    <a:moveTo>
                      <a:pt x="339" y="111"/>
                    </a:moveTo>
                    <a:lnTo>
                      <a:pt x="319" y="134"/>
                    </a:lnTo>
                    <a:lnTo>
                      <a:pt x="302" y="157"/>
                    </a:lnTo>
                    <a:lnTo>
                      <a:pt x="285" y="181"/>
                    </a:lnTo>
                    <a:lnTo>
                      <a:pt x="270" y="205"/>
                    </a:lnTo>
                    <a:lnTo>
                      <a:pt x="256" y="228"/>
                    </a:lnTo>
                    <a:lnTo>
                      <a:pt x="243" y="249"/>
                    </a:lnTo>
                    <a:lnTo>
                      <a:pt x="232" y="268"/>
                    </a:lnTo>
                    <a:lnTo>
                      <a:pt x="224" y="283"/>
                    </a:lnTo>
                    <a:lnTo>
                      <a:pt x="217" y="296"/>
                    </a:lnTo>
                    <a:lnTo>
                      <a:pt x="213" y="304"/>
                    </a:lnTo>
                    <a:lnTo>
                      <a:pt x="212" y="307"/>
                    </a:lnTo>
                    <a:lnTo>
                      <a:pt x="202" y="326"/>
                    </a:lnTo>
                    <a:lnTo>
                      <a:pt x="281" y="326"/>
                    </a:lnTo>
                    <a:lnTo>
                      <a:pt x="299" y="324"/>
                    </a:lnTo>
                    <a:lnTo>
                      <a:pt x="315" y="318"/>
                    </a:lnTo>
                    <a:lnTo>
                      <a:pt x="328" y="308"/>
                    </a:lnTo>
                    <a:lnTo>
                      <a:pt x="339" y="295"/>
                    </a:lnTo>
                    <a:lnTo>
                      <a:pt x="346" y="279"/>
                    </a:lnTo>
                    <a:lnTo>
                      <a:pt x="349" y="263"/>
                    </a:lnTo>
                    <a:lnTo>
                      <a:pt x="349" y="144"/>
                    </a:lnTo>
                    <a:lnTo>
                      <a:pt x="345" y="126"/>
                    </a:lnTo>
                    <a:lnTo>
                      <a:pt x="339" y="111"/>
                    </a:lnTo>
                    <a:close/>
                    <a:moveTo>
                      <a:pt x="125" y="80"/>
                    </a:moveTo>
                    <a:lnTo>
                      <a:pt x="108" y="82"/>
                    </a:lnTo>
                    <a:lnTo>
                      <a:pt x="92" y="89"/>
                    </a:lnTo>
                    <a:lnTo>
                      <a:pt x="78" y="98"/>
                    </a:lnTo>
                    <a:lnTo>
                      <a:pt x="67" y="112"/>
                    </a:lnTo>
                    <a:lnTo>
                      <a:pt x="61" y="127"/>
                    </a:lnTo>
                    <a:lnTo>
                      <a:pt x="59" y="144"/>
                    </a:lnTo>
                    <a:lnTo>
                      <a:pt x="59" y="263"/>
                    </a:lnTo>
                    <a:lnTo>
                      <a:pt x="61" y="279"/>
                    </a:lnTo>
                    <a:lnTo>
                      <a:pt x="67" y="295"/>
                    </a:lnTo>
                    <a:lnTo>
                      <a:pt x="78" y="308"/>
                    </a:lnTo>
                    <a:lnTo>
                      <a:pt x="92" y="318"/>
                    </a:lnTo>
                    <a:lnTo>
                      <a:pt x="108" y="324"/>
                    </a:lnTo>
                    <a:lnTo>
                      <a:pt x="125" y="326"/>
                    </a:lnTo>
                    <a:lnTo>
                      <a:pt x="170" y="326"/>
                    </a:lnTo>
                    <a:lnTo>
                      <a:pt x="160" y="307"/>
                    </a:lnTo>
                    <a:lnTo>
                      <a:pt x="147" y="285"/>
                    </a:lnTo>
                    <a:lnTo>
                      <a:pt x="132" y="266"/>
                    </a:lnTo>
                    <a:lnTo>
                      <a:pt x="116" y="252"/>
                    </a:lnTo>
                    <a:lnTo>
                      <a:pt x="101" y="240"/>
                    </a:lnTo>
                    <a:lnTo>
                      <a:pt x="87" y="232"/>
                    </a:lnTo>
                    <a:lnTo>
                      <a:pt x="76" y="226"/>
                    </a:lnTo>
                    <a:lnTo>
                      <a:pt x="67" y="223"/>
                    </a:lnTo>
                    <a:lnTo>
                      <a:pt x="64" y="222"/>
                    </a:lnTo>
                    <a:lnTo>
                      <a:pt x="80" y="167"/>
                    </a:lnTo>
                    <a:lnTo>
                      <a:pt x="85" y="168"/>
                    </a:lnTo>
                    <a:lnTo>
                      <a:pt x="94" y="171"/>
                    </a:lnTo>
                    <a:lnTo>
                      <a:pt x="108" y="178"/>
                    </a:lnTo>
                    <a:lnTo>
                      <a:pt x="124" y="188"/>
                    </a:lnTo>
                    <a:lnTo>
                      <a:pt x="144" y="200"/>
                    </a:lnTo>
                    <a:lnTo>
                      <a:pt x="163" y="218"/>
                    </a:lnTo>
                    <a:lnTo>
                      <a:pt x="183" y="238"/>
                    </a:lnTo>
                    <a:lnTo>
                      <a:pt x="196" y="216"/>
                    </a:lnTo>
                    <a:lnTo>
                      <a:pt x="211" y="191"/>
                    </a:lnTo>
                    <a:lnTo>
                      <a:pt x="228" y="164"/>
                    </a:lnTo>
                    <a:lnTo>
                      <a:pt x="246" y="136"/>
                    </a:lnTo>
                    <a:lnTo>
                      <a:pt x="267" y="108"/>
                    </a:lnTo>
                    <a:lnTo>
                      <a:pt x="288" y="80"/>
                    </a:lnTo>
                    <a:lnTo>
                      <a:pt x="285" y="80"/>
                    </a:lnTo>
                    <a:lnTo>
                      <a:pt x="281" y="80"/>
                    </a:lnTo>
                    <a:lnTo>
                      <a:pt x="125" y="80"/>
                    </a:lnTo>
                    <a:close/>
                    <a:moveTo>
                      <a:pt x="375" y="0"/>
                    </a:moveTo>
                    <a:lnTo>
                      <a:pt x="406" y="49"/>
                    </a:lnTo>
                    <a:lnTo>
                      <a:pt x="379" y="69"/>
                    </a:lnTo>
                    <a:lnTo>
                      <a:pt x="394" y="92"/>
                    </a:lnTo>
                    <a:lnTo>
                      <a:pt x="402" y="117"/>
                    </a:lnTo>
                    <a:lnTo>
                      <a:pt x="406" y="144"/>
                    </a:lnTo>
                    <a:lnTo>
                      <a:pt x="406" y="263"/>
                    </a:lnTo>
                    <a:lnTo>
                      <a:pt x="402" y="291"/>
                    </a:lnTo>
                    <a:lnTo>
                      <a:pt x="394" y="316"/>
                    </a:lnTo>
                    <a:lnTo>
                      <a:pt x="379" y="338"/>
                    </a:lnTo>
                    <a:lnTo>
                      <a:pt x="359" y="358"/>
                    </a:lnTo>
                    <a:lnTo>
                      <a:pt x="336" y="372"/>
                    </a:lnTo>
                    <a:lnTo>
                      <a:pt x="310" y="381"/>
                    </a:lnTo>
                    <a:lnTo>
                      <a:pt x="281" y="384"/>
                    </a:lnTo>
                    <a:lnTo>
                      <a:pt x="125" y="384"/>
                    </a:lnTo>
                    <a:lnTo>
                      <a:pt x="97" y="381"/>
                    </a:lnTo>
                    <a:lnTo>
                      <a:pt x="71" y="372"/>
                    </a:lnTo>
                    <a:lnTo>
                      <a:pt x="48" y="358"/>
                    </a:lnTo>
                    <a:lnTo>
                      <a:pt x="29" y="338"/>
                    </a:lnTo>
                    <a:lnTo>
                      <a:pt x="13" y="316"/>
                    </a:lnTo>
                    <a:lnTo>
                      <a:pt x="4" y="291"/>
                    </a:lnTo>
                    <a:lnTo>
                      <a:pt x="0" y="263"/>
                    </a:lnTo>
                    <a:lnTo>
                      <a:pt x="0" y="144"/>
                    </a:lnTo>
                    <a:lnTo>
                      <a:pt x="4" y="117"/>
                    </a:lnTo>
                    <a:lnTo>
                      <a:pt x="13" y="91"/>
                    </a:lnTo>
                    <a:lnTo>
                      <a:pt x="29" y="68"/>
                    </a:lnTo>
                    <a:lnTo>
                      <a:pt x="48" y="49"/>
                    </a:lnTo>
                    <a:lnTo>
                      <a:pt x="71" y="35"/>
                    </a:lnTo>
                    <a:lnTo>
                      <a:pt x="97" y="25"/>
                    </a:lnTo>
                    <a:lnTo>
                      <a:pt x="125" y="22"/>
                    </a:lnTo>
                    <a:lnTo>
                      <a:pt x="281" y="22"/>
                    </a:lnTo>
                    <a:lnTo>
                      <a:pt x="308" y="25"/>
                    </a:lnTo>
                    <a:lnTo>
                      <a:pt x="332" y="34"/>
                    </a:lnTo>
                    <a:lnTo>
                      <a:pt x="354" y="15"/>
                    </a:lnTo>
                    <a:lnTo>
                      <a:pt x="375" y="0"/>
                    </a:lnTo>
                    <a:close/>
                  </a:path>
                </a:pathLst>
              </a:custGeom>
              <a:solidFill>
                <a:schemeClr val="tx1"/>
              </a:solidFill>
              <a:ln w="3175">
                <a:noFill/>
                <a:prstDash val="solid"/>
                <a:round/>
                <a:headEnd/>
                <a:tailEnd/>
              </a:ln>
            </p:spPr>
            <p:txBody>
              <a:bodyPr/>
              <a:lstStyle/>
              <a:p>
                <a:endParaRPr lang="de-DE" sz="800" b="0" dirty="0"/>
              </a:p>
            </p:txBody>
          </p:sp>
          <p:sp>
            <p:nvSpPr>
              <p:cNvPr id="45" name="Freeform 299"/>
              <p:cNvSpPr>
                <a:spLocks noEditPoints="1"/>
              </p:cNvSpPr>
              <p:nvPr/>
            </p:nvSpPr>
            <p:spPr bwMode="auto">
              <a:xfrm>
                <a:off x="-1176949" y="5503383"/>
                <a:ext cx="63500" cy="61912"/>
              </a:xfrm>
              <a:custGeom>
                <a:avLst/>
                <a:gdLst>
                  <a:gd name="T0" fmla="*/ 319 w 406"/>
                  <a:gd name="T1" fmla="*/ 134 h 386"/>
                  <a:gd name="T2" fmla="*/ 285 w 406"/>
                  <a:gd name="T3" fmla="*/ 182 h 386"/>
                  <a:gd name="T4" fmla="*/ 256 w 406"/>
                  <a:gd name="T5" fmla="*/ 229 h 386"/>
                  <a:gd name="T6" fmla="*/ 232 w 406"/>
                  <a:gd name="T7" fmla="*/ 268 h 386"/>
                  <a:gd name="T8" fmla="*/ 217 w 406"/>
                  <a:gd name="T9" fmla="*/ 297 h 386"/>
                  <a:gd name="T10" fmla="*/ 212 w 406"/>
                  <a:gd name="T11" fmla="*/ 308 h 386"/>
                  <a:gd name="T12" fmla="*/ 281 w 406"/>
                  <a:gd name="T13" fmla="*/ 328 h 386"/>
                  <a:gd name="T14" fmla="*/ 315 w 406"/>
                  <a:gd name="T15" fmla="*/ 319 h 386"/>
                  <a:gd name="T16" fmla="*/ 339 w 406"/>
                  <a:gd name="T17" fmla="*/ 295 h 386"/>
                  <a:gd name="T18" fmla="*/ 349 w 406"/>
                  <a:gd name="T19" fmla="*/ 263 h 386"/>
                  <a:gd name="T20" fmla="*/ 345 w 406"/>
                  <a:gd name="T21" fmla="*/ 127 h 386"/>
                  <a:gd name="T22" fmla="*/ 125 w 406"/>
                  <a:gd name="T23" fmla="*/ 80 h 386"/>
                  <a:gd name="T24" fmla="*/ 92 w 406"/>
                  <a:gd name="T25" fmla="*/ 90 h 386"/>
                  <a:gd name="T26" fmla="*/ 67 w 406"/>
                  <a:gd name="T27" fmla="*/ 112 h 386"/>
                  <a:gd name="T28" fmla="*/ 59 w 406"/>
                  <a:gd name="T29" fmla="*/ 145 h 386"/>
                  <a:gd name="T30" fmla="*/ 61 w 406"/>
                  <a:gd name="T31" fmla="*/ 280 h 386"/>
                  <a:gd name="T32" fmla="*/ 78 w 406"/>
                  <a:gd name="T33" fmla="*/ 308 h 386"/>
                  <a:gd name="T34" fmla="*/ 108 w 406"/>
                  <a:gd name="T35" fmla="*/ 325 h 386"/>
                  <a:gd name="T36" fmla="*/ 170 w 406"/>
                  <a:gd name="T37" fmla="*/ 328 h 386"/>
                  <a:gd name="T38" fmla="*/ 147 w 406"/>
                  <a:gd name="T39" fmla="*/ 286 h 386"/>
                  <a:gd name="T40" fmla="*/ 116 w 406"/>
                  <a:gd name="T41" fmla="*/ 252 h 386"/>
                  <a:gd name="T42" fmla="*/ 87 w 406"/>
                  <a:gd name="T43" fmla="*/ 233 h 386"/>
                  <a:gd name="T44" fmla="*/ 67 w 406"/>
                  <a:gd name="T45" fmla="*/ 224 h 386"/>
                  <a:gd name="T46" fmla="*/ 80 w 406"/>
                  <a:gd name="T47" fmla="*/ 167 h 386"/>
                  <a:gd name="T48" fmla="*/ 94 w 406"/>
                  <a:gd name="T49" fmla="*/ 173 h 386"/>
                  <a:gd name="T50" fmla="*/ 124 w 406"/>
                  <a:gd name="T51" fmla="*/ 189 h 386"/>
                  <a:gd name="T52" fmla="*/ 163 w 406"/>
                  <a:gd name="T53" fmla="*/ 218 h 386"/>
                  <a:gd name="T54" fmla="*/ 196 w 406"/>
                  <a:gd name="T55" fmla="*/ 217 h 386"/>
                  <a:gd name="T56" fmla="*/ 228 w 406"/>
                  <a:gd name="T57" fmla="*/ 165 h 386"/>
                  <a:gd name="T58" fmla="*/ 267 w 406"/>
                  <a:gd name="T59" fmla="*/ 109 h 386"/>
                  <a:gd name="T60" fmla="*/ 285 w 406"/>
                  <a:gd name="T61" fmla="*/ 81 h 386"/>
                  <a:gd name="T62" fmla="*/ 125 w 406"/>
                  <a:gd name="T63" fmla="*/ 80 h 386"/>
                  <a:gd name="T64" fmla="*/ 406 w 406"/>
                  <a:gd name="T65" fmla="*/ 50 h 386"/>
                  <a:gd name="T66" fmla="*/ 394 w 406"/>
                  <a:gd name="T67" fmla="*/ 92 h 386"/>
                  <a:gd name="T68" fmla="*/ 406 w 406"/>
                  <a:gd name="T69" fmla="*/ 145 h 386"/>
                  <a:gd name="T70" fmla="*/ 402 w 406"/>
                  <a:gd name="T71" fmla="*/ 291 h 386"/>
                  <a:gd name="T72" fmla="*/ 379 w 406"/>
                  <a:gd name="T73" fmla="*/ 339 h 386"/>
                  <a:gd name="T74" fmla="*/ 336 w 406"/>
                  <a:gd name="T75" fmla="*/ 373 h 386"/>
                  <a:gd name="T76" fmla="*/ 281 w 406"/>
                  <a:gd name="T77" fmla="*/ 386 h 386"/>
                  <a:gd name="T78" fmla="*/ 97 w 406"/>
                  <a:gd name="T79" fmla="*/ 382 h 386"/>
                  <a:gd name="T80" fmla="*/ 48 w 406"/>
                  <a:gd name="T81" fmla="*/ 359 h 386"/>
                  <a:gd name="T82" fmla="*/ 13 w 406"/>
                  <a:gd name="T83" fmla="*/ 317 h 386"/>
                  <a:gd name="T84" fmla="*/ 0 w 406"/>
                  <a:gd name="T85" fmla="*/ 263 h 386"/>
                  <a:gd name="T86" fmla="*/ 4 w 406"/>
                  <a:gd name="T87" fmla="*/ 117 h 386"/>
                  <a:gd name="T88" fmla="*/ 29 w 406"/>
                  <a:gd name="T89" fmla="*/ 68 h 386"/>
                  <a:gd name="T90" fmla="*/ 71 w 406"/>
                  <a:gd name="T91" fmla="*/ 35 h 386"/>
                  <a:gd name="T92" fmla="*/ 125 w 406"/>
                  <a:gd name="T93" fmla="*/ 23 h 386"/>
                  <a:gd name="T94" fmla="*/ 308 w 406"/>
                  <a:gd name="T95" fmla="*/ 26 h 386"/>
                  <a:gd name="T96" fmla="*/ 354 w 406"/>
                  <a:gd name="T97" fmla="*/ 1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6">
                    <a:moveTo>
                      <a:pt x="339" y="111"/>
                    </a:moveTo>
                    <a:lnTo>
                      <a:pt x="319" y="134"/>
                    </a:lnTo>
                    <a:lnTo>
                      <a:pt x="302" y="158"/>
                    </a:lnTo>
                    <a:lnTo>
                      <a:pt x="285" y="182"/>
                    </a:lnTo>
                    <a:lnTo>
                      <a:pt x="270" y="206"/>
                    </a:lnTo>
                    <a:lnTo>
                      <a:pt x="256" y="229"/>
                    </a:lnTo>
                    <a:lnTo>
                      <a:pt x="243" y="250"/>
                    </a:lnTo>
                    <a:lnTo>
                      <a:pt x="232" y="268"/>
                    </a:lnTo>
                    <a:lnTo>
                      <a:pt x="224" y="285"/>
                    </a:lnTo>
                    <a:lnTo>
                      <a:pt x="217" y="297"/>
                    </a:lnTo>
                    <a:lnTo>
                      <a:pt x="213" y="305"/>
                    </a:lnTo>
                    <a:lnTo>
                      <a:pt x="212" y="308"/>
                    </a:lnTo>
                    <a:lnTo>
                      <a:pt x="202" y="328"/>
                    </a:lnTo>
                    <a:lnTo>
                      <a:pt x="281" y="328"/>
                    </a:lnTo>
                    <a:lnTo>
                      <a:pt x="299" y="325"/>
                    </a:lnTo>
                    <a:lnTo>
                      <a:pt x="315" y="319"/>
                    </a:lnTo>
                    <a:lnTo>
                      <a:pt x="328" y="308"/>
                    </a:lnTo>
                    <a:lnTo>
                      <a:pt x="339" y="295"/>
                    </a:lnTo>
                    <a:lnTo>
                      <a:pt x="346" y="280"/>
                    </a:lnTo>
                    <a:lnTo>
                      <a:pt x="349" y="263"/>
                    </a:lnTo>
                    <a:lnTo>
                      <a:pt x="349" y="145"/>
                    </a:lnTo>
                    <a:lnTo>
                      <a:pt x="345" y="127"/>
                    </a:lnTo>
                    <a:lnTo>
                      <a:pt x="339" y="111"/>
                    </a:lnTo>
                    <a:close/>
                    <a:moveTo>
                      <a:pt x="125" y="80"/>
                    </a:moveTo>
                    <a:lnTo>
                      <a:pt x="108" y="83"/>
                    </a:lnTo>
                    <a:lnTo>
                      <a:pt x="92" y="90"/>
                    </a:lnTo>
                    <a:lnTo>
                      <a:pt x="78" y="99"/>
                    </a:lnTo>
                    <a:lnTo>
                      <a:pt x="67" y="112"/>
                    </a:lnTo>
                    <a:lnTo>
                      <a:pt x="61" y="127"/>
                    </a:lnTo>
                    <a:lnTo>
                      <a:pt x="59" y="145"/>
                    </a:lnTo>
                    <a:lnTo>
                      <a:pt x="59" y="263"/>
                    </a:lnTo>
                    <a:lnTo>
                      <a:pt x="61" y="280"/>
                    </a:lnTo>
                    <a:lnTo>
                      <a:pt x="67" y="295"/>
                    </a:lnTo>
                    <a:lnTo>
                      <a:pt x="78" y="308"/>
                    </a:lnTo>
                    <a:lnTo>
                      <a:pt x="92" y="319"/>
                    </a:lnTo>
                    <a:lnTo>
                      <a:pt x="108" y="325"/>
                    </a:lnTo>
                    <a:lnTo>
                      <a:pt x="125" y="328"/>
                    </a:lnTo>
                    <a:lnTo>
                      <a:pt x="170" y="328"/>
                    </a:lnTo>
                    <a:lnTo>
                      <a:pt x="160" y="308"/>
                    </a:lnTo>
                    <a:lnTo>
                      <a:pt x="147" y="286"/>
                    </a:lnTo>
                    <a:lnTo>
                      <a:pt x="132" y="267"/>
                    </a:lnTo>
                    <a:lnTo>
                      <a:pt x="116" y="252"/>
                    </a:lnTo>
                    <a:lnTo>
                      <a:pt x="101" y="242"/>
                    </a:lnTo>
                    <a:lnTo>
                      <a:pt x="87" y="233"/>
                    </a:lnTo>
                    <a:lnTo>
                      <a:pt x="76" y="228"/>
                    </a:lnTo>
                    <a:lnTo>
                      <a:pt x="67" y="224"/>
                    </a:lnTo>
                    <a:lnTo>
                      <a:pt x="64" y="223"/>
                    </a:lnTo>
                    <a:lnTo>
                      <a:pt x="80" y="167"/>
                    </a:lnTo>
                    <a:lnTo>
                      <a:pt x="85" y="169"/>
                    </a:lnTo>
                    <a:lnTo>
                      <a:pt x="94" y="173"/>
                    </a:lnTo>
                    <a:lnTo>
                      <a:pt x="108" y="179"/>
                    </a:lnTo>
                    <a:lnTo>
                      <a:pt x="124" y="189"/>
                    </a:lnTo>
                    <a:lnTo>
                      <a:pt x="144" y="202"/>
                    </a:lnTo>
                    <a:lnTo>
                      <a:pt x="163" y="218"/>
                    </a:lnTo>
                    <a:lnTo>
                      <a:pt x="183" y="238"/>
                    </a:lnTo>
                    <a:lnTo>
                      <a:pt x="196" y="217"/>
                    </a:lnTo>
                    <a:lnTo>
                      <a:pt x="211" y="192"/>
                    </a:lnTo>
                    <a:lnTo>
                      <a:pt x="228" y="165"/>
                    </a:lnTo>
                    <a:lnTo>
                      <a:pt x="246" y="137"/>
                    </a:lnTo>
                    <a:lnTo>
                      <a:pt x="267" y="109"/>
                    </a:lnTo>
                    <a:lnTo>
                      <a:pt x="288" y="81"/>
                    </a:lnTo>
                    <a:lnTo>
                      <a:pt x="285" y="81"/>
                    </a:lnTo>
                    <a:lnTo>
                      <a:pt x="281" y="80"/>
                    </a:lnTo>
                    <a:lnTo>
                      <a:pt x="125" y="80"/>
                    </a:lnTo>
                    <a:close/>
                    <a:moveTo>
                      <a:pt x="375" y="0"/>
                    </a:moveTo>
                    <a:lnTo>
                      <a:pt x="406" y="50"/>
                    </a:lnTo>
                    <a:lnTo>
                      <a:pt x="379" y="69"/>
                    </a:lnTo>
                    <a:lnTo>
                      <a:pt x="394" y="92"/>
                    </a:lnTo>
                    <a:lnTo>
                      <a:pt x="402" y="118"/>
                    </a:lnTo>
                    <a:lnTo>
                      <a:pt x="406" y="145"/>
                    </a:lnTo>
                    <a:lnTo>
                      <a:pt x="406" y="263"/>
                    </a:lnTo>
                    <a:lnTo>
                      <a:pt x="402" y="291"/>
                    </a:lnTo>
                    <a:lnTo>
                      <a:pt x="394" y="317"/>
                    </a:lnTo>
                    <a:lnTo>
                      <a:pt x="379" y="339"/>
                    </a:lnTo>
                    <a:lnTo>
                      <a:pt x="359" y="359"/>
                    </a:lnTo>
                    <a:lnTo>
                      <a:pt x="336" y="373"/>
                    </a:lnTo>
                    <a:lnTo>
                      <a:pt x="310" y="382"/>
                    </a:lnTo>
                    <a:lnTo>
                      <a:pt x="281" y="386"/>
                    </a:lnTo>
                    <a:lnTo>
                      <a:pt x="125" y="386"/>
                    </a:lnTo>
                    <a:lnTo>
                      <a:pt x="97" y="382"/>
                    </a:lnTo>
                    <a:lnTo>
                      <a:pt x="71" y="373"/>
                    </a:lnTo>
                    <a:lnTo>
                      <a:pt x="48" y="359"/>
                    </a:lnTo>
                    <a:lnTo>
                      <a:pt x="29" y="339"/>
                    </a:lnTo>
                    <a:lnTo>
                      <a:pt x="13" y="317"/>
                    </a:lnTo>
                    <a:lnTo>
                      <a:pt x="4" y="291"/>
                    </a:lnTo>
                    <a:lnTo>
                      <a:pt x="0" y="263"/>
                    </a:lnTo>
                    <a:lnTo>
                      <a:pt x="0" y="145"/>
                    </a:lnTo>
                    <a:lnTo>
                      <a:pt x="4" y="117"/>
                    </a:lnTo>
                    <a:lnTo>
                      <a:pt x="13" y="91"/>
                    </a:lnTo>
                    <a:lnTo>
                      <a:pt x="29" y="68"/>
                    </a:lnTo>
                    <a:lnTo>
                      <a:pt x="48" y="50"/>
                    </a:lnTo>
                    <a:lnTo>
                      <a:pt x="71" y="35"/>
                    </a:lnTo>
                    <a:lnTo>
                      <a:pt x="97" y="26"/>
                    </a:lnTo>
                    <a:lnTo>
                      <a:pt x="125" y="23"/>
                    </a:lnTo>
                    <a:lnTo>
                      <a:pt x="281" y="23"/>
                    </a:lnTo>
                    <a:lnTo>
                      <a:pt x="308" y="26"/>
                    </a:lnTo>
                    <a:lnTo>
                      <a:pt x="332" y="34"/>
                    </a:lnTo>
                    <a:lnTo>
                      <a:pt x="354"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46" name="Freeform 300"/>
              <p:cNvSpPr>
                <a:spLocks noEditPoints="1"/>
              </p:cNvSpPr>
              <p:nvPr/>
            </p:nvSpPr>
            <p:spPr bwMode="auto">
              <a:xfrm>
                <a:off x="-1176949" y="5573233"/>
                <a:ext cx="63500" cy="61912"/>
              </a:xfrm>
              <a:custGeom>
                <a:avLst/>
                <a:gdLst>
                  <a:gd name="T0" fmla="*/ 319 w 406"/>
                  <a:gd name="T1" fmla="*/ 134 h 385"/>
                  <a:gd name="T2" fmla="*/ 285 w 406"/>
                  <a:gd name="T3" fmla="*/ 181 h 385"/>
                  <a:gd name="T4" fmla="*/ 256 w 406"/>
                  <a:gd name="T5" fmla="*/ 228 h 385"/>
                  <a:gd name="T6" fmla="*/ 232 w 406"/>
                  <a:gd name="T7" fmla="*/ 267 h 385"/>
                  <a:gd name="T8" fmla="*/ 217 w 406"/>
                  <a:gd name="T9" fmla="*/ 297 h 385"/>
                  <a:gd name="T10" fmla="*/ 212 w 406"/>
                  <a:gd name="T11" fmla="*/ 307 h 385"/>
                  <a:gd name="T12" fmla="*/ 281 w 406"/>
                  <a:gd name="T13" fmla="*/ 327 h 385"/>
                  <a:gd name="T14" fmla="*/ 315 w 406"/>
                  <a:gd name="T15" fmla="*/ 318 h 385"/>
                  <a:gd name="T16" fmla="*/ 339 w 406"/>
                  <a:gd name="T17" fmla="*/ 295 h 385"/>
                  <a:gd name="T18" fmla="*/ 349 w 406"/>
                  <a:gd name="T19" fmla="*/ 262 h 385"/>
                  <a:gd name="T20" fmla="*/ 345 w 406"/>
                  <a:gd name="T21" fmla="*/ 126 h 385"/>
                  <a:gd name="T22" fmla="*/ 125 w 406"/>
                  <a:gd name="T23" fmla="*/ 79 h 385"/>
                  <a:gd name="T24" fmla="*/ 92 w 406"/>
                  <a:gd name="T25" fmla="*/ 89 h 385"/>
                  <a:gd name="T26" fmla="*/ 67 w 406"/>
                  <a:gd name="T27" fmla="*/ 111 h 385"/>
                  <a:gd name="T28" fmla="*/ 59 w 406"/>
                  <a:gd name="T29" fmla="*/ 145 h 385"/>
                  <a:gd name="T30" fmla="*/ 61 w 406"/>
                  <a:gd name="T31" fmla="*/ 279 h 385"/>
                  <a:gd name="T32" fmla="*/ 78 w 406"/>
                  <a:gd name="T33" fmla="*/ 308 h 385"/>
                  <a:gd name="T34" fmla="*/ 108 w 406"/>
                  <a:gd name="T35" fmla="*/ 324 h 385"/>
                  <a:gd name="T36" fmla="*/ 170 w 406"/>
                  <a:gd name="T37" fmla="*/ 327 h 385"/>
                  <a:gd name="T38" fmla="*/ 147 w 406"/>
                  <a:gd name="T39" fmla="*/ 285 h 385"/>
                  <a:gd name="T40" fmla="*/ 116 w 406"/>
                  <a:gd name="T41" fmla="*/ 252 h 385"/>
                  <a:gd name="T42" fmla="*/ 87 w 406"/>
                  <a:gd name="T43" fmla="*/ 232 h 385"/>
                  <a:gd name="T44" fmla="*/ 67 w 406"/>
                  <a:gd name="T45" fmla="*/ 223 h 385"/>
                  <a:gd name="T46" fmla="*/ 80 w 406"/>
                  <a:gd name="T47" fmla="*/ 167 h 385"/>
                  <a:gd name="T48" fmla="*/ 94 w 406"/>
                  <a:gd name="T49" fmla="*/ 172 h 385"/>
                  <a:gd name="T50" fmla="*/ 124 w 406"/>
                  <a:gd name="T51" fmla="*/ 188 h 385"/>
                  <a:gd name="T52" fmla="*/ 163 w 406"/>
                  <a:gd name="T53" fmla="*/ 217 h 385"/>
                  <a:gd name="T54" fmla="*/ 196 w 406"/>
                  <a:gd name="T55" fmla="*/ 216 h 385"/>
                  <a:gd name="T56" fmla="*/ 228 w 406"/>
                  <a:gd name="T57" fmla="*/ 164 h 385"/>
                  <a:gd name="T58" fmla="*/ 267 w 406"/>
                  <a:gd name="T59" fmla="*/ 108 h 385"/>
                  <a:gd name="T60" fmla="*/ 285 w 406"/>
                  <a:gd name="T61" fmla="*/ 80 h 385"/>
                  <a:gd name="T62" fmla="*/ 125 w 406"/>
                  <a:gd name="T63" fmla="*/ 79 h 385"/>
                  <a:gd name="T64" fmla="*/ 406 w 406"/>
                  <a:gd name="T65" fmla="*/ 49 h 385"/>
                  <a:gd name="T66" fmla="*/ 394 w 406"/>
                  <a:gd name="T67" fmla="*/ 91 h 385"/>
                  <a:gd name="T68" fmla="*/ 406 w 406"/>
                  <a:gd name="T69" fmla="*/ 145 h 385"/>
                  <a:gd name="T70" fmla="*/ 402 w 406"/>
                  <a:gd name="T71" fmla="*/ 290 h 385"/>
                  <a:gd name="T72" fmla="*/ 379 w 406"/>
                  <a:gd name="T73" fmla="*/ 338 h 385"/>
                  <a:gd name="T74" fmla="*/ 336 w 406"/>
                  <a:gd name="T75" fmla="*/ 372 h 385"/>
                  <a:gd name="T76" fmla="*/ 281 w 406"/>
                  <a:gd name="T77" fmla="*/ 385 h 385"/>
                  <a:gd name="T78" fmla="*/ 97 w 406"/>
                  <a:gd name="T79" fmla="*/ 382 h 385"/>
                  <a:gd name="T80" fmla="*/ 48 w 406"/>
                  <a:gd name="T81" fmla="*/ 358 h 385"/>
                  <a:gd name="T82" fmla="*/ 13 w 406"/>
                  <a:gd name="T83" fmla="*/ 316 h 385"/>
                  <a:gd name="T84" fmla="*/ 0 w 406"/>
                  <a:gd name="T85" fmla="*/ 262 h 385"/>
                  <a:gd name="T86" fmla="*/ 4 w 406"/>
                  <a:gd name="T87" fmla="*/ 117 h 385"/>
                  <a:gd name="T88" fmla="*/ 29 w 406"/>
                  <a:gd name="T89" fmla="*/ 68 h 385"/>
                  <a:gd name="T90" fmla="*/ 71 w 406"/>
                  <a:gd name="T91" fmla="*/ 35 h 385"/>
                  <a:gd name="T92" fmla="*/ 125 w 406"/>
                  <a:gd name="T93" fmla="*/ 22 h 385"/>
                  <a:gd name="T94" fmla="*/ 308 w 406"/>
                  <a:gd name="T95" fmla="*/ 25 h 385"/>
                  <a:gd name="T96" fmla="*/ 354 w 406"/>
                  <a:gd name="T97"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5">
                    <a:moveTo>
                      <a:pt x="339" y="110"/>
                    </a:moveTo>
                    <a:lnTo>
                      <a:pt x="319" y="134"/>
                    </a:lnTo>
                    <a:lnTo>
                      <a:pt x="302" y="158"/>
                    </a:lnTo>
                    <a:lnTo>
                      <a:pt x="285" y="181"/>
                    </a:lnTo>
                    <a:lnTo>
                      <a:pt x="270" y="205"/>
                    </a:lnTo>
                    <a:lnTo>
                      <a:pt x="256" y="228"/>
                    </a:lnTo>
                    <a:lnTo>
                      <a:pt x="243" y="249"/>
                    </a:lnTo>
                    <a:lnTo>
                      <a:pt x="232" y="267"/>
                    </a:lnTo>
                    <a:lnTo>
                      <a:pt x="224" y="284"/>
                    </a:lnTo>
                    <a:lnTo>
                      <a:pt x="217" y="297"/>
                    </a:lnTo>
                    <a:lnTo>
                      <a:pt x="213" y="304"/>
                    </a:lnTo>
                    <a:lnTo>
                      <a:pt x="212" y="307"/>
                    </a:lnTo>
                    <a:lnTo>
                      <a:pt x="202" y="327"/>
                    </a:lnTo>
                    <a:lnTo>
                      <a:pt x="281" y="327"/>
                    </a:lnTo>
                    <a:lnTo>
                      <a:pt x="299" y="324"/>
                    </a:lnTo>
                    <a:lnTo>
                      <a:pt x="315" y="318"/>
                    </a:lnTo>
                    <a:lnTo>
                      <a:pt x="328" y="308"/>
                    </a:lnTo>
                    <a:lnTo>
                      <a:pt x="339" y="295"/>
                    </a:lnTo>
                    <a:lnTo>
                      <a:pt x="346" y="279"/>
                    </a:lnTo>
                    <a:lnTo>
                      <a:pt x="349" y="262"/>
                    </a:lnTo>
                    <a:lnTo>
                      <a:pt x="349" y="145"/>
                    </a:lnTo>
                    <a:lnTo>
                      <a:pt x="345" y="126"/>
                    </a:lnTo>
                    <a:lnTo>
                      <a:pt x="339" y="110"/>
                    </a:lnTo>
                    <a:close/>
                    <a:moveTo>
                      <a:pt x="125" y="79"/>
                    </a:moveTo>
                    <a:lnTo>
                      <a:pt x="108" y="82"/>
                    </a:lnTo>
                    <a:lnTo>
                      <a:pt x="92" y="89"/>
                    </a:lnTo>
                    <a:lnTo>
                      <a:pt x="78" y="99"/>
                    </a:lnTo>
                    <a:lnTo>
                      <a:pt x="67" y="111"/>
                    </a:lnTo>
                    <a:lnTo>
                      <a:pt x="61" y="128"/>
                    </a:lnTo>
                    <a:lnTo>
                      <a:pt x="59" y="145"/>
                    </a:lnTo>
                    <a:lnTo>
                      <a:pt x="59" y="262"/>
                    </a:lnTo>
                    <a:lnTo>
                      <a:pt x="61" y="279"/>
                    </a:lnTo>
                    <a:lnTo>
                      <a:pt x="67" y="295"/>
                    </a:lnTo>
                    <a:lnTo>
                      <a:pt x="78" y="308"/>
                    </a:lnTo>
                    <a:lnTo>
                      <a:pt x="92" y="318"/>
                    </a:lnTo>
                    <a:lnTo>
                      <a:pt x="108" y="324"/>
                    </a:lnTo>
                    <a:lnTo>
                      <a:pt x="125" y="327"/>
                    </a:lnTo>
                    <a:lnTo>
                      <a:pt x="170" y="327"/>
                    </a:lnTo>
                    <a:lnTo>
                      <a:pt x="160" y="307"/>
                    </a:lnTo>
                    <a:lnTo>
                      <a:pt x="147" y="285"/>
                    </a:lnTo>
                    <a:lnTo>
                      <a:pt x="132" y="266"/>
                    </a:lnTo>
                    <a:lnTo>
                      <a:pt x="116" y="252"/>
                    </a:lnTo>
                    <a:lnTo>
                      <a:pt x="101" y="241"/>
                    </a:lnTo>
                    <a:lnTo>
                      <a:pt x="87" y="232"/>
                    </a:lnTo>
                    <a:lnTo>
                      <a:pt x="76" y="227"/>
                    </a:lnTo>
                    <a:lnTo>
                      <a:pt x="67" y="223"/>
                    </a:lnTo>
                    <a:lnTo>
                      <a:pt x="64" y="222"/>
                    </a:lnTo>
                    <a:lnTo>
                      <a:pt x="80" y="167"/>
                    </a:lnTo>
                    <a:lnTo>
                      <a:pt x="85" y="168"/>
                    </a:lnTo>
                    <a:lnTo>
                      <a:pt x="94" y="172"/>
                    </a:lnTo>
                    <a:lnTo>
                      <a:pt x="108" y="178"/>
                    </a:lnTo>
                    <a:lnTo>
                      <a:pt x="124" y="188"/>
                    </a:lnTo>
                    <a:lnTo>
                      <a:pt x="144" y="201"/>
                    </a:lnTo>
                    <a:lnTo>
                      <a:pt x="163" y="217"/>
                    </a:lnTo>
                    <a:lnTo>
                      <a:pt x="183" y="238"/>
                    </a:lnTo>
                    <a:lnTo>
                      <a:pt x="196" y="216"/>
                    </a:lnTo>
                    <a:lnTo>
                      <a:pt x="211" y="191"/>
                    </a:lnTo>
                    <a:lnTo>
                      <a:pt x="228" y="164"/>
                    </a:lnTo>
                    <a:lnTo>
                      <a:pt x="246" y="136"/>
                    </a:lnTo>
                    <a:lnTo>
                      <a:pt x="267" y="108"/>
                    </a:lnTo>
                    <a:lnTo>
                      <a:pt x="288" y="80"/>
                    </a:lnTo>
                    <a:lnTo>
                      <a:pt x="285" y="80"/>
                    </a:lnTo>
                    <a:lnTo>
                      <a:pt x="281" y="79"/>
                    </a:lnTo>
                    <a:lnTo>
                      <a:pt x="125" y="79"/>
                    </a:lnTo>
                    <a:close/>
                    <a:moveTo>
                      <a:pt x="375" y="0"/>
                    </a:moveTo>
                    <a:lnTo>
                      <a:pt x="406" y="49"/>
                    </a:lnTo>
                    <a:lnTo>
                      <a:pt x="379" y="69"/>
                    </a:lnTo>
                    <a:lnTo>
                      <a:pt x="394" y="91"/>
                    </a:lnTo>
                    <a:lnTo>
                      <a:pt x="402" y="117"/>
                    </a:lnTo>
                    <a:lnTo>
                      <a:pt x="406" y="145"/>
                    </a:lnTo>
                    <a:lnTo>
                      <a:pt x="406" y="262"/>
                    </a:lnTo>
                    <a:lnTo>
                      <a:pt x="402" y="290"/>
                    </a:lnTo>
                    <a:lnTo>
                      <a:pt x="394" y="316"/>
                    </a:lnTo>
                    <a:lnTo>
                      <a:pt x="379" y="338"/>
                    </a:lnTo>
                    <a:lnTo>
                      <a:pt x="359" y="358"/>
                    </a:lnTo>
                    <a:lnTo>
                      <a:pt x="336" y="372"/>
                    </a:lnTo>
                    <a:lnTo>
                      <a:pt x="310" y="382"/>
                    </a:lnTo>
                    <a:lnTo>
                      <a:pt x="281" y="385"/>
                    </a:lnTo>
                    <a:lnTo>
                      <a:pt x="125" y="385"/>
                    </a:lnTo>
                    <a:lnTo>
                      <a:pt x="97" y="382"/>
                    </a:lnTo>
                    <a:lnTo>
                      <a:pt x="71" y="372"/>
                    </a:lnTo>
                    <a:lnTo>
                      <a:pt x="48" y="358"/>
                    </a:lnTo>
                    <a:lnTo>
                      <a:pt x="29" y="338"/>
                    </a:lnTo>
                    <a:lnTo>
                      <a:pt x="13" y="316"/>
                    </a:lnTo>
                    <a:lnTo>
                      <a:pt x="4" y="290"/>
                    </a:lnTo>
                    <a:lnTo>
                      <a:pt x="0" y="262"/>
                    </a:lnTo>
                    <a:lnTo>
                      <a:pt x="0" y="145"/>
                    </a:lnTo>
                    <a:lnTo>
                      <a:pt x="4" y="117"/>
                    </a:lnTo>
                    <a:lnTo>
                      <a:pt x="13" y="91"/>
                    </a:lnTo>
                    <a:lnTo>
                      <a:pt x="29" y="68"/>
                    </a:lnTo>
                    <a:lnTo>
                      <a:pt x="48" y="49"/>
                    </a:lnTo>
                    <a:lnTo>
                      <a:pt x="71" y="35"/>
                    </a:lnTo>
                    <a:lnTo>
                      <a:pt x="97" y="25"/>
                    </a:lnTo>
                    <a:lnTo>
                      <a:pt x="125" y="22"/>
                    </a:lnTo>
                    <a:lnTo>
                      <a:pt x="281" y="22"/>
                    </a:lnTo>
                    <a:lnTo>
                      <a:pt x="308" y="25"/>
                    </a:lnTo>
                    <a:lnTo>
                      <a:pt x="332" y="33"/>
                    </a:lnTo>
                    <a:lnTo>
                      <a:pt x="354"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47" name="Freeform 301"/>
              <p:cNvSpPr>
                <a:spLocks noEditPoints="1"/>
              </p:cNvSpPr>
              <p:nvPr/>
            </p:nvSpPr>
            <p:spPr bwMode="auto">
              <a:xfrm>
                <a:off x="-1176949" y="5644671"/>
                <a:ext cx="63500" cy="58737"/>
              </a:xfrm>
              <a:custGeom>
                <a:avLst/>
                <a:gdLst>
                  <a:gd name="T0" fmla="*/ 323 w 406"/>
                  <a:gd name="T1" fmla="*/ 130 h 377"/>
                  <a:gd name="T2" fmla="*/ 287 w 406"/>
                  <a:gd name="T3" fmla="*/ 179 h 377"/>
                  <a:gd name="T4" fmla="*/ 257 w 406"/>
                  <a:gd name="T5" fmla="*/ 226 h 377"/>
                  <a:gd name="T6" fmla="*/ 233 w 406"/>
                  <a:gd name="T7" fmla="*/ 267 h 377"/>
                  <a:gd name="T8" fmla="*/ 217 w 406"/>
                  <a:gd name="T9" fmla="*/ 296 h 377"/>
                  <a:gd name="T10" fmla="*/ 212 w 406"/>
                  <a:gd name="T11" fmla="*/ 308 h 377"/>
                  <a:gd name="T12" fmla="*/ 281 w 406"/>
                  <a:gd name="T13" fmla="*/ 319 h 377"/>
                  <a:gd name="T14" fmla="*/ 315 w 406"/>
                  <a:gd name="T15" fmla="*/ 310 h 377"/>
                  <a:gd name="T16" fmla="*/ 339 w 406"/>
                  <a:gd name="T17" fmla="*/ 287 h 377"/>
                  <a:gd name="T18" fmla="*/ 349 w 406"/>
                  <a:gd name="T19" fmla="*/ 254 h 377"/>
                  <a:gd name="T20" fmla="*/ 349 w 406"/>
                  <a:gd name="T21" fmla="*/ 137 h 377"/>
                  <a:gd name="T22" fmla="*/ 341 w 406"/>
                  <a:gd name="T23" fmla="*/ 108 h 377"/>
                  <a:gd name="T24" fmla="*/ 108 w 406"/>
                  <a:gd name="T25" fmla="*/ 74 h 377"/>
                  <a:gd name="T26" fmla="*/ 78 w 406"/>
                  <a:gd name="T27" fmla="*/ 90 h 377"/>
                  <a:gd name="T28" fmla="*/ 61 w 406"/>
                  <a:gd name="T29" fmla="*/ 120 h 377"/>
                  <a:gd name="T30" fmla="*/ 59 w 406"/>
                  <a:gd name="T31" fmla="*/ 254 h 377"/>
                  <a:gd name="T32" fmla="*/ 67 w 406"/>
                  <a:gd name="T33" fmla="*/ 287 h 377"/>
                  <a:gd name="T34" fmla="*/ 92 w 406"/>
                  <a:gd name="T35" fmla="*/ 310 h 377"/>
                  <a:gd name="T36" fmla="*/ 125 w 406"/>
                  <a:gd name="T37" fmla="*/ 320 h 377"/>
                  <a:gd name="T38" fmla="*/ 160 w 406"/>
                  <a:gd name="T39" fmla="*/ 308 h 377"/>
                  <a:gd name="T40" fmla="*/ 132 w 406"/>
                  <a:gd name="T41" fmla="*/ 267 h 377"/>
                  <a:gd name="T42" fmla="*/ 101 w 406"/>
                  <a:gd name="T43" fmla="*/ 241 h 377"/>
                  <a:gd name="T44" fmla="*/ 76 w 406"/>
                  <a:gd name="T45" fmla="*/ 227 h 377"/>
                  <a:gd name="T46" fmla="*/ 64 w 406"/>
                  <a:gd name="T47" fmla="*/ 222 h 377"/>
                  <a:gd name="T48" fmla="*/ 85 w 406"/>
                  <a:gd name="T49" fmla="*/ 169 h 377"/>
                  <a:gd name="T50" fmla="*/ 108 w 406"/>
                  <a:gd name="T51" fmla="*/ 179 h 377"/>
                  <a:gd name="T52" fmla="*/ 144 w 406"/>
                  <a:gd name="T53" fmla="*/ 201 h 377"/>
                  <a:gd name="T54" fmla="*/ 183 w 406"/>
                  <a:gd name="T55" fmla="*/ 238 h 377"/>
                  <a:gd name="T56" fmla="*/ 212 w 406"/>
                  <a:gd name="T57" fmla="*/ 188 h 377"/>
                  <a:gd name="T58" fmla="*/ 250 w 406"/>
                  <a:gd name="T59" fmla="*/ 131 h 377"/>
                  <a:gd name="T60" fmla="*/ 295 w 406"/>
                  <a:gd name="T61" fmla="*/ 73 h 377"/>
                  <a:gd name="T62" fmla="*/ 281 w 406"/>
                  <a:gd name="T63" fmla="*/ 72 h 377"/>
                  <a:gd name="T64" fmla="*/ 375 w 406"/>
                  <a:gd name="T65" fmla="*/ 0 h 377"/>
                  <a:gd name="T66" fmla="*/ 383 w 406"/>
                  <a:gd name="T67" fmla="*/ 66 h 377"/>
                  <a:gd name="T68" fmla="*/ 403 w 406"/>
                  <a:gd name="T69" fmla="*/ 111 h 377"/>
                  <a:gd name="T70" fmla="*/ 406 w 406"/>
                  <a:gd name="T71" fmla="*/ 254 h 377"/>
                  <a:gd name="T72" fmla="*/ 394 w 406"/>
                  <a:gd name="T73" fmla="*/ 308 h 377"/>
                  <a:gd name="T74" fmla="*/ 359 w 406"/>
                  <a:gd name="T75" fmla="*/ 350 h 377"/>
                  <a:gd name="T76" fmla="*/ 310 w 406"/>
                  <a:gd name="T77" fmla="*/ 373 h 377"/>
                  <a:gd name="T78" fmla="*/ 125 w 406"/>
                  <a:gd name="T79" fmla="*/ 377 h 377"/>
                  <a:gd name="T80" fmla="*/ 71 w 406"/>
                  <a:gd name="T81" fmla="*/ 364 h 377"/>
                  <a:gd name="T82" fmla="*/ 29 w 406"/>
                  <a:gd name="T83" fmla="*/ 330 h 377"/>
                  <a:gd name="T84" fmla="*/ 4 w 406"/>
                  <a:gd name="T85" fmla="*/ 282 h 377"/>
                  <a:gd name="T86" fmla="*/ 0 w 406"/>
                  <a:gd name="T87" fmla="*/ 137 h 377"/>
                  <a:gd name="T88" fmla="*/ 13 w 406"/>
                  <a:gd name="T89" fmla="*/ 83 h 377"/>
                  <a:gd name="T90" fmla="*/ 48 w 406"/>
                  <a:gd name="T91" fmla="*/ 41 h 377"/>
                  <a:gd name="T92" fmla="*/ 97 w 406"/>
                  <a:gd name="T93" fmla="*/ 17 h 377"/>
                  <a:gd name="T94" fmla="*/ 281 w 406"/>
                  <a:gd name="T95" fmla="*/ 14 h 377"/>
                  <a:gd name="T96" fmla="*/ 321 w 406"/>
                  <a:gd name="T97" fmla="*/ 21 h 377"/>
                  <a:gd name="T98" fmla="*/ 357 w 406"/>
                  <a:gd name="T99" fmla="*/ 1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377">
                    <a:moveTo>
                      <a:pt x="341" y="108"/>
                    </a:moveTo>
                    <a:lnTo>
                      <a:pt x="323" y="130"/>
                    </a:lnTo>
                    <a:lnTo>
                      <a:pt x="304" y="155"/>
                    </a:lnTo>
                    <a:lnTo>
                      <a:pt x="287" y="179"/>
                    </a:lnTo>
                    <a:lnTo>
                      <a:pt x="271" y="203"/>
                    </a:lnTo>
                    <a:lnTo>
                      <a:pt x="257" y="226"/>
                    </a:lnTo>
                    <a:lnTo>
                      <a:pt x="244" y="248"/>
                    </a:lnTo>
                    <a:lnTo>
                      <a:pt x="233" y="267"/>
                    </a:lnTo>
                    <a:lnTo>
                      <a:pt x="225" y="283"/>
                    </a:lnTo>
                    <a:lnTo>
                      <a:pt x="217" y="296"/>
                    </a:lnTo>
                    <a:lnTo>
                      <a:pt x="213" y="305"/>
                    </a:lnTo>
                    <a:lnTo>
                      <a:pt x="212" y="308"/>
                    </a:lnTo>
                    <a:lnTo>
                      <a:pt x="206" y="319"/>
                    </a:lnTo>
                    <a:lnTo>
                      <a:pt x="281" y="319"/>
                    </a:lnTo>
                    <a:lnTo>
                      <a:pt x="299" y="316"/>
                    </a:lnTo>
                    <a:lnTo>
                      <a:pt x="315" y="310"/>
                    </a:lnTo>
                    <a:lnTo>
                      <a:pt x="328" y="300"/>
                    </a:lnTo>
                    <a:lnTo>
                      <a:pt x="339" y="287"/>
                    </a:lnTo>
                    <a:lnTo>
                      <a:pt x="346" y="271"/>
                    </a:lnTo>
                    <a:lnTo>
                      <a:pt x="349" y="254"/>
                    </a:lnTo>
                    <a:lnTo>
                      <a:pt x="349" y="254"/>
                    </a:lnTo>
                    <a:lnTo>
                      <a:pt x="349" y="137"/>
                    </a:lnTo>
                    <a:lnTo>
                      <a:pt x="346" y="122"/>
                    </a:lnTo>
                    <a:lnTo>
                      <a:pt x="341" y="108"/>
                    </a:lnTo>
                    <a:close/>
                    <a:moveTo>
                      <a:pt x="125" y="72"/>
                    </a:moveTo>
                    <a:lnTo>
                      <a:pt x="108" y="74"/>
                    </a:lnTo>
                    <a:lnTo>
                      <a:pt x="92" y="81"/>
                    </a:lnTo>
                    <a:lnTo>
                      <a:pt x="78" y="90"/>
                    </a:lnTo>
                    <a:lnTo>
                      <a:pt x="67" y="103"/>
                    </a:lnTo>
                    <a:lnTo>
                      <a:pt x="61" y="120"/>
                    </a:lnTo>
                    <a:lnTo>
                      <a:pt x="59" y="137"/>
                    </a:lnTo>
                    <a:lnTo>
                      <a:pt x="59" y="254"/>
                    </a:lnTo>
                    <a:lnTo>
                      <a:pt x="61" y="271"/>
                    </a:lnTo>
                    <a:lnTo>
                      <a:pt x="67" y="287"/>
                    </a:lnTo>
                    <a:lnTo>
                      <a:pt x="78" y="300"/>
                    </a:lnTo>
                    <a:lnTo>
                      <a:pt x="92" y="310"/>
                    </a:lnTo>
                    <a:lnTo>
                      <a:pt x="108" y="316"/>
                    </a:lnTo>
                    <a:lnTo>
                      <a:pt x="125" y="320"/>
                    </a:lnTo>
                    <a:lnTo>
                      <a:pt x="165" y="320"/>
                    </a:lnTo>
                    <a:lnTo>
                      <a:pt x="160" y="308"/>
                    </a:lnTo>
                    <a:lnTo>
                      <a:pt x="147" y="285"/>
                    </a:lnTo>
                    <a:lnTo>
                      <a:pt x="132" y="267"/>
                    </a:lnTo>
                    <a:lnTo>
                      <a:pt x="116" y="252"/>
                    </a:lnTo>
                    <a:lnTo>
                      <a:pt x="101" y="241"/>
                    </a:lnTo>
                    <a:lnTo>
                      <a:pt x="87" y="233"/>
                    </a:lnTo>
                    <a:lnTo>
                      <a:pt x="76" y="227"/>
                    </a:lnTo>
                    <a:lnTo>
                      <a:pt x="67" y="224"/>
                    </a:lnTo>
                    <a:lnTo>
                      <a:pt x="64" y="222"/>
                    </a:lnTo>
                    <a:lnTo>
                      <a:pt x="80" y="167"/>
                    </a:lnTo>
                    <a:lnTo>
                      <a:pt x="85" y="169"/>
                    </a:lnTo>
                    <a:lnTo>
                      <a:pt x="94" y="172"/>
                    </a:lnTo>
                    <a:lnTo>
                      <a:pt x="108" y="179"/>
                    </a:lnTo>
                    <a:lnTo>
                      <a:pt x="124" y="188"/>
                    </a:lnTo>
                    <a:lnTo>
                      <a:pt x="144" y="201"/>
                    </a:lnTo>
                    <a:lnTo>
                      <a:pt x="163" y="217"/>
                    </a:lnTo>
                    <a:lnTo>
                      <a:pt x="183" y="238"/>
                    </a:lnTo>
                    <a:lnTo>
                      <a:pt x="197" y="215"/>
                    </a:lnTo>
                    <a:lnTo>
                      <a:pt x="212" y="188"/>
                    </a:lnTo>
                    <a:lnTo>
                      <a:pt x="230" y="160"/>
                    </a:lnTo>
                    <a:lnTo>
                      <a:pt x="250" y="131"/>
                    </a:lnTo>
                    <a:lnTo>
                      <a:pt x="272" y="102"/>
                    </a:lnTo>
                    <a:lnTo>
                      <a:pt x="295" y="73"/>
                    </a:lnTo>
                    <a:lnTo>
                      <a:pt x="288" y="72"/>
                    </a:lnTo>
                    <a:lnTo>
                      <a:pt x="281" y="72"/>
                    </a:lnTo>
                    <a:lnTo>
                      <a:pt x="125" y="72"/>
                    </a:lnTo>
                    <a:close/>
                    <a:moveTo>
                      <a:pt x="375" y="0"/>
                    </a:moveTo>
                    <a:lnTo>
                      <a:pt x="406" y="50"/>
                    </a:lnTo>
                    <a:lnTo>
                      <a:pt x="383" y="66"/>
                    </a:lnTo>
                    <a:lnTo>
                      <a:pt x="395" y="87"/>
                    </a:lnTo>
                    <a:lnTo>
                      <a:pt x="403" y="111"/>
                    </a:lnTo>
                    <a:lnTo>
                      <a:pt x="406" y="137"/>
                    </a:lnTo>
                    <a:lnTo>
                      <a:pt x="406" y="254"/>
                    </a:lnTo>
                    <a:lnTo>
                      <a:pt x="402" y="282"/>
                    </a:lnTo>
                    <a:lnTo>
                      <a:pt x="394" y="308"/>
                    </a:lnTo>
                    <a:lnTo>
                      <a:pt x="379" y="330"/>
                    </a:lnTo>
                    <a:lnTo>
                      <a:pt x="359" y="350"/>
                    </a:lnTo>
                    <a:lnTo>
                      <a:pt x="336" y="364"/>
                    </a:lnTo>
                    <a:lnTo>
                      <a:pt x="310" y="373"/>
                    </a:lnTo>
                    <a:lnTo>
                      <a:pt x="281" y="377"/>
                    </a:lnTo>
                    <a:lnTo>
                      <a:pt x="125" y="377"/>
                    </a:lnTo>
                    <a:lnTo>
                      <a:pt x="97" y="373"/>
                    </a:lnTo>
                    <a:lnTo>
                      <a:pt x="71" y="364"/>
                    </a:lnTo>
                    <a:lnTo>
                      <a:pt x="48" y="350"/>
                    </a:lnTo>
                    <a:lnTo>
                      <a:pt x="29" y="330"/>
                    </a:lnTo>
                    <a:lnTo>
                      <a:pt x="13" y="308"/>
                    </a:lnTo>
                    <a:lnTo>
                      <a:pt x="4" y="282"/>
                    </a:lnTo>
                    <a:lnTo>
                      <a:pt x="0" y="254"/>
                    </a:lnTo>
                    <a:lnTo>
                      <a:pt x="0" y="137"/>
                    </a:lnTo>
                    <a:lnTo>
                      <a:pt x="4" y="109"/>
                    </a:lnTo>
                    <a:lnTo>
                      <a:pt x="13" y="83"/>
                    </a:lnTo>
                    <a:lnTo>
                      <a:pt x="29" y="60"/>
                    </a:lnTo>
                    <a:lnTo>
                      <a:pt x="48" y="41"/>
                    </a:lnTo>
                    <a:lnTo>
                      <a:pt x="71" y="27"/>
                    </a:lnTo>
                    <a:lnTo>
                      <a:pt x="97" y="17"/>
                    </a:lnTo>
                    <a:lnTo>
                      <a:pt x="125" y="14"/>
                    </a:lnTo>
                    <a:lnTo>
                      <a:pt x="281" y="14"/>
                    </a:lnTo>
                    <a:lnTo>
                      <a:pt x="301" y="16"/>
                    </a:lnTo>
                    <a:lnTo>
                      <a:pt x="321" y="21"/>
                    </a:lnTo>
                    <a:lnTo>
                      <a:pt x="339" y="28"/>
                    </a:lnTo>
                    <a:lnTo>
                      <a:pt x="357" y="13"/>
                    </a:lnTo>
                    <a:lnTo>
                      <a:pt x="375" y="0"/>
                    </a:lnTo>
                    <a:close/>
                  </a:path>
                </a:pathLst>
              </a:custGeom>
              <a:solidFill>
                <a:schemeClr val="tx1"/>
              </a:solidFill>
              <a:ln w="3175">
                <a:noFill/>
                <a:prstDash val="solid"/>
                <a:round/>
                <a:headEnd/>
                <a:tailEnd/>
              </a:ln>
            </p:spPr>
            <p:txBody>
              <a:bodyPr/>
              <a:lstStyle/>
              <a:p>
                <a:endParaRPr lang="de-DE" sz="800" b="0" dirty="0"/>
              </a:p>
            </p:txBody>
          </p:sp>
          <p:sp>
            <p:nvSpPr>
              <p:cNvPr id="48" name="Freeform 302"/>
              <p:cNvSpPr>
                <a:spLocks noEditPoints="1"/>
              </p:cNvSpPr>
              <p:nvPr/>
            </p:nvSpPr>
            <p:spPr bwMode="auto">
              <a:xfrm>
                <a:off x="-1176949" y="5712933"/>
                <a:ext cx="63500" cy="60325"/>
              </a:xfrm>
              <a:custGeom>
                <a:avLst/>
                <a:gdLst>
                  <a:gd name="T0" fmla="*/ 318 w 406"/>
                  <a:gd name="T1" fmla="*/ 136 h 390"/>
                  <a:gd name="T2" fmla="*/ 284 w 406"/>
                  <a:gd name="T3" fmla="*/ 183 h 390"/>
                  <a:gd name="T4" fmla="*/ 255 w 406"/>
                  <a:gd name="T5" fmla="*/ 230 h 390"/>
                  <a:gd name="T6" fmla="*/ 232 w 406"/>
                  <a:gd name="T7" fmla="*/ 268 h 390"/>
                  <a:gd name="T8" fmla="*/ 217 w 406"/>
                  <a:gd name="T9" fmla="*/ 296 h 390"/>
                  <a:gd name="T10" fmla="*/ 212 w 406"/>
                  <a:gd name="T11" fmla="*/ 307 h 390"/>
                  <a:gd name="T12" fmla="*/ 281 w 406"/>
                  <a:gd name="T13" fmla="*/ 332 h 390"/>
                  <a:gd name="T14" fmla="*/ 315 w 406"/>
                  <a:gd name="T15" fmla="*/ 323 h 390"/>
                  <a:gd name="T16" fmla="*/ 339 w 406"/>
                  <a:gd name="T17" fmla="*/ 299 h 390"/>
                  <a:gd name="T18" fmla="*/ 349 w 406"/>
                  <a:gd name="T19" fmla="*/ 267 h 390"/>
                  <a:gd name="T20" fmla="*/ 345 w 406"/>
                  <a:gd name="T21" fmla="*/ 129 h 390"/>
                  <a:gd name="T22" fmla="*/ 125 w 406"/>
                  <a:gd name="T23" fmla="*/ 84 h 390"/>
                  <a:gd name="T24" fmla="*/ 92 w 406"/>
                  <a:gd name="T25" fmla="*/ 94 h 390"/>
                  <a:gd name="T26" fmla="*/ 67 w 406"/>
                  <a:gd name="T27" fmla="*/ 117 h 390"/>
                  <a:gd name="T28" fmla="*/ 59 w 406"/>
                  <a:gd name="T29" fmla="*/ 149 h 390"/>
                  <a:gd name="T30" fmla="*/ 61 w 406"/>
                  <a:gd name="T31" fmla="*/ 284 h 390"/>
                  <a:gd name="T32" fmla="*/ 78 w 406"/>
                  <a:gd name="T33" fmla="*/ 313 h 390"/>
                  <a:gd name="T34" fmla="*/ 108 w 406"/>
                  <a:gd name="T35" fmla="*/ 330 h 390"/>
                  <a:gd name="T36" fmla="*/ 172 w 406"/>
                  <a:gd name="T37" fmla="*/ 332 h 390"/>
                  <a:gd name="T38" fmla="*/ 147 w 406"/>
                  <a:gd name="T39" fmla="*/ 285 h 390"/>
                  <a:gd name="T40" fmla="*/ 116 w 406"/>
                  <a:gd name="T41" fmla="*/ 252 h 390"/>
                  <a:gd name="T42" fmla="*/ 87 w 406"/>
                  <a:gd name="T43" fmla="*/ 233 h 390"/>
                  <a:gd name="T44" fmla="*/ 67 w 406"/>
                  <a:gd name="T45" fmla="*/ 223 h 390"/>
                  <a:gd name="T46" fmla="*/ 80 w 406"/>
                  <a:gd name="T47" fmla="*/ 167 h 390"/>
                  <a:gd name="T48" fmla="*/ 94 w 406"/>
                  <a:gd name="T49" fmla="*/ 172 h 390"/>
                  <a:gd name="T50" fmla="*/ 124 w 406"/>
                  <a:gd name="T51" fmla="*/ 188 h 390"/>
                  <a:gd name="T52" fmla="*/ 163 w 406"/>
                  <a:gd name="T53" fmla="*/ 218 h 390"/>
                  <a:gd name="T54" fmla="*/ 198 w 406"/>
                  <a:gd name="T55" fmla="*/ 212 h 390"/>
                  <a:gd name="T56" fmla="*/ 236 w 406"/>
                  <a:gd name="T57" fmla="*/ 150 h 390"/>
                  <a:gd name="T58" fmla="*/ 285 w 406"/>
                  <a:gd name="T59" fmla="*/ 85 h 390"/>
                  <a:gd name="T60" fmla="*/ 281 w 406"/>
                  <a:gd name="T61" fmla="*/ 84 h 390"/>
                  <a:gd name="T62" fmla="*/ 375 w 406"/>
                  <a:gd name="T63" fmla="*/ 0 h 390"/>
                  <a:gd name="T64" fmla="*/ 377 w 406"/>
                  <a:gd name="T65" fmla="*/ 71 h 390"/>
                  <a:gd name="T66" fmla="*/ 398 w 406"/>
                  <a:gd name="T67" fmla="*/ 107 h 390"/>
                  <a:gd name="T68" fmla="*/ 406 w 406"/>
                  <a:gd name="T69" fmla="*/ 149 h 390"/>
                  <a:gd name="T70" fmla="*/ 402 w 406"/>
                  <a:gd name="T71" fmla="*/ 295 h 390"/>
                  <a:gd name="T72" fmla="*/ 379 w 406"/>
                  <a:gd name="T73" fmla="*/ 344 h 390"/>
                  <a:gd name="T74" fmla="*/ 336 w 406"/>
                  <a:gd name="T75" fmla="*/ 377 h 390"/>
                  <a:gd name="T76" fmla="*/ 281 w 406"/>
                  <a:gd name="T77" fmla="*/ 390 h 390"/>
                  <a:gd name="T78" fmla="*/ 97 w 406"/>
                  <a:gd name="T79" fmla="*/ 387 h 390"/>
                  <a:gd name="T80" fmla="*/ 48 w 406"/>
                  <a:gd name="T81" fmla="*/ 363 h 390"/>
                  <a:gd name="T82" fmla="*/ 13 w 406"/>
                  <a:gd name="T83" fmla="*/ 321 h 390"/>
                  <a:gd name="T84" fmla="*/ 0 w 406"/>
                  <a:gd name="T85" fmla="*/ 267 h 390"/>
                  <a:gd name="T86" fmla="*/ 4 w 406"/>
                  <a:gd name="T87" fmla="*/ 121 h 390"/>
                  <a:gd name="T88" fmla="*/ 29 w 406"/>
                  <a:gd name="T89" fmla="*/ 72 h 390"/>
                  <a:gd name="T90" fmla="*/ 71 w 406"/>
                  <a:gd name="T91" fmla="*/ 40 h 390"/>
                  <a:gd name="T92" fmla="*/ 125 w 406"/>
                  <a:gd name="T93" fmla="*/ 27 h 390"/>
                  <a:gd name="T94" fmla="*/ 307 w 406"/>
                  <a:gd name="T95" fmla="*/ 29 h 390"/>
                  <a:gd name="T96" fmla="*/ 352 w 406"/>
                  <a:gd name="T97" fmla="*/ 1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0">
                    <a:moveTo>
                      <a:pt x="337" y="113"/>
                    </a:moveTo>
                    <a:lnTo>
                      <a:pt x="318" y="136"/>
                    </a:lnTo>
                    <a:lnTo>
                      <a:pt x="301" y="160"/>
                    </a:lnTo>
                    <a:lnTo>
                      <a:pt x="284" y="183"/>
                    </a:lnTo>
                    <a:lnTo>
                      <a:pt x="269" y="207"/>
                    </a:lnTo>
                    <a:lnTo>
                      <a:pt x="255" y="230"/>
                    </a:lnTo>
                    <a:lnTo>
                      <a:pt x="243" y="250"/>
                    </a:lnTo>
                    <a:lnTo>
                      <a:pt x="232" y="268"/>
                    </a:lnTo>
                    <a:lnTo>
                      <a:pt x="224" y="284"/>
                    </a:lnTo>
                    <a:lnTo>
                      <a:pt x="217" y="296"/>
                    </a:lnTo>
                    <a:lnTo>
                      <a:pt x="213" y="305"/>
                    </a:lnTo>
                    <a:lnTo>
                      <a:pt x="212" y="307"/>
                    </a:lnTo>
                    <a:lnTo>
                      <a:pt x="200" y="332"/>
                    </a:lnTo>
                    <a:lnTo>
                      <a:pt x="281" y="332"/>
                    </a:lnTo>
                    <a:lnTo>
                      <a:pt x="299" y="330"/>
                    </a:lnTo>
                    <a:lnTo>
                      <a:pt x="315" y="323"/>
                    </a:lnTo>
                    <a:lnTo>
                      <a:pt x="328" y="313"/>
                    </a:lnTo>
                    <a:lnTo>
                      <a:pt x="339" y="299"/>
                    </a:lnTo>
                    <a:lnTo>
                      <a:pt x="346" y="284"/>
                    </a:lnTo>
                    <a:lnTo>
                      <a:pt x="349" y="267"/>
                    </a:lnTo>
                    <a:lnTo>
                      <a:pt x="349" y="149"/>
                    </a:lnTo>
                    <a:lnTo>
                      <a:pt x="345" y="129"/>
                    </a:lnTo>
                    <a:lnTo>
                      <a:pt x="337" y="113"/>
                    </a:lnTo>
                    <a:close/>
                    <a:moveTo>
                      <a:pt x="125" y="84"/>
                    </a:moveTo>
                    <a:lnTo>
                      <a:pt x="108" y="87"/>
                    </a:lnTo>
                    <a:lnTo>
                      <a:pt x="92" y="94"/>
                    </a:lnTo>
                    <a:lnTo>
                      <a:pt x="78" y="104"/>
                    </a:lnTo>
                    <a:lnTo>
                      <a:pt x="67" y="117"/>
                    </a:lnTo>
                    <a:lnTo>
                      <a:pt x="61" y="132"/>
                    </a:lnTo>
                    <a:lnTo>
                      <a:pt x="59" y="149"/>
                    </a:lnTo>
                    <a:lnTo>
                      <a:pt x="59" y="267"/>
                    </a:lnTo>
                    <a:lnTo>
                      <a:pt x="61" y="284"/>
                    </a:lnTo>
                    <a:lnTo>
                      <a:pt x="67" y="299"/>
                    </a:lnTo>
                    <a:lnTo>
                      <a:pt x="78" y="313"/>
                    </a:lnTo>
                    <a:lnTo>
                      <a:pt x="92" y="323"/>
                    </a:lnTo>
                    <a:lnTo>
                      <a:pt x="108" y="330"/>
                    </a:lnTo>
                    <a:lnTo>
                      <a:pt x="125" y="332"/>
                    </a:lnTo>
                    <a:lnTo>
                      <a:pt x="172" y="332"/>
                    </a:lnTo>
                    <a:lnTo>
                      <a:pt x="160" y="308"/>
                    </a:lnTo>
                    <a:lnTo>
                      <a:pt x="147" y="285"/>
                    </a:lnTo>
                    <a:lnTo>
                      <a:pt x="132" y="267"/>
                    </a:lnTo>
                    <a:lnTo>
                      <a:pt x="116" y="252"/>
                    </a:lnTo>
                    <a:lnTo>
                      <a:pt x="101" y="240"/>
                    </a:lnTo>
                    <a:lnTo>
                      <a:pt x="87" y="233"/>
                    </a:lnTo>
                    <a:lnTo>
                      <a:pt x="76" y="226"/>
                    </a:lnTo>
                    <a:lnTo>
                      <a:pt x="67" y="223"/>
                    </a:lnTo>
                    <a:lnTo>
                      <a:pt x="64" y="222"/>
                    </a:lnTo>
                    <a:lnTo>
                      <a:pt x="80" y="167"/>
                    </a:lnTo>
                    <a:lnTo>
                      <a:pt x="85" y="168"/>
                    </a:lnTo>
                    <a:lnTo>
                      <a:pt x="94" y="172"/>
                    </a:lnTo>
                    <a:lnTo>
                      <a:pt x="108" y="179"/>
                    </a:lnTo>
                    <a:lnTo>
                      <a:pt x="124" y="188"/>
                    </a:lnTo>
                    <a:lnTo>
                      <a:pt x="144" y="200"/>
                    </a:lnTo>
                    <a:lnTo>
                      <a:pt x="163" y="218"/>
                    </a:lnTo>
                    <a:lnTo>
                      <a:pt x="183" y="238"/>
                    </a:lnTo>
                    <a:lnTo>
                      <a:pt x="198" y="212"/>
                    </a:lnTo>
                    <a:lnTo>
                      <a:pt x="216" y="182"/>
                    </a:lnTo>
                    <a:lnTo>
                      <a:pt x="236" y="150"/>
                    </a:lnTo>
                    <a:lnTo>
                      <a:pt x="260" y="118"/>
                    </a:lnTo>
                    <a:lnTo>
                      <a:pt x="285" y="85"/>
                    </a:lnTo>
                    <a:lnTo>
                      <a:pt x="283" y="85"/>
                    </a:lnTo>
                    <a:lnTo>
                      <a:pt x="281" y="84"/>
                    </a:lnTo>
                    <a:lnTo>
                      <a:pt x="125" y="84"/>
                    </a:lnTo>
                    <a:close/>
                    <a:moveTo>
                      <a:pt x="375" y="0"/>
                    </a:moveTo>
                    <a:lnTo>
                      <a:pt x="406" y="49"/>
                    </a:lnTo>
                    <a:lnTo>
                      <a:pt x="377" y="71"/>
                    </a:lnTo>
                    <a:lnTo>
                      <a:pt x="389" y="89"/>
                    </a:lnTo>
                    <a:lnTo>
                      <a:pt x="398" y="107"/>
                    </a:lnTo>
                    <a:lnTo>
                      <a:pt x="405" y="127"/>
                    </a:lnTo>
                    <a:lnTo>
                      <a:pt x="406" y="149"/>
                    </a:lnTo>
                    <a:lnTo>
                      <a:pt x="406" y="267"/>
                    </a:lnTo>
                    <a:lnTo>
                      <a:pt x="402" y="295"/>
                    </a:lnTo>
                    <a:lnTo>
                      <a:pt x="394" y="321"/>
                    </a:lnTo>
                    <a:lnTo>
                      <a:pt x="379" y="344"/>
                    </a:lnTo>
                    <a:lnTo>
                      <a:pt x="359" y="363"/>
                    </a:lnTo>
                    <a:lnTo>
                      <a:pt x="336" y="377"/>
                    </a:lnTo>
                    <a:lnTo>
                      <a:pt x="310" y="387"/>
                    </a:lnTo>
                    <a:lnTo>
                      <a:pt x="281" y="390"/>
                    </a:lnTo>
                    <a:lnTo>
                      <a:pt x="125" y="390"/>
                    </a:lnTo>
                    <a:lnTo>
                      <a:pt x="97" y="387"/>
                    </a:lnTo>
                    <a:lnTo>
                      <a:pt x="71" y="377"/>
                    </a:lnTo>
                    <a:lnTo>
                      <a:pt x="48" y="363"/>
                    </a:lnTo>
                    <a:lnTo>
                      <a:pt x="29" y="344"/>
                    </a:lnTo>
                    <a:lnTo>
                      <a:pt x="13" y="321"/>
                    </a:lnTo>
                    <a:lnTo>
                      <a:pt x="4" y="295"/>
                    </a:lnTo>
                    <a:lnTo>
                      <a:pt x="0" y="267"/>
                    </a:lnTo>
                    <a:lnTo>
                      <a:pt x="0" y="149"/>
                    </a:lnTo>
                    <a:lnTo>
                      <a:pt x="4" y="121"/>
                    </a:lnTo>
                    <a:lnTo>
                      <a:pt x="13" y="96"/>
                    </a:lnTo>
                    <a:lnTo>
                      <a:pt x="29" y="72"/>
                    </a:lnTo>
                    <a:lnTo>
                      <a:pt x="48" y="54"/>
                    </a:lnTo>
                    <a:lnTo>
                      <a:pt x="71" y="40"/>
                    </a:lnTo>
                    <a:lnTo>
                      <a:pt x="97" y="30"/>
                    </a:lnTo>
                    <a:lnTo>
                      <a:pt x="125" y="27"/>
                    </a:lnTo>
                    <a:lnTo>
                      <a:pt x="281" y="27"/>
                    </a:lnTo>
                    <a:lnTo>
                      <a:pt x="307" y="29"/>
                    </a:lnTo>
                    <a:lnTo>
                      <a:pt x="329" y="37"/>
                    </a:lnTo>
                    <a:lnTo>
                      <a:pt x="352"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49" name="Rectangle 303"/>
              <p:cNvSpPr>
                <a:spLocks noChangeArrowheads="1"/>
              </p:cNvSpPr>
              <p:nvPr/>
            </p:nvSpPr>
            <p:spPr bwMode="auto">
              <a:xfrm>
                <a:off x="-1100749" y="5411308"/>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0" name="Rectangle 304"/>
              <p:cNvSpPr>
                <a:spLocks noChangeArrowheads="1"/>
              </p:cNvSpPr>
              <p:nvPr/>
            </p:nvSpPr>
            <p:spPr bwMode="auto">
              <a:xfrm>
                <a:off x="-1100749" y="5479571"/>
                <a:ext cx="160338" cy="12700"/>
              </a:xfrm>
              <a:prstGeom prst="rect">
                <a:avLst/>
              </a:prstGeom>
              <a:solidFill>
                <a:schemeClr val="tx1"/>
              </a:solidFill>
              <a:ln w="3175">
                <a:noFill/>
                <a:prstDash val="solid"/>
                <a:round/>
                <a:headEnd/>
                <a:tailEnd/>
              </a:ln>
            </p:spPr>
            <p:txBody>
              <a:bodyPr/>
              <a:lstStyle/>
              <a:p>
                <a:endParaRPr lang="de-DE" sz="800" b="0" dirty="0"/>
              </a:p>
            </p:txBody>
          </p:sp>
          <p:sp>
            <p:nvSpPr>
              <p:cNvPr id="51" name="Rectangle 305"/>
              <p:cNvSpPr>
                <a:spLocks noChangeArrowheads="1"/>
              </p:cNvSpPr>
              <p:nvPr/>
            </p:nvSpPr>
            <p:spPr bwMode="auto">
              <a:xfrm>
                <a:off x="-1100749" y="5551008"/>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2" name="Rectangle 306"/>
              <p:cNvSpPr>
                <a:spLocks noChangeArrowheads="1"/>
              </p:cNvSpPr>
              <p:nvPr/>
            </p:nvSpPr>
            <p:spPr bwMode="auto">
              <a:xfrm>
                <a:off x="-1100749" y="5624033"/>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3" name="Rectangle 307"/>
              <p:cNvSpPr>
                <a:spLocks noChangeArrowheads="1"/>
              </p:cNvSpPr>
              <p:nvPr/>
            </p:nvSpPr>
            <p:spPr bwMode="auto">
              <a:xfrm>
                <a:off x="-1100749" y="5693883"/>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4" name="Rectangle 308"/>
              <p:cNvSpPr>
                <a:spLocks noChangeArrowheads="1"/>
              </p:cNvSpPr>
              <p:nvPr/>
            </p:nvSpPr>
            <p:spPr bwMode="auto">
              <a:xfrm>
                <a:off x="-1100749" y="5762146"/>
                <a:ext cx="160338" cy="11112"/>
              </a:xfrm>
              <a:prstGeom prst="rect">
                <a:avLst/>
              </a:prstGeom>
              <a:solidFill>
                <a:schemeClr val="tx1"/>
              </a:solidFill>
              <a:ln w="3175">
                <a:noFill/>
                <a:prstDash val="solid"/>
                <a:round/>
                <a:headEnd/>
                <a:tailEnd/>
              </a:ln>
            </p:spPr>
            <p:txBody>
              <a:bodyPr/>
              <a:lstStyle/>
              <a:p>
                <a:endParaRPr lang="de-DE" sz="800" b="0" dirty="0"/>
              </a:p>
            </p:txBody>
          </p:sp>
          <p:sp>
            <p:nvSpPr>
              <p:cNvPr id="55" name="Freeform 309"/>
              <p:cNvSpPr>
                <a:spLocks noEditPoints="1"/>
              </p:cNvSpPr>
              <p:nvPr/>
            </p:nvSpPr>
            <p:spPr bwMode="auto">
              <a:xfrm>
                <a:off x="-1227749" y="5257321"/>
                <a:ext cx="347663" cy="560387"/>
              </a:xfrm>
              <a:custGeom>
                <a:avLst/>
                <a:gdLst>
                  <a:gd name="T0" fmla="*/ 241 w 2199"/>
                  <a:gd name="T1" fmla="*/ 585 h 3523"/>
                  <a:gd name="T2" fmla="*/ 192 w 2199"/>
                  <a:gd name="T3" fmla="*/ 634 h 3523"/>
                  <a:gd name="T4" fmla="*/ 181 w 2199"/>
                  <a:gd name="T5" fmla="*/ 3266 h 3523"/>
                  <a:gd name="T6" fmla="*/ 205 w 2199"/>
                  <a:gd name="T7" fmla="*/ 3330 h 3523"/>
                  <a:gd name="T8" fmla="*/ 262 w 2199"/>
                  <a:gd name="T9" fmla="*/ 3367 h 3523"/>
                  <a:gd name="T10" fmla="*/ 1945 w 2199"/>
                  <a:gd name="T11" fmla="*/ 3367 h 3523"/>
                  <a:gd name="T12" fmla="*/ 2004 w 2199"/>
                  <a:gd name="T13" fmla="*/ 3330 h 3523"/>
                  <a:gd name="T14" fmla="*/ 2026 w 2199"/>
                  <a:gd name="T15" fmla="*/ 3266 h 3523"/>
                  <a:gd name="T16" fmla="*/ 2015 w 2199"/>
                  <a:gd name="T17" fmla="*/ 634 h 3523"/>
                  <a:gd name="T18" fmla="*/ 1968 w 2199"/>
                  <a:gd name="T19" fmla="*/ 585 h 3523"/>
                  <a:gd name="T20" fmla="*/ 286 w 2199"/>
                  <a:gd name="T21" fmla="*/ 575 h 3523"/>
                  <a:gd name="T22" fmla="*/ 1056 w 2199"/>
                  <a:gd name="T23" fmla="*/ 78 h 3523"/>
                  <a:gd name="T24" fmla="*/ 1029 w 2199"/>
                  <a:gd name="T25" fmla="*/ 131 h 3523"/>
                  <a:gd name="T26" fmla="*/ 1056 w 2199"/>
                  <a:gd name="T27" fmla="*/ 183 h 3523"/>
                  <a:gd name="T28" fmla="*/ 1116 w 2199"/>
                  <a:gd name="T29" fmla="*/ 193 h 3523"/>
                  <a:gd name="T30" fmla="*/ 1157 w 2199"/>
                  <a:gd name="T31" fmla="*/ 152 h 3523"/>
                  <a:gd name="T32" fmla="*/ 1147 w 2199"/>
                  <a:gd name="T33" fmla="*/ 92 h 3523"/>
                  <a:gd name="T34" fmla="*/ 1094 w 2199"/>
                  <a:gd name="T35" fmla="*/ 67 h 3523"/>
                  <a:gd name="T36" fmla="*/ 1124 w 2199"/>
                  <a:gd name="T37" fmla="*/ 1 h 3523"/>
                  <a:gd name="T38" fmla="*/ 1173 w 2199"/>
                  <a:gd name="T39" fmla="*/ 14 h 3523"/>
                  <a:gd name="T40" fmla="*/ 1227 w 2199"/>
                  <a:gd name="T41" fmla="*/ 50 h 3523"/>
                  <a:gd name="T42" fmla="*/ 1269 w 2199"/>
                  <a:gd name="T43" fmla="*/ 123 h 3523"/>
                  <a:gd name="T44" fmla="*/ 1303 w 2199"/>
                  <a:gd name="T45" fmla="*/ 217 h 3523"/>
                  <a:gd name="T46" fmla="*/ 1328 w 2199"/>
                  <a:gd name="T47" fmla="*/ 269 h 3523"/>
                  <a:gd name="T48" fmla="*/ 1353 w 2199"/>
                  <a:gd name="T49" fmla="*/ 296 h 3523"/>
                  <a:gd name="T50" fmla="*/ 1389 w 2199"/>
                  <a:gd name="T51" fmla="*/ 311 h 3523"/>
                  <a:gd name="T52" fmla="*/ 1464 w 2199"/>
                  <a:gd name="T53" fmla="*/ 325 h 3523"/>
                  <a:gd name="T54" fmla="*/ 1556 w 2199"/>
                  <a:gd name="T55" fmla="*/ 341 h 3523"/>
                  <a:gd name="T56" fmla="*/ 1641 w 2199"/>
                  <a:gd name="T57" fmla="*/ 359 h 3523"/>
                  <a:gd name="T58" fmla="*/ 2118 w 2199"/>
                  <a:gd name="T59" fmla="*/ 368 h 3523"/>
                  <a:gd name="T60" fmla="*/ 2176 w 2199"/>
                  <a:gd name="T61" fmla="*/ 405 h 3523"/>
                  <a:gd name="T62" fmla="*/ 2199 w 2199"/>
                  <a:gd name="T63" fmla="*/ 470 h 3523"/>
                  <a:gd name="T64" fmla="*/ 2189 w 2199"/>
                  <a:gd name="T65" fmla="*/ 3465 h 3523"/>
                  <a:gd name="T66" fmla="*/ 2140 w 2199"/>
                  <a:gd name="T67" fmla="*/ 3512 h 3523"/>
                  <a:gd name="T68" fmla="*/ 105 w 2199"/>
                  <a:gd name="T69" fmla="*/ 3523 h 3523"/>
                  <a:gd name="T70" fmla="*/ 39 w 2199"/>
                  <a:gd name="T71" fmla="*/ 3500 h 3523"/>
                  <a:gd name="T72" fmla="*/ 3 w 2199"/>
                  <a:gd name="T73" fmla="*/ 3442 h 3523"/>
                  <a:gd name="T74" fmla="*/ 3 w 2199"/>
                  <a:gd name="T75" fmla="*/ 446 h 3523"/>
                  <a:gd name="T76" fmla="*/ 39 w 2199"/>
                  <a:gd name="T77" fmla="*/ 388 h 3523"/>
                  <a:gd name="T78" fmla="*/ 105 w 2199"/>
                  <a:gd name="T79" fmla="*/ 366 h 3523"/>
                  <a:gd name="T80" fmla="*/ 584 w 2199"/>
                  <a:gd name="T81" fmla="*/ 352 h 3523"/>
                  <a:gd name="T82" fmla="*/ 684 w 2199"/>
                  <a:gd name="T83" fmla="*/ 333 h 3523"/>
                  <a:gd name="T84" fmla="*/ 777 w 2199"/>
                  <a:gd name="T85" fmla="*/ 316 h 3523"/>
                  <a:gd name="T86" fmla="*/ 831 w 2199"/>
                  <a:gd name="T87" fmla="*/ 302 h 3523"/>
                  <a:gd name="T88" fmla="*/ 858 w 2199"/>
                  <a:gd name="T89" fmla="*/ 281 h 3523"/>
                  <a:gd name="T90" fmla="*/ 883 w 2199"/>
                  <a:gd name="T91" fmla="*/ 239 h 3523"/>
                  <a:gd name="T92" fmla="*/ 912 w 2199"/>
                  <a:gd name="T93" fmla="*/ 160 h 3523"/>
                  <a:gd name="T94" fmla="*/ 952 w 2199"/>
                  <a:gd name="T95" fmla="*/ 70 h 3523"/>
                  <a:gd name="T96" fmla="*/ 1005 w 2199"/>
                  <a:gd name="T97" fmla="*/ 23 h 3523"/>
                  <a:gd name="T98" fmla="*/ 1057 w 2199"/>
                  <a:gd name="T99" fmla="*/ 3 h 3523"/>
                  <a:gd name="T100" fmla="*/ 1094 w 2199"/>
                  <a:gd name="T101" fmla="*/ 0 h 3523"/>
                  <a:gd name="T102" fmla="*/ 1102 w 2199"/>
                  <a:gd name="T103" fmla="*/ 0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9" h="3523">
                    <a:moveTo>
                      <a:pt x="286" y="575"/>
                    </a:moveTo>
                    <a:lnTo>
                      <a:pt x="262" y="578"/>
                    </a:lnTo>
                    <a:lnTo>
                      <a:pt x="241" y="585"/>
                    </a:lnTo>
                    <a:lnTo>
                      <a:pt x="221" y="598"/>
                    </a:lnTo>
                    <a:lnTo>
                      <a:pt x="205" y="614"/>
                    </a:lnTo>
                    <a:lnTo>
                      <a:pt x="192" y="634"/>
                    </a:lnTo>
                    <a:lnTo>
                      <a:pt x="185" y="655"/>
                    </a:lnTo>
                    <a:lnTo>
                      <a:pt x="181" y="680"/>
                    </a:lnTo>
                    <a:lnTo>
                      <a:pt x="181" y="3266"/>
                    </a:lnTo>
                    <a:lnTo>
                      <a:pt x="185" y="3290"/>
                    </a:lnTo>
                    <a:lnTo>
                      <a:pt x="192" y="3311"/>
                    </a:lnTo>
                    <a:lnTo>
                      <a:pt x="205" y="3330"/>
                    </a:lnTo>
                    <a:lnTo>
                      <a:pt x="221" y="3347"/>
                    </a:lnTo>
                    <a:lnTo>
                      <a:pt x="241" y="3359"/>
                    </a:lnTo>
                    <a:lnTo>
                      <a:pt x="262" y="3367"/>
                    </a:lnTo>
                    <a:lnTo>
                      <a:pt x="286" y="3370"/>
                    </a:lnTo>
                    <a:lnTo>
                      <a:pt x="1922" y="3370"/>
                    </a:lnTo>
                    <a:lnTo>
                      <a:pt x="1945" y="3367"/>
                    </a:lnTo>
                    <a:lnTo>
                      <a:pt x="1968" y="3359"/>
                    </a:lnTo>
                    <a:lnTo>
                      <a:pt x="1987" y="3347"/>
                    </a:lnTo>
                    <a:lnTo>
                      <a:pt x="2004" y="3330"/>
                    </a:lnTo>
                    <a:lnTo>
                      <a:pt x="2015" y="3311"/>
                    </a:lnTo>
                    <a:lnTo>
                      <a:pt x="2024" y="3290"/>
                    </a:lnTo>
                    <a:lnTo>
                      <a:pt x="2026" y="3266"/>
                    </a:lnTo>
                    <a:lnTo>
                      <a:pt x="2026" y="680"/>
                    </a:lnTo>
                    <a:lnTo>
                      <a:pt x="2024" y="655"/>
                    </a:lnTo>
                    <a:lnTo>
                      <a:pt x="2015" y="634"/>
                    </a:lnTo>
                    <a:lnTo>
                      <a:pt x="2004" y="614"/>
                    </a:lnTo>
                    <a:lnTo>
                      <a:pt x="1987" y="598"/>
                    </a:lnTo>
                    <a:lnTo>
                      <a:pt x="1968" y="585"/>
                    </a:lnTo>
                    <a:lnTo>
                      <a:pt x="1945" y="578"/>
                    </a:lnTo>
                    <a:lnTo>
                      <a:pt x="1922" y="575"/>
                    </a:lnTo>
                    <a:lnTo>
                      <a:pt x="286" y="575"/>
                    </a:lnTo>
                    <a:close/>
                    <a:moveTo>
                      <a:pt x="1094" y="67"/>
                    </a:moveTo>
                    <a:lnTo>
                      <a:pt x="1074" y="70"/>
                    </a:lnTo>
                    <a:lnTo>
                      <a:pt x="1056" y="78"/>
                    </a:lnTo>
                    <a:lnTo>
                      <a:pt x="1042" y="92"/>
                    </a:lnTo>
                    <a:lnTo>
                      <a:pt x="1033" y="111"/>
                    </a:lnTo>
                    <a:lnTo>
                      <a:pt x="1029" y="131"/>
                    </a:lnTo>
                    <a:lnTo>
                      <a:pt x="1033" y="152"/>
                    </a:lnTo>
                    <a:lnTo>
                      <a:pt x="1042" y="169"/>
                    </a:lnTo>
                    <a:lnTo>
                      <a:pt x="1056" y="183"/>
                    </a:lnTo>
                    <a:lnTo>
                      <a:pt x="1074" y="193"/>
                    </a:lnTo>
                    <a:lnTo>
                      <a:pt x="1094" y="196"/>
                    </a:lnTo>
                    <a:lnTo>
                      <a:pt x="1116" y="193"/>
                    </a:lnTo>
                    <a:lnTo>
                      <a:pt x="1133" y="183"/>
                    </a:lnTo>
                    <a:lnTo>
                      <a:pt x="1147" y="169"/>
                    </a:lnTo>
                    <a:lnTo>
                      <a:pt x="1157" y="152"/>
                    </a:lnTo>
                    <a:lnTo>
                      <a:pt x="1160" y="131"/>
                    </a:lnTo>
                    <a:lnTo>
                      <a:pt x="1157" y="111"/>
                    </a:lnTo>
                    <a:lnTo>
                      <a:pt x="1147" y="92"/>
                    </a:lnTo>
                    <a:lnTo>
                      <a:pt x="1133" y="78"/>
                    </a:lnTo>
                    <a:lnTo>
                      <a:pt x="1116" y="70"/>
                    </a:lnTo>
                    <a:lnTo>
                      <a:pt x="1094" y="67"/>
                    </a:lnTo>
                    <a:close/>
                    <a:moveTo>
                      <a:pt x="1102" y="0"/>
                    </a:moveTo>
                    <a:lnTo>
                      <a:pt x="1111" y="0"/>
                    </a:lnTo>
                    <a:lnTo>
                      <a:pt x="1124" y="1"/>
                    </a:lnTo>
                    <a:lnTo>
                      <a:pt x="1139" y="3"/>
                    </a:lnTo>
                    <a:lnTo>
                      <a:pt x="1155" y="7"/>
                    </a:lnTo>
                    <a:lnTo>
                      <a:pt x="1173" y="14"/>
                    </a:lnTo>
                    <a:lnTo>
                      <a:pt x="1191" y="24"/>
                    </a:lnTo>
                    <a:lnTo>
                      <a:pt x="1209" y="35"/>
                    </a:lnTo>
                    <a:lnTo>
                      <a:pt x="1227" y="50"/>
                    </a:lnTo>
                    <a:lnTo>
                      <a:pt x="1243" y="70"/>
                    </a:lnTo>
                    <a:lnTo>
                      <a:pt x="1257" y="94"/>
                    </a:lnTo>
                    <a:lnTo>
                      <a:pt x="1269" y="123"/>
                    </a:lnTo>
                    <a:lnTo>
                      <a:pt x="1282" y="159"/>
                    </a:lnTo>
                    <a:lnTo>
                      <a:pt x="1293" y="190"/>
                    </a:lnTo>
                    <a:lnTo>
                      <a:pt x="1303" y="217"/>
                    </a:lnTo>
                    <a:lnTo>
                      <a:pt x="1312" y="238"/>
                    </a:lnTo>
                    <a:lnTo>
                      <a:pt x="1319" y="256"/>
                    </a:lnTo>
                    <a:lnTo>
                      <a:pt x="1328" y="269"/>
                    </a:lnTo>
                    <a:lnTo>
                      <a:pt x="1335" y="281"/>
                    </a:lnTo>
                    <a:lnTo>
                      <a:pt x="1344" y="289"/>
                    </a:lnTo>
                    <a:lnTo>
                      <a:pt x="1353" y="296"/>
                    </a:lnTo>
                    <a:lnTo>
                      <a:pt x="1362" y="302"/>
                    </a:lnTo>
                    <a:lnTo>
                      <a:pt x="1373" y="307"/>
                    </a:lnTo>
                    <a:lnTo>
                      <a:pt x="1389" y="311"/>
                    </a:lnTo>
                    <a:lnTo>
                      <a:pt x="1411" y="315"/>
                    </a:lnTo>
                    <a:lnTo>
                      <a:pt x="1436" y="320"/>
                    </a:lnTo>
                    <a:lnTo>
                      <a:pt x="1464" y="325"/>
                    </a:lnTo>
                    <a:lnTo>
                      <a:pt x="1494" y="330"/>
                    </a:lnTo>
                    <a:lnTo>
                      <a:pt x="1525" y="336"/>
                    </a:lnTo>
                    <a:lnTo>
                      <a:pt x="1556" y="341"/>
                    </a:lnTo>
                    <a:lnTo>
                      <a:pt x="1588" y="347"/>
                    </a:lnTo>
                    <a:lnTo>
                      <a:pt x="1616" y="353"/>
                    </a:lnTo>
                    <a:lnTo>
                      <a:pt x="1641" y="359"/>
                    </a:lnTo>
                    <a:lnTo>
                      <a:pt x="1664" y="366"/>
                    </a:lnTo>
                    <a:lnTo>
                      <a:pt x="2094" y="366"/>
                    </a:lnTo>
                    <a:lnTo>
                      <a:pt x="2118" y="368"/>
                    </a:lnTo>
                    <a:lnTo>
                      <a:pt x="2140" y="375"/>
                    </a:lnTo>
                    <a:lnTo>
                      <a:pt x="2160" y="388"/>
                    </a:lnTo>
                    <a:lnTo>
                      <a:pt x="2176" y="405"/>
                    </a:lnTo>
                    <a:lnTo>
                      <a:pt x="2189" y="424"/>
                    </a:lnTo>
                    <a:lnTo>
                      <a:pt x="2196" y="446"/>
                    </a:lnTo>
                    <a:lnTo>
                      <a:pt x="2199" y="470"/>
                    </a:lnTo>
                    <a:lnTo>
                      <a:pt x="2199" y="3419"/>
                    </a:lnTo>
                    <a:lnTo>
                      <a:pt x="2196" y="3442"/>
                    </a:lnTo>
                    <a:lnTo>
                      <a:pt x="2189" y="3465"/>
                    </a:lnTo>
                    <a:lnTo>
                      <a:pt x="2176" y="3484"/>
                    </a:lnTo>
                    <a:lnTo>
                      <a:pt x="2160" y="3500"/>
                    </a:lnTo>
                    <a:lnTo>
                      <a:pt x="2140" y="3512"/>
                    </a:lnTo>
                    <a:lnTo>
                      <a:pt x="2118" y="3521"/>
                    </a:lnTo>
                    <a:lnTo>
                      <a:pt x="2094" y="3523"/>
                    </a:lnTo>
                    <a:lnTo>
                      <a:pt x="105" y="3523"/>
                    </a:lnTo>
                    <a:lnTo>
                      <a:pt x="81" y="3521"/>
                    </a:lnTo>
                    <a:lnTo>
                      <a:pt x="59" y="3512"/>
                    </a:lnTo>
                    <a:lnTo>
                      <a:pt x="39" y="3500"/>
                    </a:lnTo>
                    <a:lnTo>
                      <a:pt x="23" y="3484"/>
                    </a:lnTo>
                    <a:lnTo>
                      <a:pt x="11" y="3465"/>
                    </a:lnTo>
                    <a:lnTo>
                      <a:pt x="3" y="3442"/>
                    </a:lnTo>
                    <a:lnTo>
                      <a:pt x="0" y="3419"/>
                    </a:lnTo>
                    <a:lnTo>
                      <a:pt x="0" y="470"/>
                    </a:lnTo>
                    <a:lnTo>
                      <a:pt x="3" y="446"/>
                    </a:lnTo>
                    <a:lnTo>
                      <a:pt x="11" y="424"/>
                    </a:lnTo>
                    <a:lnTo>
                      <a:pt x="23" y="405"/>
                    </a:lnTo>
                    <a:lnTo>
                      <a:pt x="39" y="388"/>
                    </a:lnTo>
                    <a:lnTo>
                      <a:pt x="59" y="375"/>
                    </a:lnTo>
                    <a:lnTo>
                      <a:pt x="81" y="368"/>
                    </a:lnTo>
                    <a:lnTo>
                      <a:pt x="105" y="366"/>
                    </a:lnTo>
                    <a:lnTo>
                      <a:pt x="532" y="366"/>
                    </a:lnTo>
                    <a:lnTo>
                      <a:pt x="555" y="358"/>
                    </a:lnTo>
                    <a:lnTo>
                      <a:pt x="584" y="352"/>
                    </a:lnTo>
                    <a:lnTo>
                      <a:pt x="616" y="345"/>
                    </a:lnTo>
                    <a:lnTo>
                      <a:pt x="650" y="340"/>
                    </a:lnTo>
                    <a:lnTo>
                      <a:pt x="684" y="333"/>
                    </a:lnTo>
                    <a:lnTo>
                      <a:pt x="717" y="327"/>
                    </a:lnTo>
                    <a:lnTo>
                      <a:pt x="749" y="322"/>
                    </a:lnTo>
                    <a:lnTo>
                      <a:pt x="777" y="316"/>
                    </a:lnTo>
                    <a:lnTo>
                      <a:pt x="801" y="312"/>
                    </a:lnTo>
                    <a:lnTo>
                      <a:pt x="819" y="307"/>
                    </a:lnTo>
                    <a:lnTo>
                      <a:pt x="831" y="302"/>
                    </a:lnTo>
                    <a:lnTo>
                      <a:pt x="841" y="297"/>
                    </a:lnTo>
                    <a:lnTo>
                      <a:pt x="851" y="289"/>
                    </a:lnTo>
                    <a:lnTo>
                      <a:pt x="858" y="281"/>
                    </a:lnTo>
                    <a:lnTo>
                      <a:pt x="867" y="270"/>
                    </a:lnTo>
                    <a:lnTo>
                      <a:pt x="874" y="256"/>
                    </a:lnTo>
                    <a:lnTo>
                      <a:pt x="883" y="239"/>
                    </a:lnTo>
                    <a:lnTo>
                      <a:pt x="891" y="217"/>
                    </a:lnTo>
                    <a:lnTo>
                      <a:pt x="901" y="191"/>
                    </a:lnTo>
                    <a:lnTo>
                      <a:pt x="912" y="160"/>
                    </a:lnTo>
                    <a:lnTo>
                      <a:pt x="925" y="123"/>
                    </a:lnTo>
                    <a:lnTo>
                      <a:pt x="937" y="94"/>
                    </a:lnTo>
                    <a:lnTo>
                      <a:pt x="952" y="70"/>
                    </a:lnTo>
                    <a:lnTo>
                      <a:pt x="968" y="50"/>
                    </a:lnTo>
                    <a:lnTo>
                      <a:pt x="986" y="34"/>
                    </a:lnTo>
                    <a:lnTo>
                      <a:pt x="1005" y="23"/>
                    </a:lnTo>
                    <a:lnTo>
                      <a:pt x="1023" y="14"/>
                    </a:lnTo>
                    <a:lnTo>
                      <a:pt x="1041" y="7"/>
                    </a:lnTo>
                    <a:lnTo>
                      <a:pt x="1057" y="3"/>
                    </a:lnTo>
                    <a:lnTo>
                      <a:pt x="1073" y="1"/>
                    </a:lnTo>
                    <a:lnTo>
                      <a:pt x="1084" y="0"/>
                    </a:lnTo>
                    <a:lnTo>
                      <a:pt x="1094" y="0"/>
                    </a:lnTo>
                    <a:lnTo>
                      <a:pt x="1094" y="0"/>
                    </a:lnTo>
                    <a:lnTo>
                      <a:pt x="1096" y="0"/>
                    </a:lnTo>
                    <a:lnTo>
                      <a:pt x="1102" y="0"/>
                    </a:lnTo>
                    <a:close/>
                  </a:path>
                </a:pathLst>
              </a:custGeom>
              <a:solidFill>
                <a:schemeClr val="tx1"/>
              </a:solidFill>
              <a:ln w="0">
                <a:solidFill>
                  <a:schemeClr val="tx1"/>
                </a:solidFill>
                <a:prstDash val="solid"/>
                <a:round/>
                <a:headEnd/>
                <a:tailEnd/>
              </a:ln>
            </p:spPr>
            <p:txBody>
              <a:bodyPr/>
              <a:lstStyle/>
              <a:p>
                <a:endParaRPr lang="de-DE" sz="800" b="0" dirty="0"/>
              </a:p>
            </p:txBody>
          </p:sp>
        </p:grpSp>
        <p:grpSp>
          <p:nvGrpSpPr>
            <p:cNvPr id="32" name="Gruppieren 31"/>
            <p:cNvGrpSpPr>
              <a:grpSpLocks noChangeAspect="1"/>
            </p:cNvGrpSpPr>
            <p:nvPr/>
          </p:nvGrpSpPr>
          <p:grpSpPr>
            <a:xfrm>
              <a:off x="3821779" y="6208306"/>
              <a:ext cx="180000" cy="228118"/>
              <a:chOff x="-696070" y="5354178"/>
              <a:chExt cx="288000" cy="364988"/>
            </a:xfrm>
          </p:grpSpPr>
          <p:sp>
            <p:nvSpPr>
              <p:cNvPr id="33"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p>
            </p:txBody>
          </p:sp>
          <p:grpSp>
            <p:nvGrpSpPr>
              <p:cNvPr id="34" name="Gruppieren 33"/>
              <p:cNvGrpSpPr>
                <a:grpSpLocks noChangeAspect="1"/>
              </p:cNvGrpSpPr>
              <p:nvPr/>
            </p:nvGrpSpPr>
            <p:grpSpPr>
              <a:xfrm>
                <a:off x="-649397" y="5481248"/>
                <a:ext cx="204387" cy="180000"/>
                <a:chOff x="-1305411" y="5962628"/>
                <a:chExt cx="947406" cy="834356"/>
              </a:xfrm>
              <a:solidFill>
                <a:srgbClr val="244894"/>
              </a:solidFill>
            </p:grpSpPr>
            <p:grpSp>
              <p:nvGrpSpPr>
                <p:cNvPr id="35" name="noun_project_01063.eps"/>
                <p:cNvGrpSpPr>
                  <a:grpSpLocks/>
                </p:cNvGrpSpPr>
                <p:nvPr/>
              </p:nvGrpSpPr>
              <p:grpSpPr bwMode="auto">
                <a:xfrm>
                  <a:off x="-1305411" y="5962628"/>
                  <a:ext cx="557212" cy="595313"/>
                  <a:chOff x="2223" y="3060"/>
                  <a:chExt cx="351" cy="375"/>
                </a:xfrm>
                <a:grpFill/>
              </p:grpSpPr>
              <p:sp>
                <p:nvSpPr>
                  <p:cNvPr id="39"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40"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41"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42"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grpSp>
            <p:grpSp>
              <p:nvGrpSpPr>
                <p:cNvPr id="36" name="noun_project_01064.eps"/>
                <p:cNvGrpSpPr>
                  <a:grpSpLocks/>
                </p:cNvGrpSpPr>
                <p:nvPr/>
              </p:nvGrpSpPr>
              <p:grpSpPr bwMode="auto">
                <a:xfrm>
                  <a:off x="-953318" y="6201671"/>
                  <a:ext cx="595313" cy="595313"/>
                  <a:chOff x="2734" y="3060"/>
                  <a:chExt cx="375" cy="375"/>
                </a:xfrm>
                <a:grpFill/>
              </p:grpSpPr>
              <p:sp>
                <p:nvSpPr>
                  <p:cNvPr id="37"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38"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grpSp>
          </p:grpSp>
        </p:grpSp>
      </p:grpSp>
      <p:cxnSp>
        <p:nvCxnSpPr>
          <p:cNvPr id="94" name="Gerade Verbindung mit Pfeil 93"/>
          <p:cNvCxnSpPr>
            <a:endCxn id="112" idx="1"/>
          </p:cNvCxnSpPr>
          <p:nvPr/>
        </p:nvCxnSpPr>
        <p:spPr bwMode="auto">
          <a:xfrm flipV="1">
            <a:off x="1282768" y="3822617"/>
            <a:ext cx="925502" cy="3704"/>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95" name="Flussdiagramm: Verbindungsstelle 170">
            <a:extLst>
              <a:ext uri="{FF2B5EF4-FFF2-40B4-BE49-F238E27FC236}">
                <a16:creationId xmlns:a16="http://schemas.microsoft.com/office/drawing/2014/main" id="{42F7326F-B6C5-416A-8CF2-685EC50B5EBD}"/>
              </a:ext>
            </a:extLst>
          </p:cNvPr>
          <p:cNvSpPr/>
          <p:nvPr/>
        </p:nvSpPr>
        <p:spPr bwMode="gray">
          <a:xfrm>
            <a:off x="8743573" y="3684886"/>
            <a:ext cx="277453" cy="277453"/>
          </a:xfrm>
          <a:prstGeom prst="flowChartConnector">
            <a:avLst/>
          </a:prstGeom>
          <a:solidFill>
            <a:schemeClr val="bg1">
              <a:lumMod val="95000"/>
              <a:alpha val="25000"/>
            </a:schemeClr>
          </a:solidFill>
          <a:ln w="38100"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noProof="1">
              <a:latin typeface="+mn-lt"/>
            </a:endParaRPr>
          </a:p>
        </p:txBody>
      </p:sp>
      <p:cxnSp>
        <p:nvCxnSpPr>
          <p:cNvPr id="96" name="Gerade Verbindung mit Pfeil 95"/>
          <p:cNvCxnSpPr>
            <a:stCxn id="109" idx="3"/>
            <a:endCxn id="95" idx="2"/>
          </p:cNvCxnSpPr>
          <p:nvPr/>
        </p:nvCxnSpPr>
        <p:spPr bwMode="auto">
          <a:xfrm flipV="1">
            <a:off x="8397356" y="3823613"/>
            <a:ext cx="346217" cy="5"/>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97" name="noun_project_01304.eps"/>
          <p:cNvSpPr>
            <a:spLocks noChangeAspect="1" noEditPoints="1"/>
          </p:cNvSpPr>
          <p:nvPr/>
        </p:nvSpPr>
        <p:spPr bwMode="auto">
          <a:xfrm>
            <a:off x="6530573" y="2974428"/>
            <a:ext cx="288000" cy="204600"/>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dirty="0"/>
          </a:p>
        </p:txBody>
      </p:sp>
      <p:sp>
        <p:nvSpPr>
          <p:cNvPr id="98" name="Rechteck 97"/>
          <p:cNvSpPr/>
          <p:nvPr/>
        </p:nvSpPr>
        <p:spPr bwMode="auto">
          <a:xfrm>
            <a:off x="6530573" y="3229212"/>
            <a:ext cx="936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r>
              <a:rPr lang="de-DE" sz="800" dirty="0"/>
              <a:t>E-Mail mit Link, Postfach</a:t>
            </a:r>
            <a:endParaRPr lang="de-DE" sz="800" dirty="0">
              <a:solidFill>
                <a:srgbClr val="244894"/>
              </a:solidFill>
            </a:endParaRPr>
          </a:p>
        </p:txBody>
      </p:sp>
      <p:cxnSp>
        <p:nvCxnSpPr>
          <p:cNvPr id="99" name="Gerade Verbindung mit Pfeil 98"/>
          <p:cNvCxnSpPr>
            <a:stCxn id="112" idx="3"/>
            <a:endCxn id="108" idx="0"/>
          </p:cNvCxnSpPr>
          <p:nvPr/>
        </p:nvCxnSpPr>
        <p:spPr bwMode="auto">
          <a:xfrm>
            <a:off x="3360270" y="3822617"/>
            <a:ext cx="2959242" cy="16755"/>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100" name="Gerade Verbindung mit Pfeil 99"/>
          <p:cNvCxnSpPr>
            <a:stCxn id="106" idx="0"/>
            <a:endCxn id="109" idx="1"/>
          </p:cNvCxnSpPr>
          <p:nvPr/>
        </p:nvCxnSpPr>
        <p:spPr bwMode="auto">
          <a:xfrm flipV="1">
            <a:off x="6600312" y="3823618"/>
            <a:ext cx="645044" cy="4037"/>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102" name="Abgerundetes Rechteck 101"/>
          <p:cNvSpPr/>
          <p:nvPr/>
        </p:nvSpPr>
        <p:spPr bwMode="auto">
          <a:xfrm>
            <a:off x="8531979" y="3019863"/>
            <a:ext cx="738747" cy="468000"/>
          </a:xfrm>
          <a:prstGeom prst="roundRect">
            <a:avLst>
              <a:gd name="adj" fmla="val 10162"/>
            </a:avLst>
          </a:prstGeom>
          <a:solidFill>
            <a:schemeClr val="accent5">
              <a:lumMod val="40000"/>
              <a:lumOff val="60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dirty="0"/>
              <a:t>Anordnung</a:t>
            </a:r>
          </a:p>
          <a:p>
            <a:pPr algn="ctr"/>
            <a:r>
              <a:rPr lang="de-DE" sz="800" dirty="0"/>
              <a:t>Auszahlung</a:t>
            </a:r>
          </a:p>
        </p:txBody>
      </p:sp>
      <p:sp>
        <p:nvSpPr>
          <p:cNvPr id="103" name="Abgerundetes Rechteck 102"/>
          <p:cNvSpPr/>
          <p:nvPr/>
        </p:nvSpPr>
        <p:spPr bwMode="auto">
          <a:xfrm>
            <a:off x="8531979" y="4164779"/>
            <a:ext cx="738747" cy="468000"/>
          </a:xfrm>
          <a:prstGeom prst="roundRect">
            <a:avLst>
              <a:gd name="adj" fmla="val 10162"/>
            </a:avLst>
          </a:prstGeom>
          <a:solidFill>
            <a:schemeClr val="accent5">
              <a:lumMod val="40000"/>
              <a:lumOff val="60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dirty="0"/>
              <a:t>Anordnung Rückforderung</a:t>
            </a:r>
          </a:p>
        </p:txBody>
      </p:sp>
      <p:grpSp>
        <p:nvGrpSpPr>
          <p:cNvPr id="104" name="Group 77">
            <a:extLst>
              <a:ext uri="{FF2B5EF4-FFF2-40B4-BE49-F238E27FC236}">
                <a16:creationId xmlns:a16="http://schemas.microsoft.com/office/drawing/2014/main" id="{E34C3B8D-C15F-47B1-ABBD-5103E4E74966}"/>
              </a:ext>
            </a:extLst>
          </p:cNvPr>
          <p:cNvGrpSpPr/>
          <p:nvPr/>
        </p:nvGrpSpPr>
        <p:grpSpPr>
          <a:xfrm>
            <a:off x="6319512" y="3693113"/>
            <a:ext cx="280800" cy="280801"/>
            <a:chOff x="5222573" y="3897692"/>
            <a:chExt cx="280800" cy="280801"/>
          </a:xfrm>
          <a:solidFill>
            <a:schemeClr val="accent1"/>
          </a:solidFill>
        </p:grpSpPr>
        <p:sp>
          <p:nvSpPr>
            <p:cNvPr id="105" name="Freeform 14">
              <a:extLst>
                <a:ext uri="{FF2B5EF4-FFF2-40B4-BE49-F238E27FC236}">
                  <a16:creationId xmlns:a16="http://schemas.microsoft.com/office/drawing/2014/main" id="{6402B904-7C87-46EC-9D84-7EEAD475FB90}"/>
                </a:ext>
              </a:extLst>
            </p:cNvPr>
            <p:cNvSpPr>
              <a:spLocks/>
            </p:cNvSpPr>
            <p:nvPr/>
          </p:nvSpPr>
          <p:spPr bwMode="auto">
            <a:xfrm>
              <a:off x="5222573" y="3897692"/>
              <a:ext cx="134703" cy="134542"/>
            </a:xfrm>
            <a:custGeom>
              <a:avLst/>
              <a:gdLst>
                <a:gd name="T0" fmla="*/ 837 w 837"/>
                <a:gd name="T1" fmla="*/ 0 h 836"/>
                <a:gd name="T2" fmla="*/ 787 w 837"/>
                <a:gd name="T3" fmla="*/ 2 h 836"/>
                <a:gd name="T4" fmla="*/ 789 w 837"/>
                <a:gd name="T5" fmla="*/ 2 h 836"/>
                <a:gd name="T6" fmla="*/ 700 w 837"/>
                <a:gd name="T7" fmla="*/ 16 h 836"/>
                <a:gd name="T8" fmla="*/ 702 w 837"/>
                <a:gd name="T9" fmla="*/ 14 h 836"/>
                <a:gd name="T10" fmla="*/ 615 w 837"/>
                <a:gd name="T11" fmla="*/ 38 h 836"/>
                <a:gd name="T12" fmla="*/ 617 w 837"/>
                <a:gd name="T13" fmla="*/ 38 h 836"/>
                <a:gd name="T14" fmla="*/ 534 w 837"/>
                <a:gd name="T15" fmla="*/ 66 h 836"/>
                <a:gd name="T16" fmla="*/ 537 w 837"/>
                <a:gd name="T17" fmla="*/ 66 h 836"/>
                <a:gd name="T18" fmla="*/ 461 w 837"/>
                <a:gd name="T19" fmla="*/ 104 h 836"/>
                <a:gd name="T20" fmla="*/ 388 w 837"/>
                <a:gd name="T21" fmla="*/ 146 h 836"/>
                <a:gd name="T22" fmla="*/ 317 w 837"/>
                <a:gd name="T23" fmla="*/ 198 h 836"/>
                <a:gd name="T24" fmla="*/ 319 w 837"/>
                <a:gd name="T25" fmla="*/ 196 h 836"/>
                <a:gd name="T26" fmla="*/ 255 w 837"/>
                <a:gd name="T27" fmla="*/ 255 h 836"/>
                <a:gd name="T28" fmla="*/ 258 w 837"/>
                <a:gd name="T29" fmla="*/ 252 h 836"/>
                <a:gd name="T30" fmla="*/ 199 w 837"/>
                <a:gd name="T31" fmla="*/ 316 h 836"/>
                <a:gd name="T32" fmla="*/ 147 w 837"/>
                <a:gd name="T33" fmla="*/ 385 h 836"/>
                <a:gd name="T34" fmla="*/ 149 w 837"/>
                <a:gd name="T35" fmla="*/ 382 h 836"/>
                <a:gd name="T36" fmla="*/ 104 w 837"/>
                <a:gd name="T37" fmla="*/ 458 h 836"/>
                <a:gd name="T38" fmla="*/ 67 w 837"/>
                <a:gd name="T39" fmla="*/ 534 h 836"/>
                <a:gd name="T40" fmla="*/ 69 w 837"/>
                <a:gd name="T41" fmla="*/ 531 h 836"/>
                <a:gd name="T42" fmla="*/ 38 w 837"/>
                <a:gd name="T43" fmla="*/ 616 h 836"/>
                <a:gd name="T44" fmla="*/ 38 w 837"/>
                <a:gd name="T45" fmla="*/ 612 h 836"/>
                <a:gd name="T46" fmla="*/ 15 w 837"/>
                <a:gd name="T47" fmla="*/ 699 h 836"/>
                <a:gd name="T48" fmla="*/ 17 w 837"/>
                <a:gd name="T49" fmla="*/ 697 h 836"/>
                <a:gd name="T50" fmla="*/ 3 w 837"/>
                <a:gd name="T51" fmla="*/ 786 h 836"/>
                <a:gd name="T52" fmla="*/ 3 w 837"/>
                <a:gd name="T53" fmla="*/ 784 h 836"/>
                <a:gd name="T54" fmla="*/ 0 w 837"/>
                <a:gd name="T55" fmla="*/ 836 h 836"/>
                <a:gd name="T56" fmla="*/ 837 w 837"/>
                <a:gd name="T57" fmla="*/ 836 h 836"/>
                <a:gd name="T58" fmla="*/ 837 w 837"/>
                <a:gd name="T59" fmla="*/ 0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7" h="836">
                  <a:moveTo>
                    <a:pt x="837" y="0"/>
                  </a:moveTo>
                  <a:lnTo>
                    <a:pt x="787" y="2"/>
                  </a:lnTo>
                  <a:lnTo>
                    <a:pt x="789" y="2"/>
                  </a:lnTo>
                  <a:lnTo>
                    <a:pt x="700" y="16"/>
                  </a:lnTo>
                  <a:lnTo>
                    <a:pt x="702" y="14"/>
                  </a:lnTo>
                  <a:lnTo>
                    <a:pt x="615" y="38"/>
                  </a:lnTo>
                  <a:lnTo>
                    <a:pt x="617" y="38"/>
                  </a:lnTo>
                  <a:lnTo>
                    <a:pt x="534" y="66"/>
                  </a:lnTo>
                  <a:lnTo>
                    <a:pt x="537" y="66"/>
                  </a:lnTo>
                  <a:lnTo>
                    <a:pt x="461" y="104"/>
                  </a:lnTo>
                  <a:lnTo>
                    <a:pt x="388" y="146"/>
                  </a:lnTo>
                  <a:lnTo>
                    <a:pt x="317" y="198"/>
                  </a:lnTo>
                  <a:lnTo>
                    <a:pt x="319" y="196"/>
                  </a:lnTo>
                  <a:lnTo>
                    <a:pt x="255" y="255"/>
                  </a:lnTo>
                  <a:lnTo>
                    <a:pt x="258" y="252"/>
                  </a:lnTo>
                  <a:lnTo>
                    <a:pt x="199" y="316"/>
                  </a:lnTo>
                  <a:lnTo>
                    <a:pt x="147" y="385"/>
                  </a:lnTo>
                  <a:lnTo>
                    <a:pt x="149" y="382"/>
                  </a:lnTo>
                  <a:lnTo>
                    <a:pt x="104" y="458"/>
                  </a:lnTo>
                  <a:lnTo>
                    <a:pt x="67" y="534"/>
                  </a:lnTo>
                  <a:lnTo>
                    <a:pt x="69" y="531"/>
                  </a:lnTo>
                  <a:lnTo>
                    <a:pt x="38" y="616"/>
                  </a:lnTo>
                  <a:lnTo>
                    <a:pt x="38" y="612"/>
                  </a:lnTo>
                  <a:lnTo>
                    <a:pt x="15" y="699"/>
                  </a:lnTo>
                  <a:lnTo>
                    <a:pt x="17" y="697"/>
                  </a:lnTo>
                  <a:lnTo>
                    <a:pt x="3" y="786"/>
                  </a:lnTo>
                  <a:lnTo>
                    <a:pt x="3" y="784"/>
                  </a:lnTo>
                  <a:lnTo>
                    <a:pt x="0" y="836"/>
                  </a:lnTo>
                  <a:lnTo>
                    <a:pt x="837" y="836"/>
                  </a:lnTo>
                  <a:lnTo>
                    <a:pt x="837" y="0"/>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endParaRPr lang="de-DE" sz="800" b="0" dirty="0">
                <a:latin typeface="+mn-lt"/>
              </a:endParaRPr>
            </a:p>
          </p:txBody>
        </p:sp>
        <p:sp>
          <p:nvSpPr>
            <p:cNvPr id="106" name="Freeform 15">
              <a:extLst>
                <a:ext uri="{FF2B5EF4-FFF2-40B4-BE49-F238E27FC236}">
                  <a16:creationId xmlns:a16="http://schemas.microsoft.com/office/drawing/2014/main" id="{FF288210-8105-465E-9400-1D70B6FD16D0}"/>
                </a:ext>
              </a:extLst>
            </p:cNvPr>
            <p:cNvSpPr>
              <a:spLocks/>
            </p:cNvSpPr>
            <p:nvPr/>
          </p:nvSpPr>
          <p:spPr bwMode="auto">
            <a:xfrm>
              <a:off x="5368510" y="3897692"/>
              <a:ext cx="134863" cy="134542"/>
            </a:xfrm>
            <a:custGeom>
              <a:avLst/>
              <a:gdLst>
                <a:gd name="T0" fmla="*/ 838 w 838"/>
                <a:gd name="T1" fmla="*/ 836 h 836"/>
                <a:gd name="T2" fmla="*/ 836 w 838"/>
                <a:gd name="T3" fmla="*/ 786 h 836"/>
                <a:gd name="T4" fmla="*/ 836 w 838"/>
                <a:gd name="T5" fmla="*/ 791 h 836"/>
                <a:gd name="T6" fmla="*/ 822 w 838"/>
                <a:gd name="T7" fmla="*/ 699 h 836"/>
                <a:gd name="T8" fmla="*/ 822 w 838"/>
                <a:gd name="T9" fmla="*/ 701 h 836"/>
                <a:gd name="T10" fmla="*/ 801 w 838"/>
                <a:gd name="T11" fmla="*/ 614 h 836"/>
                <a:gd name="T12" fmla="*/ 801 w 838"/>
                <a:gd name="T13" fmla="*/ 619 h 836"/>
                <a:gd name="T14" fmla="*/ 770 w 838"/>
                <a:gd name="T15" fmla="*/ 534 h 836"/>
                <a:gd name="T16" fmla="*/ 772 w 838"/>
                <a:gd name="T17" fmla="*/ 536 h 836"/>
                <a:gd name="T18" fmla="*/ 734 w 838"/>
                <a:gd name="T19" fmla="*/ 460 h 836"/>
                <a:gd name="T20" fmla="*/ 690 w 838"/>
                <a:gd name="T21" fmla="*/ 387 h 836"/>
                <a:gd name="T22" fmla="*/ 638 w 838"/>
                <a:gd name="T23" fmla="*/ 316 h 836"/>
                <a:gd name="T24" fmla="*/ 640 w 838"/>
                <a:gd name="T25" fmla="*/ 319 h 836"/>
                <a:gd name="T26" fmla="*/ 581 w 838"/>
                <a:gd name="T27" fmla="*/ 255 h 836"/>
                <a:gd name="T28" fmla="*/ 583 w 838"/>
                <a:gd name="T29" fmla="*/ 257 h 836"/>
                <a:gd name="T30" fmla="*/ 519 w 838"/>
                <a:gd name="T31" fmla="*/ 198 h 836"/>
                <a:gd name="T32" fmla="*/ 451 w 838"/>
                <a:gd name="T33" fmla="*/ 149 h 836"/>
                <a:gd name="T34" fmla="*/ 453 w 838"/>
                <a:gd name="T35" fmla="*/ 149 h 836"/>
                <a:gd name="T36" fmla="*/ 380 w 838"/>
                <a:gd name="T37" fmla="*/ 104 h 836"/>
                <a:gd name="T38" fmla="*/ 302 w 838"/>
                <a:gd name="T39" fmla="*/ 66 h 836"/>
                <a:gd name="T40" fmla="*/ 305 w 838"/>
                <a:gd name="T41" fmla="*/ 68 h 836"/>
                <a:gd name="T42" fmla="*/ 222 w 838"/>
                <a:gd name="T43" fmla="*/ 38 h 836"/>
                <a:gd name="T44" fmla="*/ 224 w 838"/>
                <a:gd name="T45" fmla="*/ 38 h 836"/>
                <a:gd name="T46" fmla="*/ 139 w 838"/>
                <a:gd name="T47" fmla="*/ 16 h 836"/>
                <a:gd name="T48" fmla="*/ 142 w 838"/>
                <a:gd name="T49" fmla="*/ 16 h 836"/>
                <a:gd name="T50" fmla="*/ 52 w 838"/>
                <a:gd name="T51" fmla="*/ 2 h 836"/>
                <a:gd name="T52" fmla="*/ 54 w 838"/>
                <a:gd name="T53" fmla="*/ 2 h 836"/>
                <a:gd name="T54" fmla="*/ 0 w 838"/>
                <a:gd name="T55" fmla="*/ 0 h 836"/>
                <a:gd name="T56" fmla="*/ 0 w 838"/>
                <a:gd name="T57" fmla="*/ 836 h 836"/>
                <a:gd name="T58" fmla="*/ 838 w 838"/>
                <a:gd name="T59"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8" h="836">
                  <a:moveTo>
                    <a:pt x="838" y="836"/>
                  </a:moveTo>
                  <a:lnTo>
                    <a:pt x="836" y="786"/>
                  </a:lnTo>
                  <a:lnTo>
                    <a:pt x="836" y="791"/>
                  </a:lnTo>
                  <a:lnTo>
                    <a:pt x="822" y="699"/>
                  </a:lnTo>
                  <a:lnTo>
                    <a:pt x="822" y="701"/>
                  </a:lnTo>
                  <a:lnTo>
                    <a:pt x="801" y="614"/>
                  </a:lnTo>
                  <a:lnTo>
                    <a:pt x="801" y="619"/>
                  </a:lnTo>
                  <a:lnTo>
                    <a:pt x="770" y="534"/>
                  </a:lnTo>
                  <a:lnTo>
                    <a:pt x="772" y="536"/>
                  </a:lnTo>
                  <a:lnTo>
                    <a:pt x="734" y="460"/>
                  </a:lnTo>
                  <a:lnTo>
                    <a:pt x="690" y="387"/>
                  </a:lnTo>
                  <a:lnTo>
                    <a:pt x="638" y="316"/>
                  </a:lnTo>
                  <a:lnTo>
                    <a:pt x="640" y="319"/>
                  </a:lnTo>
                  <a:lnTo>
                    <a:pt x="581" y="255"/>
                  </a:lnTo>
                  <a:lnTo>
                    <a:pt x="583" y="257"/>
                  </a:lnTo>
                  <a:lnTo>
                    <a:pt x="519" y="198"/>
                  </a:lnTo>
                  <a:lnTo>
                    <a:pt x="451" y="149"/>
                  </a:lnTo>
                  <a:lnTo>
                    <a:pt x="453" y="149"/>
                  </a:lnTo>
                  <a:lnTo>
                    <a:pt x="380" y="104"/>
                  </a:lnTo>
                  <a:lnTo>
                    <a:pt x="302" y="66"/>
                  </a:lnTo>
                  <a:lnTo>
                    <a:pt x="305" y="68"/>
                  </a:lnTo>
                  <a:lnTo>
                    <a:pt x="222" y="38"/>
                  </a:lnTo>
                  <a:lnTo>
                    <a:pt x="224" y="38"/>
                  </a:lnTo>
                  <a:lnTo>
                    <a:pt x="139" y="16"/>
                  </a:lnTo>
                  <a:lnTo>
                    <a:pt x="142" y="16"/>
                  </a:lnTo>
                  <a:lnTo>
                    <a:pt x="52" y="2"/>
                  </a:lnTo>
                  <a:lnTo>
                    <a:pt x="54" y="2"/>
                  </a:lnTo>
                  <a:lnTo>
                    <a:pt x="0" y="0"/>
                  </a:lnTo>
                  <a:lnTo>
                    <a:pt x="0" y="836"/>
                  </a:lnTo>
                  <a:lnTo>
                    <a:pt x="838" y="836"/>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endParaRPr lang="de-DE" sz="800" b="0" dirty="0">
                <a:latin typeface="+mn-lt"/>
              </a:endParaRPr>
            </a:p>
          </p:txBody>
        </p:sp>
        <p:sp>
          <p:nvSpPr>
            <p:cNvPr id="107" name="Freeform 16">
              <a:extLst>
                <a:ext uri="{FF2B5EF4-FFF2-40B4-BE49-F238E27FC236}">
                  <a16:creationId xmlns:a16="http://schemas.microsoft.com/office/drawing/2014/main" id="{6B3B1AD3-F4C8-42E5-AD64-28FB1D836A6B}"/>
                </a:ext>
              </a:extLst>
            </p:cNvPr>
            <p:cNvSpPr>
              <a:spLocks/>
            </p:cNvSpPr>
            <p:nvPr/>
          </p:nvSpPr>
          <p:spPr bwMode="auto">
            <a:xfrm>
              <a:off x="5368831" y="4043951"/>
              <a:ext cx="134542" cy="134542"/>
            </a:xfrm>
            <a:custGeom>
              <a:avLst/>
              <a:gdLst>
                <a:gd name="T0" fmla="*/ 0 w 836"/>
                <a:gd name="T1" fmla="*/ 836 h 836"/>
                <a:gd name="T2" fmla="*/ 47 w 836"/>
                <a:gd name="T3" fmla="*/ 833 h 836"/>
                <a:gd name="T4" fmla="*/ 45 w 836"/>
                <a:gd name="T5" fmla="*/ 833 h 836"/>
                <a:gd name="T6" fmla="*/ 137 w 836"/>
                <a:gd name="T7" fmla="*/ 819 h 836"/>
                <a:gd name="T8" fmla="*/ 132 w 836"/>
                <a:gd name="T9" fmla="*/ 822 h 836"/>
                <a:gd name="T10" fmla="*/ 220 w 836"/>
                <a:gd name="T11" fmla="*/ 798 h 836"/>
                <a:gd name="T12" fmla="*/ 217 w 836"/>
                <a:gd name="T13" fmla="*/ 800 h 836"/>
                <a:gd name="T14" fmla="*/ 303 w 836"/>
                <a:gd name="T15" fmla="*/ 770 h 836"/>
                <a:gd name="T16" fmla="*/ 298 w 836"/>
                <a:gd name="T17" fmla="*/ 770 h 836"/>
                <a:gd name="T18" fmla="*/ 376 w 836"/>
                <a:gd name="T19" fmla="*/ 734 h 836"/>
                <a:gd name="T20" fmla="*/ 449 w 836"/>
                <a:gd name="T21" fmla="*/ 689 h 836"/>
                <a:gd name="T22" fmla="*/ 517 w 836"/>
                <a:gd name="T23" fmla="*/ 637 h 836"/>
                <a:gd name="T24" fmla="*/ 515 w 836"/>
                <a:gd name="T25" fmla="*/ 640 h 836"/>
                <a:gd name="T26" fmla="*/ 581 w 836"/>
                <a:gd name="T27" fmla="*/ 581 h 836"/>
                <a:gd name="T28" fmla="*/ 579 w 836"/>
                <a:gd name="T29" fmla="*/ 583 h 836"/>
                <a:gd name="T30" fmla="*/ 636 w 836"/>
                <a:gd name="T31" fmla="*/ 519 h 836"/>
                <a:gd name="T32" fmla="*/ 688 w 836"/>
                <a:gd name="T33" fmla="*/ 451 h 836"/>
                <a:gd name="T34" fmla="*/ 688 w 836"/>
                <a:gd name="T35" fmla="*/ 453 h 836"/>
                <a:gd name="T36" fmla="*/ 732 w 836"/>
                <a:gd name="T37" fmla="*/ 377 h 836"/>
                <a:gd name="T38" fmla="*/ 770 w 836"/>
                <a:gd name="T39" fmla="*/ 302 h 836"/>
                <a:gd name="T40" fmla="*/ 768 w 836"/>
                <a:gd name="T41" fmla="*/ 304 h 836"/>
                <a:gd name="T42" fmla="*/ 799 w 836"/>
                <a:gd name="T43" fmla="*/ 219 h 836"/>
                <a:gd name="T44" fmla="*/ 799 w 836"/>
                <a:gd name="T45" fmla="*/ 224 h 836"/>
                <a:gd name="T46" fmla="*/ 820 w 836"/>
                <a:gd name="T47" fmla="*/ 137 h 836"/>
                <a:gd name="T48" fmla="*/ 820 w 836"/>
                <a:gd name="T49" fmla="*/ 139 h 836"/>
                <a:gd name="T50" fmla="*/ 834 w 836"/>
                <a:gd name="T51" fmla="*/ 49 h 836"/>
                <a:gd name="T52" fmla="*/ 834 w 836"/>
                <a:gd name="T53" fmla="*/ 51 h 836"/>
                <a:gd name="T54" fmla="*/ 836 w 836"/>
                <a:gd name="T55" fmla="*/ 0 h 836"/>
                <a:gd name="T56" fmla="*/ 0 w 836"/>
                <a:gd name="T57" fmla="*/ 0 h 836"/>
                <a:gd name="T58" fmla="*/ 0 w 836"/>
                <a:gd name="T59" fmla="*/ 83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6" h="836">
                  <a:moveTo>
                    <a:pt x="0" y="836"/>
                  </a:moveTo>
                  <a:lnTo>
                    <a:pt x="47" y="833"/>
                  </a:lnTo>
                  <a:lnTo>
                    <a:pt x="45" y="833"/>
                  </a:lnTo>
                  <a:lnTo>
                    <a:pt x="137" y="819"/>
                  </a:lnTo>
                  <a:lnTo>
                    <a:pt x="132" y="822"/>
                  </a:lnTo>
                  <a:lnTo>
                    <a:pt x="220" y="798"/>
                  </a:lnTo>
                  <a:lnTo>
                    <a:pt x="217" y="800"/>
                  </a:lnTo>
                  <a:lnTo>
                    <a:pt x="303" y="770"/>
                  </a:lnTo>
                  <a:lnTo>
                    <a:pt x="298" y="770"/>
                  </a:lnTo>
                  <a:lnTo>
                    <a:pt x="376" y="734"/>
                  </a:lnTo>
                  <a:lnTo>
                    <a:pt x="449" y="689"/>
                  </a:lnTo>
                  <a:lnTo>
                    <a:pt x="517" y="637"/>
                  </a:lnTo>
                  <a:lnTo>
                    <a:pt x="515" y="640"/>
                  </a:lnTo>
                  <a:lnTo>
                    <a:pt x="581" y="581"/>
                  </a:lnTo>
                  <a:lnTo>
                    <a:pt x="579" y="583"/>
                  </a:lnTo>
                  <a:lnTo>
                    <a:pt x="636" y="519"/>
                  </a:lnTo>
                  <a:lnTo>
                    <a:pt x="688" y="451"/>
                  </a:lnTo>
                  <a:lnTo>
                    <a:pt x="688" y="453"/>
                  </a:lnTo>
                  <a:lnTo>
                    <a:pt x="732" y="377"/>
                  </a:lnTo>
                  <a:lnTo>
                    <a:pt x="770" y="302"/>
                  </a:lnTo>
                  <a:lnTo>
                    <a:pt x="768" y="304"/>
                  </a:lnTo>
                  <a:lnTo>
                    <a:pt x="799" y="219"/>
                  </a:lnTo>
                  <a:lnTo>
                    <a:pt x="799" y="224"/>
                  </a:lnTo>
                  <a:lnTo>
                    <a:pt x="820" y="137"/>
                  </a:lnTo>
                  <a:lnTo>
                    <a:pt x="820" y="139"/>
                  </a:lnTo>
                  <a:lnTo>
                    <a:pt x="834" y="49"/>
                  </a:lnTo>
                  <a:lnTo>
                    <a:pt x="834" y="51"/>
                  </a:lnTo>
                  <a:lnTo>
                    <a:pt x="836" y="0"/>
                  </a:lnTo>
                  <a:lnTo>
                    <a:pt x="0" y="0"/>
                  </a:lnTo>
                  <a:lnTo>
                    <a:pt x="0" y="836"/>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endParaRPr lang="de-DE" sz="800" b="0" dirty="0">
                <a:latin typeface="+mn-lt"/>
              </a:endParaRPr>
            </a:p>
          </p:txBody>
        </p:sp>
        <p:sp>
          <p:nvSpPr>
            <p:cNvPr id="108" name="Freeform 17">
              <a:extLst>
                <a:ext uri="{FF2B5EF4-FFF2-40B4-BE49-F238E27FC236}">
                  <a16:creationId xmlns:a16="http://schemas.microsoft.com/office/drawing/2014/main" id="{F6AA302D-2BB5-4077-9B67-594B9182B216}"/>
                </a:ext>
              </a:extLst>
            </p:cNvPr>
            <p:cNvSpPr>
              <a:spLocks/>
            </p:cNvSpPr>
            <p:nvPr/>
          </p:nvSpPr>
          <p:spPr bwMode="auto">
            <a:xfrm>
              <a:off x="5222573" y="4043951"/>
              <a:ext cx="134703" cy="134542"/>
            </a:xfrm>
            <a:custGeom>
              <a:avLst/>
              <a:gdLst>
                <a:gd name="T0" fmla="*/ 0 w 837"/>
                <a:gd name="T1" fmla="*/ 0 h 836"/>
                <a:gd name="T2" fmla="*/ 3 w 837"/>
                <a:gd name="T3" fmla="*/ 49 h 836"/>
                <a:gd name="T4" fmla="*/ 3 w 837"/>
                <a:gd name="T5" fmla="*/ 47 h 836"/>
                <a:gd name="T6" fmla="*/ 17 w 837"/>
                <a:gd name="T7" fmla="*/ 137 h 836"/>
                <a:gd name="T8" fmla="*/ 15 w 837"/>
                <a:gd name="T9" fmla="*/ 134 h 836"/>
                <a:gd name="T10" fmla="*/ 38 w 837"/>
                <a:gd name="T11" fmla="*/ 222 h 836"/>
                <a:gd name="T12" fmla="*/ 38 w 837"/>
                <a:gd name="T13" fmla="*/ 217 h 836"/>
                <a:gd name="T14" fmla="*/ 67 w 837"/>
                <a:gd name="T15" fmla="*/ 302 h 836"/>
                <a:gd name="T16" fmla="*/ 67 w 837"/>
                <a:gd name="T17" fmla="*/ 299 h 836"/>
                <a:gd name="T18" fmla="*/ 104 w 837"/>
                <a:gd name="T19" fmla="*/ 375 h 836"/>
                <a:gd name="T20" fmla="*/ 147 w 837"/>
                <a:gd name="T21" fmla="*/ 448 h 836"/>
                <a:gd name="T22" fmla="*/ 199 w 837"/>
                <a:gd name="T23" fmla="*/ 519 h 836"/>
                <a:gd name="T24" fmla="*/ 196 w 837"/>
                <a:gd name="T25" fmla="*/ 517 h 836"/>
                <a:gd name="T26" fmla="*/ 255 w 837"/>
                <a:gd name="T27" fmla="*/ 581 h 836"/>
                <a:gd name="T28" fmla="*/ 253 w 837"/>
                <a:gd name="T29" fmla="*/ 578 h 836"/>
                <a:gd name="T30" fmla="*/ 317 w 837"/>
                <a:gd name="T31" fmla="*/ 637 h 836"/>
                <a:gd name="T32" fmla="*/ 385 w 837"/>
                <a:gd name="T33" fmla="*/ 689 h 836"/>
                <a:gd name="T34" fmla="*/ 383 w 837"/>
                <a:gd name="T35" fmla="*/ 687 h 836"/>
                <a:gd name="T36" fmla="*/ 459 w 837"/>
                <a:gd name="T37" fmla="*/ 732 h 836"/>
                <a:gd name="T38" fmla="*/ 534 w 837"/>
                <a:gd name="T39" fmla="*/ 770 h 836"/>
                <a:gd name="T40" fmla="*/ 532 w 837"/>
                <a:gd name="T41" fmla="*/ 767 h 836"/>
                <a:gd name="T42" fmla="*/ 617 w 837"/>
                <a:gd name="T43" fmla="*/ 798 h 836"/>
                <a:gd name="T44" fmla="*/ 612 w 837"/>
                <a:gd name="T45" fmla="*/ 798 h 836"/>
                <a:gd name="T46" fmla="*/ 700 w 837"/>
                <a:gd name="T47" fmla="*/ 819 h 836"/>
                <a:gd name="T48" fmla="*/ 697 w 837"/>
                <a:gd name="T49" fmla="*/ 819 h 836"/>
                <a:gd name="T50" fmla="*/ 787 w 837"/>
                <a:gd name="T51" fmla="*/ 833 h 836"/>
                <a:gd name="T52" fmla="*/ 785 w 837"/>
                <a:gd name="T53" fmla="*/ 833 h 836"/>
                <a:gd name="T54" fmla="*/ 837 w 837"/>
                <a:gd name="T55" fmla="*/ 836 h 836"/>
                <a:gd name="T56" fmla="*/ 837 w 837"/>
                <a:gd name="T57" fmla="*/ 0 h 836"/>
                <a:gd name="T58" fmla="*/ 0 w 837"/>
                <a:gd name="T59" fmla="*/ 0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7" h="836">
                  <a:moveTo>
                    <a:pt x="0" y="0"/>
                  </a:moveTo>
                  <a:lnTo>
                    <a:pt x="3" y="49"/>
                  </a:lnTo>
                  <a:lnTo>
                    <a:pt x="3" y="47"/>
                  </a:lnTo>
                  <a:lnTo>
                    <a:pt x="17" y="137"/>
                  </a:lnTo>
                  <a:lnTo>
                    <a:pt x="15" y="134"/>
                  </a:lnTo>
                  <a:lnTo>
                    <a:pt x="38" y="222"/>
                  </a:lnTo>
                  <a:lnTo>
                    <a:pt x="38" y="217"/>
                  </a:lnTo>
                  <a:lnTo>
                    <a:pt x="67" y="302"/>
                  </a:lnTo>
                  <a:lnTo>
                    <a:pt x="67" y="299"/>
                  </a:lnTo>
                  <a:lnTo>
                    <a:pt x="104" y="375"/>
                  </a:lnTo>
                  <a:lnTo>
                    <a:pt x="147" y="448"/>
                  </a:lnTo>
                  <a:lnTo>
                    <a:pt x="199" y="519"/>
                  </a:lnTo>
                  <a:lnTo>
                    <a:pt x="196" y="517"/>
                  </a:lnTo>
                  <a:lnTo>
                    <a:pt x="255" y="581"/>
                  </a:lnTo>
                  <a:lnTo>
                    <a:pt x="253" y="578"/>
                  </a:lnTo>
                  <a:lnTo>
                    <a:pt x="317" y="637"/>
                  </a:lnTo>
                  <a:lnTo>
                    <a:pt x="385" y="689"/>
                  </a:lnTo>
                  <a:lnTo>
                    <a:pt x="383" y="687"/>
                  </a:lnTo>
                  <a:lnTo>
                    <a:pt x="459" y="732"/>
                  </a:lnTo>
                  <a:lnTo>
                    <a:pt x="534" y="770"/>
                  </a:lnTo>
                  <a:lnTo>
                    <a:pt x="532" y="767"/>
                  </a:lnTo>
                  <a:lnTo>
                    <a:pt x="617" y="798"/>
                  </a:lnTo>
                  <a:lnTo>
                    <a:pt x="612" y="798"/>
                  </a:lnTo>
                  <a:lnTo>
                    <a:pt x="700" y="819"/>
                  </a:lnTo>
                  <a:lnTo>
                    <a:pt x="697" y="819"/>
                  </a:lnTo>
                  <a:lnTo>
                    <a:pt x="787" y="833"/>
                  </a:lnTo>
                  <a:lnTo>
                    <a:pt x="785" y="833"/>
                  </a:lnTo>
                  <a:lnTo>
                    <a:pt x="837" y="836"/>
                  </a:lnTo>
                  <a:lnTo>
                    <a:pt x="837" y="0"/>
                  </a:lnTo>
                  <a:lnTo>
                    <a:pt x="0" y="0"/>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endParaRPr lang="de-DE" sz="800" b="0" dirty="0">
                <a:latin typeface="+mn-lt"/>
              </a:endParaRPr>
            </a:p>
          </p:txBody>
        </p:sp>
      </p:grpSp>
      <p:sp>
        <p:nvSpPr>
          <p:cNvPr id="109" name="Abgerundetes Rechteck 108"/>
          <p:cNvSpPr/>
          <p:nvPr/>
        </p:nvSpPr>
        <p:spPr bwMode="auto">
          <a:xfrm>
            <a:off x="7245356" y="3589618"/>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Zusammenstellung Daten Förderkataster</a:t>
            </a:r>
          </a:p>
          <a:p>
            <a:pPr algn="ctr"/>
            <a:r>
              <a:rPr lang="de-DE" sz="800" b="0" dirty="0"/>
              <a:t>(Korrekturdaten)</a:t>
            </a:r>
          </a:p>
        </p:txBody>
      </p:sp>
      <p:sp>
        <p:nvSpPr>
          <p:cNvPr id="110" name="Rechteck: abgerundete Ecken 215">
            <a:extLst>
              <a:ext uri="{FF2B5EF4-FFF2-40B4-BE49-F238E27FC236}">
                <a16:creationId xmlns:a16="http://schemas.microsoft.com/office/drawing/2014/main" id="{45D1FD8B-0ACC-4939-BDA3-E7E8D2E9D502}"/>
              </a:ext>
            </a:extLst>
          </p:cNvPr>
          <p:cNvSpPr/>
          <p:nvPr/>
        </p:nvSpPr>
        <p:spPr bwMode="auto">
          <a:xfrm>
            <a:off x="7804227" y="4021285"/>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Fertig gestellt</a:t>
            </a:r>
          </a:p>
        </p:txBody>
      </p:sp>
      <p:grpSp>
        <p:nvGrpSpPr>
          <p:cNvPr id="111" name="Gruppieren 110"/>
          <p:cNvGrpSpPr/>
          <p:nvPr/>
        </p:nvGrpSpPr>
        <p:grpSpPr>
          <a:xfrm>
            <a:off x="2208270" y="3588617"/>
            <a:ext cx="1171050" cy="487050"/>
            <a:chOff x="1630295" y="3899173"/>
            <a:chExt cx="1171050" cy="487050"/>
          </a:xfrm>
        </p:grpSpPr>
        <p:sp>
          <p:nvSpPr>
            <p:cNvPr id="112" name="Abgerundetes Rechteck 111"/>
            <p:cNvSpPr/>
            <p:nvPr/>
          </p:nvSpPr>
          <p:spPr bwMode="auto">
            <a:xfrm>
              <a:off x="1630295" y="3899173"/>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Freigabe</a:t>
              </a:r>
              <a:br>
                <a:rPr lang="de-DE" sz="800" b="0" dirty="0"/>
              </a:br>
              <a:r>
                <a:rPr lang="de-DE" sz="800" b="0" dirty="0"/>
                <a:t>(Vier-Augen-Prinzip)</a:t>
              </a:r>
            </a:p>
          </p:txBody>
        </p:sp>
        <p:sp>
          <p:nvSpPr>
            <p:cNvPr id="113" name="Rechteck: abgerundete Ecken 215">
              <a:extLst>
                <a:ext uri="{FF2B5EF4-FFF2-40B4-BE49-F238E27FC236}">
                  <a16:creationId xmlns:a16="http://schemas.microsoft.com/office/drawing/2014/main" id="{45D1FD8B-0ACC-4939-BDA3-E7E8D2E9D502}"/>
                </a:ext>
              </a:extLst>
            </p:cNvPr>
            <p:cNvSpPr/>
            <p:nvPr/>
          </p:nvSpPr>
          <p:spPr bwMode="auto">
            <a:xfrm>
              <a:off x="2189166" y="4254355"/>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Zur Freigabe</a:t>
              </a:r>
            </a:p>
          </p:txBody>
        </p:sp>
      </p:grpSp>
      <p:cxnSp>
        <p:nvCxnSpPr>
          <p:cNvPr id="114" name="Gerade Verbindung mit Pfeil 113"/>
          <p:cNvCxnSpPr/>
          <p:nvPr/>
        </p:nvCxnSpPr>
        <p:spPr bwMode="auto">
          <a:xfrm flipV="1">
            <a:off x="1282768" y="3060375"/>
            <a:ext cx="756000" cy="0"/>
          </a:xfrm>
          <a:prstGeom prst="straightConnector1">
            <a:avLst/>
          </a:prstGeom>
          <a:solidFill>
            <a:srgbClr val="244894">
              <a:alpha val="25000"/>
            </a:srgbClr>
          </a:solidFill>
          <a:ln w="9525" cap="flat" cmpd="sng" algn="ctr">
            <a:solidFill>
              <a:schemeClr val="tx1"/>
            </a:solidFill>
            <a:prstDash val="solid"/>
            <a:round/>
            <a:headEnd type="none" w="med" len="med"/>
            <a:tailEnd type="none" w="med" len="med"/>
          </a:ln>
          <a:effectLst/>
        </p:spPr>
      </p:cxnSp>
      <p:cxnSp>
        <p:nvCxnSpPr>
          <p:cNvPr id="115" name="Gewinkelter Verbinder 43"/>
          <p:cNvCxnSpPr>
            <a:endCxn id="112" idx="1"/>
          </p:cNvCxnSpPr>
          <p:nvPr/>
        </p:nvCxnSpPr>
        <p:spPr bwMode="auto">
          <a:xfrm rot="16200000" flipH="1">
            <a:off x="1740068" y="3354415"/>
            <a:ext cx="762246" cy="174157"/>
          </a:xfrm>
          <a:prstGeom prst="bentConnector2">
            <a:avLst/>
          </a:prstGeom>
          <a:solidFill>
            <a:srgbClr val="244894">
              <a:alpha val="25000"/>
            </a:srgbClr>
          </a:solidFill>
          <a:ln w="9525" cap="flat" cmpd="sng" algn="ctr">
            <a:solidFill>
              <a:schemeClr val="tx1"/>
            </a:solidFill>
            <a:prstDash val="solid"/>
            <a:round/>
            <a:headEnd type="none" w="med" len="med"/>
            <a:tailEnd type="none" w="med" len="med"/>
          </a:ln>
          <a:effectLst/>
        </p:spPr>
      </p:cxnSp>
      <p:cxnSp>
        <p:nvCxnSpPr>
          <p:cNvPr id="116" name="Gerade Verbindung mit Pfeil 6"/>
          <p:cNvCxnSpPr>
            <a:stCxn id="112" idx="2"/>
          </p:cNvCxnSpPr>
          <p:nvPr/>
        </p:nvCxnSpPr>
        <p:spPr bwMode="auto">
          <a:xfrm rot="5400000">
            <a:off x="1745437" y="3593948"/>
            <a:ext cx="576164" cy="1501502"/>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118" name="Abgerundetes Rechteck 117"/>
          <p:cNvSpPr/>
          <p:nvPr/>
        </p:nvSpPr>
        <p:spPr bwMode="auto">
          <a:xfrm>
            <a:off x="5882201" y="1995181"/>
            <a:ext cx="116352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Bekanntmachung Rückweisung/Bescheid</a:t>
            </a:r>
          </a:p>
          <a:p>
            <a:pPr algn="ctr"/>
            <a:r>
              <a:rPr lang="de-DE" sz="800" b="0" dirty="0"/>
              <a:t>(Zustellung)</a:t>
            </a:r>
          </a:p>
        </p:txBody>
      </p:sp>
      <p:sp>
        <p:nvSpPr>
          <p:cNvPr id="120" name="Abgerundetes Rechteck 119"/>
          <p:cNvSpPr/>
          <p:nvPr/>
        </p:nvSpPr>
        <p:spPr bwMode="auto">
          <a:xfrm>
            <a:off x="2211694" y="1995181"/>
            <a:ext cx="116352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Mitversendung Bescheid (Durchschrift) an Stakeholder </a:t>
            </a:r>
          </a:p>
        </p:txBody>
      </p:sp>
      <p:sp>
        <p:nvSpPr>
          <p:cNvPr id="121" name="Rechteck: abgerundete Ecken 215">
            <a:extLst>
              <a:ext uri="{FF2B5EF4-FFF2-40B4-BE49-F238E27FC236}">
                <a16:creationId xmlns:a16="http://schemas.microsoft.com/office/drawing/2014/main" id="{45D1FD8B-0ACC-4939-BDA3-E7E8D2E9D502}"/>
              </a:ext>
            </a:extLst>
          </p:cNvPr>
          <p:cNvSpPr/>
          <p:nvPr/>
        </p:nvSpPr>
        <p:spPr bwMode="auto">
          <a:xfrm>
            <a:off x="2782085" y="2407513"/>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Fertig gestellt</a:t>
            </a:r>
          </a:p>
        </p:txBody>
      </p:sp>
      <p:cxnSp>
        <p:nvCxnSpPr>
          <p:cNvPr id="122" name="Gerade Verbindung mit Pfeil 9"/>
          <p:cNvCxnSpPr>
            <a:endCxn id="120" idx="2"/>
          </p:cNvCxnSpPr>
          <p:nvPr/>
        </p:nvCxnSpPr>
        <p:spPr bwMode="auto">
          <a:xfrm rot="10800000">
            <a:off x="2793455" y="2463181"/>
            <a:ext cx="3670507" cy="305898"/>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grpSp>
        <p:nvGrpSpPr>
          <p:cNvPr id="123" name="Gruppieren 122"/>
          <p:cNvGrpSpPr/>
          <p:nvPr/>
        </p:nvGrpSpPr>
        <p:grpSpPr>
          <a:xfrm>
            <a:off x="3475921" y="2029256"/>
            <a:ext cx="1324846" cy="398784"/>
            <a:chOff x="8839522" y="3284984"/>
            <a:chExt cx="1324846" cy="398784"/>
          </a:xfrm>
        </p:grpSpPr>
        <p:sp>
          <p:nvSpPr>
            <p:cNvPr id="124" name="noun_project_01304.eps"/>
            <p:cNvSpPr>
              <a:spLocks noChangeAspect="1" noEditPoints="1"/>
            </p:cNvSpPr>
            <p:nvPr/>
          </p:nvSpPr>
          <p:spPr bwMode="auto">
            <a:xfrm>
              <a:off x="8839522" y="3284984"/>
              <a:ext cx="288000" cy="204600"/>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dirty="0">
                <a:latin typeface="+mn-lt"/>
              </a:endParaRPr>
            </a:p>
          </p:txBody>
        </p:sp>
        <p:sp>
          <p:nvSpPr>
            <p:cNvPr id="125" name="Rechteck 124"/>
            <p:cNvSpPr/>
            <p:nvPr/>
          </p:nvSpPr>
          <p:spPr bwMode="auto">
            <a:xfrm>
              <a:off x="8868368" y="3539768"/>
              <a:ext cx="1296000" cy="144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r>
                <a:rPr lang="de-DE" sz="800" dirty="0"/>
                <a:t>E-Mail mit Link, Postfach</a:t>
              </a:r>
              <a:endParaRPr lang="de-DE" sz="800" dirty="0">
                <a:solidFill>
                  <a:srgbClr val="244894"/>
                </a:solidFill>
              </a:endParaRPr>
            </a:p>
          </p:txBody>
        </p:sp>
      </p:grpSp>
      <p:cxnSp>
        <p:nvCxnSpPr>
          <p:cNvPr id="127" name="Gerade Verbindung mit Pfeil 126"/>
          <p:cNvCxnSpPr>
            <a:stCxn id="106" idx="27"/>
            <a:endCxn id="118" idx="2"/>
          </p:cNvCxnSpPr>
          <p:nvPr/>
        </p:nvCxnSpPr>
        <p:spPr>
          <a:xfrm flipH="1" flipV="1">
            <a:off x="6463961" y="2463181"/>
            <a:ext cx="1488" cy="1229932"/>
          </a:xfrm>
          <a:prstGeom prst="straightConnector1">
            <a:avLst/>
          </a:prstGeom>
          <a:ln w="63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8" name="Rechteck: abgerundete Ecken 215">
            <a:extLst>
              <a:ext uri="{FF2B5EF4-FFF2-40B4-BE49-F238E27FC236}">
                <a16:creationId xmlns:a16="http://schemas.microsoft.com/office/drawing/2014/main" id="{45D1FD8B-0ACC-4939-BDA3-E7E8D2E9D502}"/>
              </a:ext>
            </a:extLst>
          </p:cNvPr>
          <p:cNvSpPr/>
          <p:nvPr/>
        </p:nvSpPr>
        <p:spPr bwMode="auto">
          <a:xfrm>
            <a:off x="6452592" y="2407513"/>
            <a:ext cx="612179" cy="131868"/>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Fertig gestellt</a:t>
            </a:r>
          </a:p>
        </p:txBody>
      </p:sp>
      <p:grpSp>
        <p:nvGrpSpPr>
          <p:cNvPr id="132" name="Gruppieren 131"/>
          <p:cNvGrpSpPr/>
          <p:nvPr/>
        </p:nvGrpSpPr>
        <p:grpSpPr>
          <a:xfrm>
            <a:off x="2208270" y="4811780"/>
            <a:ext cx="1125926" cy="720872"/>
            <a:chOff x="4295800" y="6222184"/>
            <a:chExt cx="1152128" cy="787591"/>
          </a:xfrm>
        </p:grpSpPr>
        <p:grpSp>
          <p:nvGrpSpPr>
            <p:cNvPr id="133" name="Group 20">
              <a:extLst>
                <a:ext uri="{FF2B5EF4-FFF2-40B4-BE49-F238E27FC236}">
                  <a16:creationId xmlns:a16="http://schemas.microsoft.com/office/drawing/2014/main" id="{C6144E7F-B5C3-437D-9323-CE4E3349ED29}"/>
                </a:ext>
              </a:extLst>
            </p:cNvPr>
            <p:cNvGrpSpPr>
              <a:grpSpLocks noChangeAspect="1"/>
            </p:cNvGrpSpPr>
            <p:nvPr/>
          </p:nvGrpSpPr>
          <p:grpSpPr>
            <a:xfrm>
              <a:off x="4295800" y="6222184"/>
              <a:ext cx="1152000" cy="787591"/>
              <a:chOff x="7565973" y="4556141"/>
              <a:chExt cx="416180" cy="284531"/>
            </a:xfrm>
            <a:solidFill>
              <a:schemeClr val="accent1"/>
            </a:solidFill>
          </p:grpSpPr>
          <p:sp>
            <p:nvSpPr>
              <p:cNvPr id="135" name="Freeform 7">
                <a:extLst>
                  <a:ext uri="{FF2B5EF4-FFF2-40B4-BE49-F238E27FC236}">
                    <a16:creationId xmlns:a16="http://schemas.microsoft.com/office/drawing/2014/main" id="{6282A240-586D-4EF7-9299-A058C5085EDA}"/>
                  </a:ext>
                </a:extLst>
              </p:cNvPr>
              <p:cNvSpPr>
                <a:spLocks/>
              </p:cNvSpPr>
              <p:nvPr/>
            </p:nvSpPr>
            <p:spPr bwMode="auto">
              <a:xfrm>
                <a:off x="7565973" y="4613618"/>
                <a:ext cx="414903" cy="227054"/>
              </a:xfrm>
              <a:custGeom>
                <a:avLst/>
                <a:gdLst>
                  <a:gd name="T0" fmla="*/ 3218 w 3248"/>
                  <a:gd name="T1" fmla="*/ 44 h 1958"/>
                  <a:gd name="T2" fmla="*/ 3173 w 3248"/>
                  <a:gd name="T3" fmla="*/ 82 h 1958"/>
                  <a:gd name="T4" fmla="*/ 3116 w 3248"/>
                  <a:gd name="T5" fmla="*/ 118 h 1958"/>
                  <a:gd name="T6" fmla="*/ 3045 w 3248"/>
                  <a:gd name="T7" fmla="*/ 151 h 1958"/>
                  <a:gd name="T8" fmla="*/ 2868 w 3248"/>
                  <a:gd name="T9" fmla="*/ 207 h 1958"/>
                  <a:gd name="T10" fmla="*/ 2648 w 3248"/>
                  <a:gd name="T11" fmla="*/ 257 h 1958"/>
                  <a:gd name="T12" fmla="*/ 2391 w 3248"/>
                  <a:gd name="T13" fmla="*/ 295 h 1958"/>
                  <a:gd name="T14" fmla="*/ 2103 w 3248"/>
                  <a:gd name="T15" fmla="*/ 323 h 1958"/>
                  <a:gd name="T16" fmla="*/ 1788 w 3248"/>
                  <a:gd name="T17" fmla="*/ 335 h 1958"/>
                  <a:gd name="T18" fmla="*/ 1460 w 3248"/>
                  <a:gd name="T19" fmla="*/ 337 h 1958"/>
                  <a:gd name="T20" fmla="*/ 1146 w 3248"/>
                  <a:gd name="T21" fmla="*/ 323 h 1958"/>
                  <a:gd name="T22" fmla="*/ 858 w 3248"/>
                  <a:gd name="T23" fmla="*/ 295 h 1958"/>
                  <a:gd name="T24" fmla="*/ 600 w 3248"/>
                  <a:gd name="T25" fmla="*/ 257 h 1958"/>
                  <a:gd name="T26" fmla="*/ 380 w 3248"/>
                  <a:gd name="T27" fmla="*/ 207 h 1958"/>
                  <a:gd name="T28" fmla="*/ 206 w 3248"/>
                  <a:gd name="T29" fmla="*/ 151 h 1958"/>
                  <a:gd name="T30" fmla="*/ 135 w 3248"/>
                  <a:gd name="T31" fmla="*/ 118 h 1958"/>
                  <a:gd name="T32" fmla="*/ 76 w 3248"/>
                  <a:gd name="T33" fmla="*/ 82 h 1958"/>
                  <a:gd name="T34" fmla="*/ 31 w 3248"/>
                  <a:gd name="T35" fmla="*/ 44 h 1958"/>
                  <a:gd name="T36" fmla="*/ 0 w 3248"/>
                  <a:gd name="T37" fmla="*/ 0 h 1958"/>
                  <a:gd name="T38" fmla="*/ 14 w 3248"/>
                  <a:gd name="T39" fmla="*/ 1641 h 1958"/>
                  <a:gd name="T40" fmla="*/ 52 w 3248"/>
                  <a:gd name="T41" fmla="*/ 1684 h 1958"/>
                  <a:gd name="T42" fmla="*/ 104 w 3248"/>
                  <a:gd name="T43" fmla="*/ 1719 h 1958"/>
                  <a:gd name="T44" fmla="*/ 168 w 3248"/>
                  <a:gd name="T45" fmla="*/ 1755 h 1958"/>
                  <a:gd name="T46" fmla="*/ 286 w 3248"/>
                  <a:gd name="T47" fmla="*/ 1800 h 1958"/>
                  <a:gd name="T48" fmla="*/ 487 w 3248"/>
                  <a:gd name="T49" fmla="*/ 1854 h 1958"/>
                  <a:gd name="T50" fmla="*/ 725 w 3248"/>
                  <a:gd name="T51" fmla="*/ 1897 h 1958"/>
                  <a:gd name="T52" fmla="*/ 999 w 3248"/>
                  <a:gd name="T53" fmla="*/ 1930 h 1958"/>
                  <a:gd name="T54" fmla="*/ 1302 w 3248"/>
                  <a:gd name="T55" fmla="*/ 1951 h 1958"/>
                  <a:gd name="T56" fmla="*/ 1625 w 3248"/>
                  <a:gd name="T57" fmla="*/ 1958 h 1958"/>
                  <a:gd name="T58" fmla="*/ 1949 w 3248"/>
                  <a:gd name="T59" fmla="*/ 1951 h 1958"/>
                  <a:gd name="T60" fmla="*/ 2251 w 3248"/>
                  <a:gd name="T61" fmla="*/ 1930 h 1958"/>
                  <a:gd name="T62" fmla="*/ 2525 w 3248"/>
                  <a:gd name="T63" fmla="*/ 1897 h 1958"/>
                  <a:gd name="T64" fmla="*/ 2764 w 3248"/>
                  <a:gd name="T65" fmla="*/ 1854 h 1958"/>
                  <a:gd name="T66" fmla="*/ 2962 w 3248"/>
                  <a:gd name="T67" fmla="*/ 1800 h 1958"/>
                  <a:gd name="T68" fmla="*/ 3081 w 3248"/>
                  <a:gd name="T69" fmla="*/ 1755 h 1958"/>
                  <a:gd name="T70" fmla="*/ 3147 w 3248"/>
                  <a:gd name="T71" fmla="*/ 1719 h 1958"/>
                  <a:gd name="T72" fmla="*/ 3199 w 3248"/>
                  <a:gd name="T73" fmla="*/ 1684 h 1958"/>
                  <a:gd name="T74" fmla="*/ 3236 w 3248"/>
                  <a:gd name="T75" fmla="*/ 1641 h 1958"/>
                  <a:gd name="T76" fmla="*/ 3248 w 3248"/>
                  <a:gd name="T77" fmla="*/ 0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8" h="1958">
                    <a:moveTo>
                      <a:pt x="3236" y="23"/>
                    </a:moveTo>
                    <a:lnTo>
                      <a:pt x="3218" y="44"/>
                    </a:lnTo>
                    <a:lnTo>
                      <a:pt x="3199" y="63"/>
                    </a:lnTo>
                    <a:lnTo>
                      <a:pt x="3173" y="82"/>
                    </a:lnTo>
                    <a:lnTo>
                      <a:pt x="3147" y="101"/>
                    </a:lnTo>
                    <a:lnTo>
                      <a:pt x="3116" y="118"/>
                    </a:lnTo>
                    <a:lnTo>
                      <a:pt x="3081" y="134"/>
                    </a:lnTo>
                    <a:lnTo>
                      <a:pt x="3045" y="151"/>
                    </a:lnTo>
                    <a:lnTo>
                      <a:pt x="2962" y="179"/>
                    </a:lnTo>
                    <a:lnTo>
                      <a:pt x="2868" y="207"/>
                    </a:lnTo>
                    <a:lnTo>
                      <a:pt x="2764" y="233"/>
                    </a:lnTo>
                    <a:lnTo>
                      <a:pt x="2648" y="257"/>
                    </a:lnTo>
                    <a:lnTo>
                      <a:pt x="2525" y="278"/>
                    </a:lnTo>
                    <a:lnTo>
                      <a:pt x="2391" y="295"/>
                    </a:lnTo>
                    <a:lnTo>
                      <a:pt x="2251" y="309"/>
                    </a:lnTo>
                    <a:lnTo>
                      <a:pt x="2103" y="323"/>
                    </a:lnTo>
                    <a:lnTo>
                      <a:pt x="1949" y="330"/>
                    </a:lnTo>
                    <a:lnTo>
                      <a:pt x="1788" y="335"/>
                    </a:lnTo>
                    <a:lnTo>
                      <a:pt x="1625" y="337"/>
                    </a:lnTo>
                    <a:lnTo>
                      <a:pt x="1460" y="337"/>
                    </a:lnTo>
                    <a:lnTo>
                      <a:pt x="1302" y="330"/>
                    </a:lnTo>
                    <a:lnTo>
                      <a:pt x="1146" y="323"/>
                    </a:lnTo>
                    <a:lnTo>
                      <a:pt x="999" y="311"/>
                    </a:lnTo>
                    <a:lnTo>
                      <a:pt x="858" y="295"/>
                    </a:lnTo>
                    <a:lnTo>
                      <a:pt x="725" y="278"/>
                    </a:lnTo>
                    <a:lnTo>
                      <a:pt x="600" y="257"/>
                    </a:lnTo>
                    <a:lnTo>
                      <a:pt x="487" y="233"/>
                    </a:lnTo>
                    <a:lnTo>
                      <a:pt x="380" y="207"/>
                    </a:lnTo>
                    <a:lnTo>
                      <a:pt x="286" y="181"/>
                    </a:lnTo>
                    <a:lnTo>
                      <a:pt x="206" y="151"/>
                    </a:lnTo>
                    <a:lnTo>
                      <a:pt x="168" y="134"/>
                    </a:lnTo>
                    <a:lnTo>
                      <a:pt x="135" y="118"/>
                    </a:lnTo>
                    <a:lnTo>
                      <a:pt x="104" y="101"/>
                    </a:lnTo>
                    <a:lnTo>
                      <a:pt x="76" y="82"/>
                    </a:lnTo>
                    <a:lnTo>
                      <a:pt x="52" y="63"/>
                    </a:lnTo>
                    <a:lnTo>
                      <a:pt x="31" y="44"/>
                    </a:lnTo>
                    <a:lnTo>
                      <a:pt x="14" y="23"/>
                    </a:lnTo>
                    <a:lnTo>
                      <a:pt x="0" y="0"/>
                    </a:lnTo>
                    <a:lnTo>
                      <a:pt x="0" y="1620"/>
                    </a:lnTo>
                    <a:lnTo>
                      <a:pt x="14" y="1641"/>
                    </a:lnTo>
                    <a:lnTo>
                      <a:pt x="31" y="1663"/>
                    </a:lnTo>
                    <a:lnTo>
                      <a:pt x="52" y="1684"/>
                    </a:lnTo>
                    <a:lnTo>
                      <a:pt x="76" y="1703"/>
                    </a:lnTo>
                    <a:lnTo>
                      <a:pt x="104" y="1719"/>
                    </a:lnTo>
                    <a:lnTo>
                      <a:pt x="135" y="1738"/>
                    </a:lnTo>
                    <a:lnTo>
                      <a:pt x="168" y="1755"/>
                    </a:lnTo>
                    <a:lnTo>
                      <a:pt x="206" y="1771"/>
                    </a:lnTo>
                    <a:lnTo>
                      <a:pt x="286" y="1800"/>
                    </a:lnTo>
                    <a:lnTo>
                      <a:pt x="380" y="1828"/>
                    </a:lnTo>
                    <a:lnTo>
                      <a:pt x="487" y="1854"/>
                    </a:lnTo>
                    <a:lnTo>
                      <a:pt x="600" y="1875"/>
                    </a:lnTo>
                    <a:lnTo>
                      <a:pt x="725" y="1897"/>
                    </a:lnTo>
                    <a:lnTo>
                      <a:pt x="858" y="1915"/>
                    </a:lnTo>
                    <a:lnTo>
                      <a:pt x="999" y="1930"/>
                    </a:lnTo>
                    <a:lnTo>
                      <a:pt x="1146" y="1941"/>
                    </a:lnTo>
                    <a:lnTo>
                      <a:pt x="1302" y="1951"/>
                    </a:lnTo>
                    <a:lnTo>
                      <a:pt x="1460" y="1956"/>
                    </a:lnTo>
                    <a:lnTo>
                      <a:pt x="1625" y="1958"/>
                    </a:lnTo>
                    <a:lnTo>
                      <a:pt x="1788" y="1956"/>
                    </a:lnTo>
                    <a:lnTo>
                      <a:pt x="1949" y="1951"/>
                    </a:lnTo>
                    <a:lnTo>
                      <a:pt x="2103" y="1941"/>
                    </a:lnTo>
                    <a:lnTo>
                      <a:pt x="2251" y="1930"/>
                    </a:lnTo>
                    <a:lnTo>
                      <a:pt x="2391" y="1915"/>
                    </a:lnTo>
                    <a:lnTo>
                      <a:pt x="2525" y="1897"/>
                    </a:lnTo>
                    <a:lnTo>
                      <a:pt x="2648" y="1875"/>
                    </a:lnTo>
                    <a:lnTo>
                      <a:pt x="2764" y="1854"/>
                    </a:lnTo>
                    <a:lnTo>
                      <a:pt x="2868" y="1828"/>
                    </a:lnTo>
                    <a:lnTo>
                      <a:pt x="2962" y="1800"/>
                    </a:lnTo>
                    <a:lnTo>
                      <a:pt x="3045" y="1771"/>
                    </a:lnTo>
                    <a:lnTo>
                      <a:pt x="3081" y="1755"/>
                    </a:lnTo>
                    <a:lnTo>
                      <a:pt x="3116" y="1738"/>
                    </a:lnTo>
                    <a:lnTo>
                      <a:pt x="3147" y="1719"/>
                    </a:lnTo>
                    <a:lnTo>
                      <a:pt x="3173" y="1703"/>
                    </a:lnTo>
                    <a:lnTo>
                      <a:pt x="3199" y="1684"/>
                    </a:lnTo>
                    <a:lnTo>
                      <a:pt x="3218" y="1663"/>
                    </a:lnTo>
                    <a:lnTo>
                      <a:pt x="3236" y="1641"/>
                    </a:lnTo>
                    <a:lnTo>
                      <a:pt x="3248" y="1620"/>
                    </a:lnTo>
                    <a:lnTo>
                      <a:pt x="3248" y="0"/>
                    </a:lnTo>
                    <a:lnTo>
                      <a:pt x="3236" y="23"/>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sp>
            <p:nvSpPr>
              <p:cNvPr id="136" name="Oval 8">
                <a:extLst>
                  <a:ext uri="{FF2B5EF4-FFF2-40B4-BE49-F238E27FC236}">
                    <a16:creationId xmlns:a16="http://schemas.microsoft.com/office/drawing/2014/main" id="{80A7073C-2F52-4CF9-A7A9-8D7FEE8D6E90}"/>
                  </a:ext>
                </a:extLst>
              </p:cNvPr>
              <p:cNvSpPr>
                <a:spLocks noChangeArrowheads="1"/>
              </p:cNvSpPr>
              <p:nvPr/>
            </p:nvSpPr>
            <p:spPr bwMode="auto">
              <a:xfrm>
                <a:off x="7566228" y="4556141"/>
                <a:ext cx="415925" cy="83377"/>
              </a:xfrm>
              <a:prstGeom prst="ellipse">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grpSp>
        <p:sp>
          <p:nvSpPr>
            <p:cNvPr id="134" name="Rechteck 133"/>
            <p:cNvSpPr/>
            <p:nvPr/>
          </p:nvSpPr>
          <p:spPr bwMode="auto">
            <a:xfrm>
              <a:off x="4295800" y="6513028"/>
              <a:ext cx="1152128" cy="396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DMS (eAkte)</a:t>
              </a:r>
              <a:br>
                <a:rPr lang="de-DE" sz="800" b="0" dirty="0">
                  <a:latin typeface="+mn-lt"/>
                </a:rPr>
              </a:br>
              <a:r>
                <a:rPr lang="de-DE" sz="800" dirty="0"/>
                <a:t>Rückweisung/Bescheid ablegen</a:t>
              </a:r>
            </a:p>
          </p:txBody>
        </p:sp>
      </p:grpSp>
      <p:sp>
        <p:nvSpPr>
          <p:cNvPr id="137" name="noun_project_00453.eps"/>
          <p:cNvSpPr>
            <a:spLocks noChangeAspect="1" noEditPoints="1"/>
          </p:cNvSpPr>
          <p:nvPr/>
        </p:nvSpPr>
        <p:spPr bwMode="auto">
          <a:xfrm>
            <a:off x="3426761" y="4828523"/>
            <a:ext cx="281450" cy="356687"/>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latin typeface="+mn-lt"/>
            </a:endParaRPr>
          </a:p>
        </p:txBody>
      </p:sp>
      <p:grpSp>
        <p:nvGrpSpPr>
          <p:cNvPr id="138" name="noun_project_00456.eps"/>
          <p:cNvGrpSpPr>
            <a:grpSpLocks noChangeAspect="1"/>
          </p:cNvGrpSpPr>
          <p:nvPr/>
        </p:nvGrpSpPr>
        <p:grpSpPr bwMode="auto">
          <a:xfrm>
            <a:off x="3426761" y="5295236"/>
            <a:ext cx="351813" cy="175907"/>
            <a:chOff x="3400" y="3056"/>
            <a:chExt cx="384" cy="192"/>
          </a:xfrm>
          <a:solidFill>
            <a:schemeClr val="tx1"/>
          </a:solidFill>
        </p:grpSpPr>
        <p:sp>
          <p:nvSpPr>
            <p:cNvPr id="139" name="Freeform 379"/>
            <p:cNvSpPr>
              <a:spLocks noChangeAspect="1"/>
            </p:cNvSpPr>
            <p:nvPr/>
          </p:nvSpPr>
          <p:spPr bwMode="auto">
            <a:xfrm>
              <a:off x="3688" y="3056"/>
              <a:ext cx="96" cy="192"/>
            </a:xfrm>
            <a:custGeom>
              <a:avLst/>
              <a:gdLst>
                <a:gd name="T0" fmla="*/ 0 w 864"/>
                <a:gd name="T1" fmla="*/ 0 h 1728"/>
                <a:gd name="T2" fmla="*/ 864 w 864"/>
                <a:gd name="T3" fmla="*/ 864 h 1728"/>
                <a:gd name="T4" fmla="*/ 0 w 864"/>
                <a:gd name="T5" fmla="*/ 1728 h 1728"/>
                <a:gd name="T6" fmla="*/ 0 w 864"/>
                <a:gd name="T7" fmla="*/ 1337 h 1728"/>
                <a:gd name="T8" fmla="*/ 473 w 864"/>
                <a:gd name="T9" fmla="*/ 864 h 1728"/>
                <a:gd name="T10" fmla="*/ 0 w 864"/>
                <a:gd name="T11" fmla="*/ 391 h 1728"/>
                <a:gd name="T12" fmla="*/ 0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0" y="0"/>
                  </a:moveTo>
                  <a:lnTo>
                    <a:pt x="864" y="864"/>
                  </a:lnTo>
                  <a:lnTo>
                    <a:pt x="0" y="1728"/>
                  </a:lnTo>
                  <a:lnTo>
                    <a:pt x="0" y="1337"/>
                  </a:lnTo>
                  <a:lnTo>
                    <a:pt x="473" y="864"/>
                  </a:lnTo>
                  <a:lnTo>
                    <a:pt x="0" y="391"/>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40" name="Freeform 380"/>
            <p:cNvSpPr>
              <a:spLocks noChangeAspect="1"/>
            </p:cNvSpPr>
            <p:nvPr/>
          </p:nvSpPr>
          <p:spPr bwMode="auto">
            <a:xfrm>
              <a:off x="3400" y="3056"/>
              <a:ext cx="96" cy="192"/>
            </a:xfrm>
            <a:custGeom>
              <a:avLst/>
              <a:gdLst>
                <a:gd name="T0" fmla="*/ 864 w 864"/>
                <a:gd name="T1" fmla="*/ 0 h 1728"/>
                <a:gd name="T2" fmla="*/ 864 w 864"/>
                <a:gd name="T3" fmla="*/ 391 h 1728"/>
                <a:gd name="T4" fmla="*/ 391 w 864"/>
                <a:gd name="T5" fmla="*/ 864 h 1728"/>
                <a:gd name="T6" fmla="*/ 864 w 864"/>
                <a:gd name="T7" fmla="*/ 1337 h 1728"/>
                <a:gd name="T8" fmla="*/ 864 w 864"/>
                <a:gd name="T9" fmla="*/ 1728 h 1728"/>
                <a:gd name="T10" fmla="*/ 0 w 864"/>
                <a:gd name="T11" fmla="*/ 864 h 1728"/>
                <a:gd name="T12" fmla="*/ 864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864" y="0"/>
                  </a:moveTo>
                  <a:lnTo>
                    <a:pt x="864" y="391"/>
                  </a:lnTo>
                  <a:lnTo>
                    <a:pt x="391" y="864"/>
                  </a:lnTo>
                  <a:lnTo>
                    <a:pt x="864" y="1337"/>
                  </a:lnTo>
                  <a:lnTo>
                    <a:pt x="864" y="1728"/>
                  </a:lnTo>
                  <a:lnTo>
                    <a:pt x="0" y="864"/>
                  </a:lnTo>
                  <a:lnTo>
                    <a:pt x="864"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41" name="Freeform 381"/>
            <p:cNvSpPr>
              <a:spLocks noChangeAspect="1"/>
            </p:cNvSpPr>
            <p:nvPr/>
          </p:nvSpPr>
          <p:spPr bwMode="auto">
            <a:xfrm>
              <a:off x="3569"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42" name="Freeform 382"/>
            <p:cNvSpPr>
              <a:spLocks noChangeAspect="1"/>
            </p:cNvSpPr>
            <p:nvPr/>
          </p:nvSpPr>
          <p:spPr bwMode="auto">
            <a:xfrm>
              <a:off x="3500" y="3133"/>
              <a:ext cx="46" cy="46"/>
            </a:xfrm>
            <a:custGeom>
              <a:avLst/>
              <a:gdLst>
                <a:gd name="T0" fmla="*/ 207 w 414"/>
                <a:gd name="T1" fmla="*/ 0 h 415"/>
                <a:gd name="T2" fmla="*/ 240 w 414"/>
                <a:gd name="T3" fmla="*/ 3 h 415"/>
                <a:gd name="T4" fmla="*/ 273 w 414"/>
                <a:gd name="T5" fmla="*/ 11 h 415"/>
                <a:gd name="T6" fmla="*/ 302 w 414"/>
                <a:gd name="T7" fmla="*/ 23 h 415"/>
                <a:gd name="T8" fmla="*/ 329 w 414"/>
                <a:gd name="T9" fmla="*/ 40 h 415"/>
                <a:gd name="T10" fmla="*/ 354 w 414"/>
                <a:gd name="T11" fmla="*/ 61 h 415"/>
                <a:gd name="T12" fmla="*/ 374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4 w 414"/>
                <a:gd name="T29" fmla="*/ 330 h 415"/>
                <a:gd name="T30" fmla="*/ 354 w 414"/>
                <a:gd name="T31" fmla="*/ 354 h 415"/>
                <a:gd name="T32" fmla="*/ 329 w 414"/>
                <a:gd name="T33" fmla="*/ 375 h 415"/>
                <a:gd name="T34" fmla="*/ 302 w 414"/>
                <a:gd name="T35" fmla="*/ 392 h 415"/>
                <a:gd name="T36" fmla="*/ 273 w 414"/>
                <a:gd name="T37" fmla="*/ 404 h 415"/>
                <a:gd name="T38" fmla="*/ 240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0" y="3"/>
                  </a:lnTo>
                  <a:lnTo>
                    <a:pt x="273" y="11"/>
                  </a:lnTo>
                  <a:lnTo>
                    <a:pt x="302" y="23"/>
                  </a:lnTo>
                  <a:lnTo>
                    <a:pt x="329" y="40"/>
                  </a:lnTo>
                  <a:lnTo>
                    <a:pt x="354" y="61"/>
                  </a:lnTo>
                  <a:lnTo>
                    <a:pt x="374" y="85"/>
                  </a:lnTo>
                  <a:lnTo>
                    <a:pt x="391" y="112"/>
                  </a:lnTo>
                  <a:lnTo>
                    <a:pt x="404" y="142"/>
                  </a:lnTo>
                  <a:lnTo>
                    <a:pt x="411" y="174"/>
                  </a:lnTo>
                  <a:lnTo>
                    <a:pt x="414" y="208"/>
                  </a:lnTo>
                  <a:lnTo>
                    <a:pt x="411" y="241"/>
                  </a:lnTo>
                  <a:lnTo>
                    <a:pt x="404" y="274"/>
                  </a:lnTo>
                  <a:lnTo>
                    <a:pt x="391" y="303"/>
                  </a:lnTo>
                  <a:lnTo>
                    <a:pt x="374" y="330"/>
                  </a:lnTo>
                  <a:lnTo>
                    <a:pt x="354" y="354"/>
                  </a:lnTo>
                  <a:lnTo>
                    <a:pt x="329" y="375"/>
                  </a:lnTo>
                  <a:lnTo>
                    <a:pt x="302" y="392"/>
                  </a:lnTo>
                  <a:lnTo>
                    <a:pt x="273" y="404"/>
                  </a:lnTo>
                  <a:lnTo>
                    <a:pt x="240"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143" name="Freeform 383"/>
            <p:cNvSpPr>
              <a:spLocks noChangeAspect="1"/>
            </p:cNvSpPr>
            <p:nvPr/>
          </p:nvSpPr>
          <p:spPr bwMode="auto">
            <a:xfrm>
              <a:off x="3638"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4 w 414"/>
                <a:gd name="T43" fmla="*/ 412 h 415"/>
                <a:gd name="T44" fmla="*/ 141 w 414"/>
                <a:gd name="T45" fmla="*/ 404 h 415"/>
                <a:gd name="T46" fmla="*/ 112 w 414"/>
                <a:gd name="T47" fmla="*/ 392 h 415"/>
                <a:gd name="T48" fmla="*/ 85 w 414"/>
                <a:gd name="T49" fmla="*/ 375 h 415"/>
                <a:gd name="T50" fmla="*/ 60 w 414"/>
                <a:gd name="T51" fmla="*/ 354 h 415"/>
                <a:gd name="T52" fmla="*/ 40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40 w 414"/>
                <a:gd name="T69" fmla="*/ 85 h 415"/>
                <a:gd name="T70" fmla="*/ 60 w 414"/>
                <a:gd name="T71" fmla="*/ 61 h 415"/>
                <a:gd name="T72" fmla="*/ 85 w 414"/>
                <a:gd name="T73" fmla="*/ 40 h 415"/>
                <a:gd name="T74" fmla="*/ 112 w 414"/>
                <a:gd name="T75" fmla="*/ 23 h 415"/>
                <a:gd name="T76" fmla="*/ 141 w 414"/>
                <a:gd name="T77" fmla="*/ 11 h 415"/>
                <a:gd name="T78" fmla="*/ 174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4" y="412"/>
                  </a:lnTo>
                  <a:lnTo>
                    <a:pt x="141" y="404"/>
                  </a:lnTo>
                  <a:lnTo>
                    <a:pt x="112" y="392"/>
                  </a:lnTo>
                  <a:lnTo>
                    <a:pt x="85" y="375"/>
                  </a:lnTo>
                  <a:lnTo>
                    <a:pt x="60" y="354"/>
                  </a:lnTo>
                  <a:lnTo>
                    <a:pt x="40" y="330"/>
                  </a:lnTo>
                  <a:lnTo>
                    <a:pt x="23" y="303"/>
                  </a:lnTo>
                  <a:lnTo>
                    <a:pt x="10" y="274"/>
                  </a:lnTo>
                  <a:lnTo>
                    <a:pt x="3" y="241"/>
                  </a:lnTo>
                  <a:lnTo>
                    <a:pt x="0" y="208"/>
                  </a:lnTo>
                  <a:lnTo>
                    <a:pt x="3" y="174"/>
                  </a:lnTo>
                  <a:lnTo>
                    <a:pt x="10" y="142"/>
                  </a:lnTo>
                  <a:lnTo>
                    <a:pt x="23" y="112"/>
                  </a:lnTo>
                  <a:lnTo>
                    <a:pt x="40" y="85"/>
                  </a:lnTo>
                  <a:lnTo>
                    <a:pt x="60" y="61"/>
                  </a:lnTo>
                  <a:lnTo>
                    <a:pt x="85" y="40"/>
                  </a:lnTo>
                  <a:lnTo>
                    <a:pt x="112" y="23"/>
                  </a:lnTo>
                  <a:lnTo>
                    <a:pt x="141" y="11"/>
                  </a:lnTo>
                  <a:lnTo>
                    <a:pt x="174"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grpSp>
      <p:grpSp>
        <p:nvGrpSpPr>
          <p:cNvPr id="144" name="Gruppieren 143"/>
          <p:cNvGrpSpPr/>
          <p:nvPr/>
        </p:nvGrpSpPr>
        <p:grpSpPr>
          <a:xfrm>
            <a:off x="7245356" y="4807202"/>
            <a:ext cx="1530381" cy="787591"/>
            <a:chOff x="10110235" y="5171785"/>
            <a:chExt cx="1530381" cy="787591"/>
          </a:xfrm>
        </p:grpSpPr>
        <p:grpSp>
          <p:nvGrpSpPr>
            <p:cNvPr id="145" name="Gruppieren 144"/>
            <p:cNvGrpSpPr/>
            <p:nvPr/>
          </p:nvGrpSpPr>
          <p:grpSpPr>
            <a:xfrm>
              <a:off x="10110235" y="5171785"/>
              <a:ext cx="1152128" cy="787591"/>
              <a:chOff x="4295800" y="6222184"/>
              <a:chExt cx="1152128" cy="787591"/>
            </a:xfrm>
          </p:grpSpPr>
          <p:grpSp>
            <p:nvGrpSpPr>
              <p:cNvPr id="147" name="Group 20">
                <a:extLst>
                  <a:ext uri="{FF2B5EF4-FFF2-40B4-BE49-F238E27FC236}">
                    <a16:creationId xmlns:a16="http://schemas.microsoft.com/office/drawing/2014/main" id="{C6144E7F-B5C3-437D-9323-CE4E3349ED29}"/>
                  </a:ext>
                </a:extLst>
              </p:cNvPr>
              <p:cNvGrpSpPr>
                <a:grpSpLocks noChangeAspect="1"/>
              </p:cNvGrpSpPr>
              <p:nvPr/>
            </p:nvGrpSpPr>
            <p:grpSpPr>
              <a:xfrm>
                <a:off x="4295800" y="6222184"/>
                <a:ext cx="1152000" cy="787591"/>
                <a:chOff x="7565973" y="4556141"/>
                <a:chExt cx="416180" cy="284531"/>
              </a:xfrm>
              <a:solidFill>
                <a:schemeClr val="accent1"/>
              </a:solidFill>
            </p:grpSpPr>
            <p:sp>
              <p:nvSpPr>
                <p:cNvPr id="149" name="Freeform 7">
                  <a:extLst>
                    <a:ext uri="{FF2B5EF4-FFF2-40B4-BE49-F238E27FC236}">
                      <a16:creationId xmlns:a16="http://schemas.microsoft.com/office/drawing/2014/main" id="{6282A240-586D-4EF7-9299-A058C5085EDA}"/>
                    </a:ext>
                  </a:extLst>
                </p:cNvPr>
                <p:cNvSpPr>
                  <a:spLocks/>
                </p:cNvSpPr>
                <p:nvPr/>
              </p:nvSpPr>
              <p:spPr bwMode="auto">
                <a:xfrm>
                  <a:off x="7565973" y="4613618"/>
                  <a:ext cx="414903" cy="227054"/>
                </a:xfrm>
                <a:custGeom>
                  <a:avLst/>
                  <a:gdLst>
                    <a:gd name="T0" fmla="*/ 3218 w 3248"/>
                    <a:gd name="T1" fmla="*/ 44 h 1958"/>
                    <a:gd name="T2" fmla="*/ 3173 w 3248"/>
                    <a:gd name="T3" fmla="*/ 82 h 1958"/>
                    <a:gd name="T4" fmla="*/ 3116 w 3248"/>
                    <a:gd name="T5" fmla="*/ 118 h 1958"/>
                    <a:gd name="T6" fmla="*/ 3045 w 3248"/>
                    <a:gd name="T7" fmla="*/ 151 h 1958"/>
                    <a:gd name="T8" fmla="*/ 2868 w 3248"/>
                    <a:gd name="T9" fmla="*/ 207 h 1958"/>
                    <a:gd name="T10" fmla="*/ 2648 w 3248"/>
                    <a:gd name="T11" fmla="*/ 257 h 1958"/>
                    <a:gd name="T12" fmla="*/ 2391 w 3248"/>
                    <a:gd name="T13" fmla="*/ 295 h 1958"/>
                    <a:gd name="T14" fmla="*/ 2103 w 3248"/>
                    <a:gd name="T15" fmla="*/ 323 h 1958"/>
                    <a:gd name="T16" fmla="*/ 1788 w 3248"/>
                    <a:gd name="T17" fmla="*/ 335 h 1958"/>
                    <a:gd name="T18" fmla="*/ 1460 w 3248"/>
                    <a:gd name="T19" fmla="*/ 337 h 1958"/>
                    <a:gd name="T20" fmla="*/ 1146 w 3248"/>
                    <a:gd name="T21" fmla="*/ 323 h 1958"/>
                    <a:gd name="T22" fmla="*/ 858 w 3248"/>
                    <a:gd name="T23" fmla="*/ 295 h 1958"/>
                    <a:gd name="T24" fmla="*/ 600 w 3248"/>
                    <a:gd name="T25" fmla="*/ 257 h 1958"/>
                    <a:gd name="T26" fmla="*/ 380 w 3248"/>
                    <a:gd name="T27" fmla="*/ 207 h 1958"/>
                    <a:gd name="T28" fmla="*/ 206 w 3248"/>
                    <a:gd name="T29" fmla="*/ 151 h 1958"/>
                    <a:gd name="T30" fmla="*/ 135 w 3248"/>
                    <a:gd name="T31" fmla="*/ 118 h 1958"/>
                    <a:gd name="T32" fmla="*/ 76 w 3248"/>
                    <a:gd name="T33" fmla="*/ 82 h 1958"/>
                    <a:gd name="T34" fmla="*/ 31 w 3248"/>
                    <a:gd name="T35" fmla="*/ 44 h 1958"/>
                    <a:gd name="T36" fmla="*/ 0 w 3248"/>
                    <a:gd name="T37" fmla="*/ 0 h 1958"/>
                    <a:gd name="T38" fmla="*/ 14 w 3248"/>
                    <a:gd name="T39" fmla="*/ 1641 h 1958"/>
                    <a:gd name="T40" fmla="*/ 52 w 3248"/>
                    <a:gd name="T41" fmla="*/ 1684 h 1958"/>
                    <a:gd name="T42" fmla="*/ 104 w 3248"/>
                    <a:gd name="T43" fmla="*/ 1719 h 1958"/>
                    <a:gd name="T44" fmla="*/ 168 w 3248"/>
                    <a:gd name="T45" fmla="*/ 1755 h 1958"/>
                    <a:gd name="T46" fmla="*/ 286 w 3248"/>
                    <a:gd name="T47" fmla="*/ 1800 h 1958"/>
                    <a:gd name="T48" fmla="*/ 487 w 3248"/>
                    <a:gd name="T49" fmla="*/ 1854 h 1958"/>
                    <a:gd name="T50" fmla="*/ 725 w 3248"/>
                    <a:gd name="T51" fmla="*/ 1897 h 1958"/>
                    <a:gd name="T52" fmla="*/ 999 w 3248"/>
                    <a:gd name="T53" fmla="*/ 1930 h 1958"/>
                    <a:gd name="T54" fmla="*/ 1302 w 3248"/>
                    <a:gd name="T55" fmla="*/ 1951 h 1958"/>
                    <a:gd name="T56" fmla="*/ 1625 w 3248"/>
                    <a:gd name="T57" fmla="*/ 1958 h 1958"/>
                    <a:gd name="T58" fmla="*/ 1949 w 3248"/>
                    <a:gd name="T59" fmla="*/ 1951 h 1958"/>
                    <a:gd name="T60" fmla="*/ 2251 w 3248"/>
                    <a:gd name="T61" fmla="*/ 1930 h 1958"/>
                    <a:gd name="T62" fmla="*/ 2525 w 3248"/>
                    <a:gd name="T63" fmla="*/ 1897 h 1958"/>
                    <a:gd name="T64" fmla="*/ 2764 w 3248"/>
                    <a:gd name="T65" fmla="*/ 1854 h 1958"/>
                    <a:gd name="T66" fmla="*/ 2962 w 3248"/>
                    <a:gd name="T67" fmla="*/ 1800 h 1958"/>
                    <a:gd name="T68" fmla="*/ 3081 w 3248"/>
                    <a:gd name="T69" fmla="*/ 1755 h 1958"/>
                    <a:gd name="T70" fmla="*/ 3147 w 3248"/>
                    <a:gd name="T71" fmla="*/ 1719 h 1958"/>
                    <a:gd name="T72" fmla="*/ 3199 w 3248"/>
                    <a:gd name="T73" fmla="*/ 1684 h 1958"/>
                    <a:gd name="T74" fmla="*/ 3236 w 3248"/>
                    <a:gd name="T75" fmla="*/ 1641 h 1958"/>
                    <a:gd name="T76" fmla="*/ 3248 w 3248"/>
                    <a:gd name="T77" fmla="*/ 0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8" h="1958">
                      <a:moveTo>
                        <a:pt x="3236" y="23"/>
                      </a:moveTo>
                      <a:lnTo>
                        <a:pt x="3218" y="44"/>
                      </a:lnTo>
                      <a:lnTo>
                        <a:pt x="3199" y="63"/>
                      </a:lnTo>
                      <a:lnTo>
                        <a:pt x="3173" y="82"/>
                      </a:lnTo>
                      <a:lnTo>
                        <a:pt x="3147" y="101"/>
                      </a:lnTo>
                      <a:lnTo>
                        <a:pt x="3116" y="118"/>
                      </a:lnTo>
                      <a:lnTo>
                        <a:pt x="3081" y="134"/>
                      </a:lnTo>
                      <a:lnTo>
                        <a:pt x="3045" y="151"/>
                      </a:lnTo>
                      <a:lnTo>
                        <a:pt x="2962" y="179"/>
                      </a:lnTo>
                      <a:lnTo>
                        <a:pt x="2868" y="207"/>
                      </a:lnTo>
                      <a:lnTo>
                        <a:pt x="2764" y="233"/>
                      </a:lnTo>
                      <a:lnTo>
                        <a:pt x="2648" y="257"/>
                      </a:lnTo>
                      <a:lnTo>
                        <a:pt x="2525" y="278"/>
                      </a:lnTo>
                      <a:lnTo>
                        <a:pt x="2391" y="295"/>
                      </a:lnTo>
                      <a:lnTo>
                        <a:pt x="2251" y="309"/>
                      </a:lnTo>
                      <a:lnTo>
                        <a:pt x="2103" y="323"/>
                      </a:lnTo>
                      <a:lnTo>
                        <a:pt x="1949" y="330"/>
                      </a:lnTo>
                      <a:lnTo>
                        <a:pt x="1788" y="335"/>
                      </a:lnTo>
                      <a:lnTo>
                        <a:pt x="1625" y="337"/>
                      </a:lnTo>
                      <a:lnTo>
                        <a:pt x="1460" y="337"/>
                      </a:lnTo>
                      <a:lnTo>
                        <a:pt x="1302" y="330"/>
                      </a:lnTo>
                      <a:lnTo>
                        <a:pt x="1146" y="323"/>
                      </a:lnTo>
                      <a:lnTo>
                        <a:pt x="999" y="311"/>
                      </a:lnTo>
                      <a:lnTo>
                        <a:pt x="858" y="295"/>
                      </a:lnTo>
                      <a:lnTo>
                        <a:pt x="725" y="278"/>
                      </a:lnTo>
                      <a:lnTo>
                        <a:pt x="600" y="257"/>
                      </a:lnTo>
                      <a:lnTo>
                        <a:pt x="487" y="233"/>
                      </a:lnTo>
                      <a:lnTo>
                        <a:pt x="380" y="207"/>
                      </a:lnTo>
                      <a:lnTo>
                        <a:pt x="286" y="181"/>
                      </a:lnTo>
                      <a:lnTo>
                        <a:pt x="206" y="151"/>
                      </a:lnTo>
                      <a:lnTo>
                        <a:pt x="168" y="134"/>
                      </a:lnTo>
                      <a:lnTo>
                        <a:pt x="135" y="118"/>
                      </a:lnTo>
                      <a:lnTo>
                        <a:pt x="104" y="101"/>
                      </a:lnTo>
                      <a:lnTo>
                        <a:pt x="76" y="82"/>
                      </a:lnTo>
                      <a:lnTo>
                        <a:pt x="52" y="63"/>
                      </a:lnTo>
                      <a:lnTo>
                        <a:pt x="31" y="44"/>
                      </a:lnTo>
                      <a:lnTo>
                        <a:pt x="14" y="23"/>
                      </a:lnTo>
                      <a:lnTo>
                        <a:pt x="0" y="0"/>
                      </a:lnTo>
                      <a:lnTo>
                        <a:pt x="0" y="1620"/>
                      </a:lnTo>
                      <a:lnTo>
                        <a:pt x="14" y="1641"/>
                      </a:lnTo>
                      <a:lnTo>
                        <a:pt x="31" y="1663"/>
                      </a:lnTo>
                      <a:lnTo>
                        <a:pt x="52" y="1684"/>
                      </a:lnTo>
                      <a:lnTo>
                        <a:pt x="76" y="1703"/>
                      </a:lnTo>
                      <a:lnTo>
                        <a:pt x="104" y="1719"/>
                      </a:lnTo>
                      <a:lnTo>
                        <a:pt x="135" y="1738"/>
                      </a:lnTo>
                      <a:lnTo>
                        <a:pt x="168" y="1755"/>
                      </a:lnTo>
                      <a:lnTo>
                        <a:pt x="206" y="1771"/>
                      </a:lnTo>
                      <a:lnTo>
                        <a:pt x="286" y="1800"/>
                      </a:lnTo>
                      <a:lnTo>
                        <a:pt x="380" y="1828"/>
                      </a:lnTo>
                      <a:lnTo>
                        <a:pt x="487" y="1854"/>
                      </a:lnTo>
                      <a:lnTo>
                        <a:pt x="600" y="1875"/>
                      </a:lnTo>
                      <a:lnTo>
                        <a:pt x="725" y="1897"/>
                      </a:lnTo>
                      <a:lnTo>
                        <a:pt x="858" y="1915"/>
                      </a:lnTo>
                      <a:lnTo>
                        <a:pt x="999" y="1930"/>
                      </a:lnTo>
                      <a:lnTo>
                        <a:pt x="1146" y="1941"/>
                      </a:lnTo>
                      <a:lnTo>
                        <a:pt x="1302" y="1951"/>
                      </a:lnTo>
                      <a:lnTo>
                        <a:pt x="1460" y="1956"/>
                      </a:lnTo>
                      <a:lnTo>
                        <a:pt x="1625" y="1958"/>
                      </a:lnTo>
                      <a:lnTo>
                        <a:pt x="1788" y="1956"/>
                      </a:lnTo>
                      <a:lnTo>
                        <a:pt x="1949" y="1951"/>
                      </a:lnTo>
                      <a:lnTo>
                        <a:pt x="2103" y="1941"/>
                      </a:lnTo>
                      <a:lnTo>
                        <a:pt x="2251" y="1930"/>
                      </a:lnTo>
                      <a:lnTo>
                        <a:pt x="2391" y="1915"/>
                      </a:lnTo>
                      <a:lnTo>
                        <a:pt x="2525" y="1897"/>
                      </a:lnTo>
                      <a:lnTo>
                        <a:pt x="2648" y="1875"/>
                      </a:lnTo>
                      <a:lnTo>
                        <a:pt x="2764" y="1854"/>
                      </a:lnTo>
                      <a:lnTo>
                        <a:pt x="2868" y="1828"/>
                      </a:lnTo>
                      <a:lnTo>
                        <a:pt x="2962" y="1800"/>
                      </a:lnTo>
                      <a:lnTo>
                        <a:pt x="3045" y="1771"/>
                      </a:lnTo>
                      <a:lnTo>
                        <a:pt x="3081" y="1755"/>
                      </a:lnTo>
                      <a:lnTo>
                        <a:pt x="3116" y="1738"/>
                      </a:lnTo>
                      <a:lnTo>
                        <a:pt x="3147" y="1719"/>
                      </a:lnTo>
                      <a:lnTo>
                        <a:pt x="3173" y="1703"/>
                      </a:lnTo>
                      <a:lnTo>
                        <a:pt x="3199" y="1684"/>
                      </a:lnTo>
                      <a:lnTo>
                        <a:pt x="3218" y="1663"/>
                      </a:lnTo>
                      <a:lnTo>
                        <a:pt x="3236" y="1641"/>
                      </a:lnTo>
                      <a:lnTo>
                        <a:pt x="3248" y="1620"/>
                      </a:lnTo>
                      <a:lnTo>
                        <a:pt x="3248" y="0"/>
                      </a:lnTo>
                      <a:lnTo>
                        <a:pt x="3236" y="23"/>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sp>
              <p:nvSpPr>
                <p:cNvPr id="150" name="Oval 8">
                  <a:extLst>
                    <a:ext uri="{FF2B5EF4-FFF2-40B4-BE49-F238E27FC236}">
                      <a16:creationId xmlns:a16="http://schemas.microsoft.com/office/drawing/2014/main" id="{80A7073C-2F52-4CF9-A7A9-8D7FEE8D6E90}"/>
                    </a:ext>
                  </a:extLst>
                </p:cNvPr>
                <p:cNvSpPr>
                  <a:spLocks noChangeArrowheads="1"/>
                </p:cNvSpPr>
                <p:nvPr/>
              </p:nvSpPr>
              <p:spPr bwMode="auto">
                <a:xfrm>
                  <a:off x="7566228" y="4556141"/>
                  <a:ext cx="415925" cy="83377"/>
                </a:xfrm>
                <a:prstGeom prst="ellipse">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grpSp>
          <p:sp>
            <p:nvSpPr>
              <p:cNvPr id="148" name="Rechteck 147"/>
              <p:cNvSpPr/>
              <p:nvPr/>
            </p:nvSpPr>
            <p:spPr bwMode="auto">
              <a:xfrm>
                <a:off x="4295800" y="6513028"/>
                <a:ext cx="1152128" cy="396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Übergabe Daten Förderkataster</a:t>
                </a:r>
              </a:p>
            </p:txBody>
          </p:sp>
        </p:grpSp>
        <p:sp>
          <p:nvSpPr>
            <p:cNvPr id="146" name="noun_project_00453.eps"/>
            <p:cNvSpPr>
              <a:spLocks noChangeAspect="1" noEditPoints="1"/>
            </p:cNvSpPr>
            <p:nvPr/>
          </p:nvSpPr>
          <p:spPr bwMode="auto">
            <a:xfrm>
              <a:off x="11352616" y="5188520"/>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1000" b="0" dirty="0">
                <a:latin typeface="+mn-lt"/>
              </a:endParaRPr>
            </a:p>
          </p:txBody>
        </p:sp>
      </p:grpSp>
      <p:grpSp>
        <p:nvGrpSpPr>
          <p:cNvPr id="126" name="Sticker">
            <a:extLst>
              <a:ext uri="{FF2B5EF4-FFF2-40B4-BE49-F238E27FC236}">
                <a16:creationId xmlns:a16="http://schemas.microsoft.com/office/drawing/2014/main" id="{2392D97A-37AD-4446-A63F-47D130AFC840}"/>
              </a:ext>
            </a:extLst>
          </p:cNvPr>
          <p:cNvGrpSpPr/>
          <p:nvPr>
            <p:custDataLst>
              <p:tags r:id="rId2"/>
            </p:custDataLst>
          </p:nvPr>
        </p:nvGrpSpPr>
        <p:grpSpPr>
          <a:xfrm>
            <a:off x="10626341" y="1274763"/>
            <a:ext cx="899413" cy="215444"/>
            <a:chOff x="-326244" y="15388"/>
            <a:chExt cx="899413" cy="215444"/>
          </a:xfrm>
        </p:grpSpPr>
        <p:sp>
          <p:nvSpPr>
            <p:cNvPr id="129" name="Text">
              <a:extLst>
                <a:ext uri="{FF2B5EF4-FFF2-40B4-BE49-F238E27FC236}">
                  <a16:creationId xmlns:a16="http://schemas.microsoft.com/office/drawing/2014/main" id="{F0D3A2E7-E025-45C2-8DE8-78B0804B4B59}"/>
                </a:ext>
              </a:extLst>
            </p:cNvPr>
            <p:cNvSpPr txBox="1"/>
            <p:nvPr>
              <p:custDataLst>
                <p:tags r:id="rId3"/>
              </p:custDataLst>
            </p:nvPr>
          </p:nvSpPr>
          <p:spPr>
            <a:xfrm>
              <a:off x="-326244" y="15388"/>
              <a:ext cx="899413" cy="215444"/>
            </a:xfrm>
            <a:prstGeom prst="leftRightArrow">
              <a:avLst>
                <a:gd name="adj1" fmla="val 100000"/>
                <a:gd name="adj2" fmla="val 0"/>
              </a:avLst>
            </a:prstGeom>
            <a:noFill/>
          </p:spPr>
          <p:txBody>
            <a:bodyPr vert="horz" wrap="none" lIns="0" tIns="0" rIns="0" bIns="0" rtlCol="0" anchor="ctr">
              <a:spAutoFit/>
            </a:bodyPr>
            <a:lstStyle/>
            <a:p>
              <a:pPr algn="r"/>
              <a:r>
                <a:rPr lang="de-DE" sz="1400" cap="all"/>
                <a:t>Vorschlag</a:t>
              </a:r>
              <a:endParaRPr lang="de-DE" sz="1400" cap="all" dirty="0"/>
            </a:p>
          </p:txBody>
        </p:sp>
        <p:cxnSp>
          <p:nvCxnSpPr>
            <p:cNvPr id="130" name="Linie">
              <a:extLst>
                <a:ext uri="{FF2B5EF4-FFF2-40B4-BE49-F238E27FC236}">
                  <a16:creationId xmlns:a16="http://schemas.microsoft.com/office/drawing/2014/main" id="{F26B5AF2-915B-42B9-AE7A-ED2C0554FD5C}"/>
                </a:ext>
              </a:extLst>
            </p:cNvPr>
            <p:cNvCxnSpPr>
              <a:cxnSpLocks/>
              <a:stCxn id="129" idx="2"/>
              <a:endCxn id="129" idx="0"/>
            </p:cNvCxnSpPr>
            <p:nvPr/>
          </p:nvCxnSpPr>
          <p:spPr>
            <a:xfrm>
              <a:off x="-326244" y="15388"/>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1" name="Linie">
              <a:extLst>
                <a:ext uri="{FF2B5EF4-FFF2-40B4-BE49-F238E27FC236}">
                  <a16:creationId xmlns:a16="http://schemas.microsoft.com/office/drawing/2014/main" id="{D2699AC0-5AB4-4732-B271-22E6717AB338}"/>
                </a:ext>
              </a:extLst>
            </p:cNvPr>
            <p:cNvCxnSpPr>
              <a:cxnSpLocks/>
              <a:stCxn id="129" idx="6"/>
              <a:endCxn id="129" idx="4"/>
            </p:cNvCxnSpPr>
            <p:nvPr/>
          </p:nvCxnSpPr>
          <p:spPr>
            <a:xfrm flipH="1">
              <a:off x="-326244" y="230832"/>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31094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1632139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7" imgH="348" progId="TCLayout.ActiveDocument.1">
                  <p:embed/>
                </p:oleObj>
              </mc:Choice>
              <mc:Fallback>
                <p:oleObj name="think-cell Folie" r:id="rId6" imgW="347" imgH="348" progId="TCLayout.ActiveDocument.1">
                  <p:embed/>
                  <p:pic>
                    <p:nvPicPr>
                      <p:cNvPr id="11" name="Objek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Formale Prüfung: Widerspruchsverfahren</a:t>
            </a:r>
          </a:p>
        </p:txBody>
      </p:sp>
      <p:sp>
        <p:nvSpPr>
          <p:cNvPr id="5" name="Foliennummernplatzhalter 4"/>
          <p:cNvSpPr>
            <a:spLocks noGrp="1"/>
          </p:cNvSpPr>
          <p:nvPr>
            <p:ph type="sldNum" sz="quarter" idx="12"/>
          </p:nvPr>
        </p:nvSpPr>
        <p:spPr/>
        <p:txBody>
          <a:bodyPr/>
          <a:lstStyle/>
          <a:p>
            <a:fld id="{D4A18DF9-8FF6-4BA5-BC52-5FB4772E2292}" type="slidenum">
              <a:rPr lang="de-DE" smtClean="0"/>
              <a:pPr/>
              <a:t>12</a:t>
            </a:fld>
            <a:endParaRPr lang="de-DE" dirty="0"/>
          </a:p>
        </p:txBody>
      </p:sp>
      <p:sp>
        <p:nvSpPr>
          <p:cNvPr id="6" name="Textplatzhalter 5"/>
          <p:cNvSpPr>
            <a:spLocks noGrp="1"/>
          </p:cNvSpPr>
          <p:nvPr>
            <p:ph type="body" sz="quarter" idx="14"/>
          </p:nvPr>
        </p:nvSpPr>
        <p:spPr>
          <a:xfrm>
            <a:off x="693211" y="191947"/>
            <a:ext cx="65" cy="123111"/>
          </a:xfrm>
        </p:spPr>
        <p:txBody>
          <a:bodyPr/>
          <a:lstStyle/>
          <a:p>
            <a:endParaRPr lang="de-DE" dirty="0"/>
          </a:p>
        </p:txBody>
      </p:sp>
      <p:sp>
        <p:nvSpPr>
          <p:cNvPr id="7" name="Textplatzhalter 6"/>
          <p:cNvSpPr>
            <a:spLocks noGrp="1"/>
          </p:cNvSpPr>
          <p:nvPr>
            <p:ph type="body" sz="quarter" idx="13"/>
          </p:nvPr>
        </p:nvSpPr>
        <p:spPr>
          <a:xfrm>
            <a:off x="693211" y="1089964"/>
            <a:ext cx="10808493" cy="246221"/>
          </a:xfrm>
        </p:spPr>
        <p:txBody>
          <a:bodyPr/>
          <a:lstStyle/>
          <a:p>
            <a:r>
              <a:rPr lang="de-DE" dirty="0"/>
              <a:t>Vorlagen Checkliste</a:t>
            </a:r>
          </a:p>
        </p:txBody>
      </p:sp>
      <p:graphicFrame>
        <p:nvGraphicFramePr>
          <p:cNvPr id="12" name="Tabelle 11"/>
          <p:cNvGraphicFramePr>
            <a:graphicFrameLocks noGrp="1"/>
          </p:cNvGraphicFramePr>
          <p:nvPr>
            <p:extLst>
              <p:ext uri="{D42A27DB-BD31-4B8C-83A1-F6EECF244321}">
                <p14:modId xmlns:p14="http://schemas.microsoft.com/office/powerpoint/2010/main" val="4059683381"/>
              </p:ext>
            </p:extLst>
          </p:nvPr>
        </p:nvGraphicFramePr>
        <p:xfrm>
          <a:off x="695359" y="1630760"/>
          <a:ext cx="10806345" cy="4511040"/>
        </p:xfrm>
        <a:graphic>
          <a:graphicData uri="http://schemas.openxmlformats.org/drawingml/2006/table">
            <a:tbl>
              <a:tblPr firstRow="1" bandRow="1">
                <a:tableStyleId>{5C22544A-7EE6-4342-B048-85BDC9FD1C3A}</a:tableStyleId>
              </a:tblPr>
              <a:tblGrid>
                <a:gridCol w="1754436">
                  <a:extLst>
                    <a:ext uri="{9D8B030D-6E8A-4147-A177-3AD203B41FA5}">
                      <a16:colId xmlns:a16="http://schemas.microsoft.com/office/drawing/2014/main" val="3961776024"/>
                    </a:ext>
                  </a:extLst>
                </a:gridCol>
                <a:gridCol w="1894712">
                  <a:extLst>
                    <a:ext uri="{9D8B030D-6E8A-4147-A177-3AD203B41FA5}">
                      <a16:colId xmlns:a16="http://schemas.microsoft.com/office/drawing/2014/main" val="2441736923"/>
                    </a:ext>
                  </a:extLst>
                </a:gridCol>
                <a:gridCol w="1559263">
                  <a:extLst>
                    <a:ext uri="{9D8B030D-6E8A-4147-A177-3AD203B41FA5}">
                      <a16:colId xmlns:a16="http://schemas.microsoft.com/office/drawing/2014/main" val="3177767942"/>
                    </a:ext>
                  </a:extLst>
                </a:gridCol>
                <a:gridCol w="1352310">
                  <a:extLst>
                    <a:ext uri="{9D8B030D-6E8A-4147-A177-3AD203B41FA5}">
                      <a16:colId xmlns:a16="http://schemas.microsoft.com/office/drawing/2014/main" val="3739456346"/>
                    </a:ext>
                  </a:extLst>
                </a:gridCol>
                <a:gridCol w="4245624">
                  <a:extLst>
                    <a:ext uri="{9D8B030D-6E8A-4147-A177-3AD203B41FA5}">
                      <a16:colId xmlns:a16="http://schemas.microsoft.com/office/drawing/2014/main" val="624120403"/>
                    </a:ext>
                  </a:extLst>
                </a:gridCol>
              </a:tblGrid>
              <a:tr h="370840">
                <a:tc>
                  <a:txBody>
                    <a:bodyPr/>
                    <a:lstStyle/>
                    <a:p>
                      <a:pPr rtl="0"/>
                      <a:r>
                        <a:rPr lang="de-DE" sz="1400" dirty="0"/>
                        <a:t>Kriterium</a:t>
                      </a:r>
                    </a:p>
                  </a:txBody>
                  <a:tcPr/>
                </a:tc>
                <a:tc>
                  <a:txBody>
                    <a:bodyPr/>
                    <a:lstStyle/>
                    <a:p>
                      <a:pPr rtl="0"/>
                      <a:r>
                        <a:rPr lang="de-DE" sz="1400" dirty="0"/>
                        <a:t>Quelle</a:t>
                      </a:r>
                    </a:p>
                  </a:txBody>
                  <a:tcPr/>
                </a:tc>
                <a:tc>
                  <a:txBody>
                    <a:bodyPr/>
                    <a:lstStyle/>
                    <a:p>
                      <a:pPr rtl="0"/>
                      <a:r>
                        <a:rPr lang="de-DE" sz="1400" dirty="0"/>
                        <a:t>Pflichtangabe</a:t>
                      </a:r>
                    </a:p>
                  </a:txBody>
                  <a:tcPr/>
                </a:tc>
                <a:tc>
                  <a:txBody>
                    <a:bodyPr/>
                    <a:lstStyle/>
                    <a:p>
                      <a:pPr rtl="0"/>
                      <a:r>
                        <a:rPr lang="de-DE" sz="1400" dirty="0"/>
                        <a:t>Ermessens-</a:t>
                      </a:r>
                      <a:r>
                        <a:rPr lang="de-DE" sz="1400" dirty="0" err="1"/>
                        <a:t>spielraum</a:t>
                      </a:r>
                      <a:endParaRPr lang="de-DE" sz="1400" dirty="0"/>
                    </a:p>
                  </a:txBody>
                  <a:tcPr/>
                </a:tc>
                <a:tc>
                  <a:txBody>
                    <a:bodyPr/>
                    <a:lstStyle/>
                    <a:p>
                      <a:pPr rtl="0"/>
                      <a:r>
                        <a:rPr lang="de-DE" sz="1400" dirty="0"/>
                        <a:t>Datenfeldtyp, ggf. Berechnungsregel, Attribute</a:t>
                      </a:r>
                    </a:p>
                  </a:txBody>
                  <a:tcPr/>
                </a:tc>
                <a:extLst>
                  <a:ext uri="{0D108BD9-81ED-4DB2-BD59-A6C34878D82A}">
                    <a16:rowId xmlns:a16="http://schemas.microsoft.com/office/drawing/2014/main" val="3519638733"/>
                  </a:ext>
                </a:extLst>
              </a:tr>
              <a:tr h="370840">
                <a:tc>
                  <a:txBody>
                    <a:bodyPr/>
                    <a:lstStyle/>
                    <a:p>
                      <a:pPr rtl="0"/>
                      <a:r>
                        <a:rPr lang="de-DE" sz="1200" dirty="0">
                          <a:solidFill>
                            <a:schemeClr val="tx1"/>
                          </a:solidFill>
                          <a:latin typeface="+mn-lt"/>
                        </a:rPr>
                        <a:t>Zuständigkeit</a:t>
                      </a:r>
                    </a:p>
                    <a:p>
                      <a:pPr rtl="0"/>
                      <a:r>
                        <a:rPr lang="de-DE" sz="800" dirty="0">
                          <a:solidFill>
                            <a:schemeClr val="tx1"/>
                          </a:solidFill>
                          <a:latin typeface="+mn-lt"/>
                        </a:rPr>
                        <a:t>Beachte: Fallen</a:t>
                      </a:r>
                      <a:r>
                        <a:rPr lang="de-DE" sz="800" baseline="0" dirty="0">
                          <a:solidFill>
                            <a:schemeClr val="tx1"/>
                          </a:solidFill>
                          <a:latin typeface="+mn-lt"/>
                        </a:rPr>
                        <a:t> Ausgangsbehörde und Widerspruchsbehörde auseinander, wird die Frist auch nach § 70 Abs. 1 Satz 2 VwGO gewahrt.</a:t>
                      </a:r>
                      <a:endParaRPr lang="de-DE" sz="800" dirty="0">
                        <a:solidFill>
                          <a:schemeClr val="tx1"/>
                        </a:solidFill>
                        <a:latin typeface="+mn-lt"/>
                      </a:endParaRPr>
                    </a:p>
                  </a:txBody>
                  <a:tcPr/>
                </a:tc>
                <a:tc>
                  <a:txBody>
                    <a:bodyPr/>
                    <a:lstStyle/>
                    <a:p>
                      <a:pPr rtl="0"/>
                      <a:r>
                        <a:rPr lang="de-DE" sz="1200" kern="1200" dirty="0">
                          <a:solidFill>
                            <a:schemeClr val="tx1"/>
                          </a:solidFill>
                          <a:latin typeface="+mn-lt"/>
                          <a:ea typeface="+mn-ea"/>
                          <a:cs typeface="+mn-cs"/>
                        </a:rPr>
                        <a:t>§ 70 Abs. 1 Satz</a:t>
                      </a:r>
                      <a:r>
                        <a:rPr lang="de-DE" sz="1200" kern="1200" baseline="0" dirty="0">
                          <a:solidFill>
                            <a:schemeClr val="tx1"/>
                          </a:solidFill>
                          <a:latin typeface="+mn-lt"/>
                          <a:ea typeface="+mn-ea"/>
                          <a:cs typeface="+mn-cs"/>
                        </a:rPr>
                        <a:t> 1</a:t>
                      </a:r>
                      <a:r>
                        <a:rPr lang="de-DE" sz="1200" kern="1200" dirty="0">
                          <a:solidFill>
                            <a:schemeClr val="tx1"/>
                          </a:solidFill>
                          <a:latin typeface="+mn-lt"/>
                          <a:ea typeface="+mn-ea"/>
                          <a:cs typeface="+mn-cs"/>
                        </a:rPr>
                        <a:t> VwGO, Zuwendungsbescheid</a:t>
                      </a:r>
                    </a:p>
                  </a:txBody>
                  <a:tcPr/>
                </a:tc>
                <a:tc>
                  <a:txBody>
                    <a:bodyPr/>
                    <a:lstStyle/>
                    <a:p>
                      <a:pPr rtl="0"/>
                      <a:r>
                        <a:rPr kumimoji="0" lang="de-DE" sz="1200" b="0" i="0" u="none" strike="noStrike" kern="1200" cap="none" spc="0" normalizeH="0" baseline="0" noProof="0" dirty="0">
                          <a:ln>
                            <a:noFill/>
                          </a:ln>
                          <a:solidFill>
                            <a:schemeClr val="tx1"/>
                          </a:solidFill>
                          <a:effectLst/>
                          <a:uLnTx/>
                          <a:uFillTx/>
                          <a:latin typeface="+mn-lt"/>
                          <a:ea typeface="+mn-ea"/>
                          <a:cs typeface="+mn-cs"/>
                        </a:rPr>
                        <a:t>Pflichtbewertung</a:t>
                      </a:r>
                      <a:endParaRPr lang="de-DE" sz="1200" dirty="0">
                        <a:solidFill>
                          <a:schemeClr val="tx1"/>
                        </a:solidFill>
                        <a:latin typeface="+mn-lt"/>
                      </a:endParaRPr>
                    </a:p>
                  </a:txBody>
                  <a:tcPr/>
                </a:tc>
                <a:tc>
                  <a:txBody>
                    <a:bodyPr/>
                    <a:lstStyle/>
                    <a:p>
                      <a:pPr rtl="0"/>
                      <a:r>
                        <a:rPr lang="de-DE" sz="1200" dirty="0">
                          <a:solidFill>
                            <a:schemeClr val="tx1"/>
                          </a:solidFill>
                          <a:latin typeface="+mn-lt"/>
                        </a:rPr>
                        <a:t>Nein</a:t>
                      </a:r>
                    </a:p>
                  </a:txBody>
                  <a:tcPr/>
                </a:tc>
                <a:tc>
                  <a:txBody>
                    <a:bodyPr/>
                    <a:lstStyle/>
                    <a:p>
                      <a:pPr rtl="0"/>
                      <a:r>
                        <a:rPr lang="de-DE" sz="1200" dirty="0">
                          <a:solidFill>
                            <a:schemeClr val="tx1"/>
                          </a:solidFill>
                          <a:latin typeface="+mn-lt"/>
                        </a:rPr>
                        <a:t>Ja, Nein</a:t>
                      </a:r>
                    </a:p>
                    <a:p>
                      <a:pPr rtl="0"/>
                      <a:r>
                        <a:rPr lang="de-DE" sz="1000" dirty="0">
                          <a:solidFill>
                            <a:schemeClr val="tx1"/>
                          </a:solidFill>
                          <a:latin typeface="+mn-lt"/>
                        </a:rPr>
                        <a:t>Immer gegeben, es gibt nur eine zuständige Behörde</a:t>
                      </a:r>
                      <a:r>
                        <a:rPr lang="de-DE" sz="1000" baseline="0" dirty="0">
                          <a:solidFill>
                            <a:schemeClr val="tx1"/>
                          </a:solidFill>
                          <a:latin typeface="+mn-lt"/>
                        </a:rPr>
                        <a:t> für </a:t>
                      </a:r>
                      <a:r>
                        <a:rPr lang="de-DE" sz="1000" baseline="0">
                          <a:solidFill>
                            <a:schemeClr val="tx1"/>
                          </a:solidFill>
                          <a:latin typeface="+mn-lt"/>
                        </a:rPr>
                        <a:t>eine Verwaltungsleistung</a:t>
                      </a:r>
                      <a:endParaRPr lang="de-DE" sz="1000" dirty="0">
                        <a:solidFill>
                          <a:schemeClr val="tx1"/>
                        </a:solidFill>
                        <a:latin typeface="+mn-lt"/>
                      </a:endParaRPr>
                    </a:p>
                  </a:txBody>
                  <a:tcPr/>
                </a:tc>
                <a:extLst>
                  <a:ext uri="{0D108BD9-81ED-4DB2-BD59-A6C34878D82A}">
                    <a16:rowId xmlns:a16="http://schemas.microsoft.com/office/drawing/2014/main" val="1900716892"/>
                  </a:ext>
                </a:extLst>
              </a:tr>
              <a:tr h="370840">
                <a:tc>
                  <a:txBody>
                    <a:bodyPr/>
                    <a:lstStyle/>
                    <a:p>
                      <a:pPr rtl="0"/>
                      <a:r>
                        <a:rPr lang="de-DE" sz="1200" dirty="0">
                          <a:solidFill>
                            <a:schemeClr val="tx1"/>
                          </a:solidFill>
                          <a:latin typeface="+mn-lt"/>
                        </a:rPr>
                        <a:t>Widerspruchs-berechtigung</a:t>
                      </a:r>
                    </a:p>
                  </a:txBody>
                  <a:tcPr/>
                </a:tc>
                <a:tc>
                  <a:txBody>
                    <a:bodyPr/>
                    <a:lstStyle/>
                    <a:p>
                      <a:pPr rtl="0"/>
                      <a:r>
                        <a:rPr lang="de-DE" sz="1200" dirty="0">
                          <a:solidFill>
                            <a:schemeClr val="tx1"/>
                          </a:solidFill>
                          <a:latin typeface="+mn-lt"/>
                        </a:rPr>
                        <a:t>Zuwendungsbescheid</a:t>
                      </a:r>
                    </a:p>
                  </a:txBody>
                  <a:tcPr/>
                </a:tc>
                <a:tc>
                  <a:txBody>
                    <a:bodyPr/>
                    <a:lstStyle/>
                    <a:p>
                      <a:pPr rtl="0"/>
                      <a:r>
                        <a:rPr lang="de-DE" sz="1200" dirty="0">
                          <a:solidFill>
                            <a:schemeClr val="tx1"/>
                          </a:solidFill>
                          <a:latin typeface="+mn-lt"/>
                        </a:rPr>
                        <a:t>Pflichtbewertung</a:t>
                      </a:r>
                    </a:p>
                  </a:txBody>
                  <a:tcPr/>
                </a:tc>
                <a:tc>
                  <a:txBody>
                    <a:bodyPr/>
                    <a:lstStyle/>
                    <a:p>
                      <a:pPr rtl="0"/>
                      <a:r>
                        <a:rPr lang="de-DE" sz="1200" dirty="0">
                          <a:solidFill>
                            <a:schemeClr val="tx1"/>
                          </a:solidFill>
                          <a:latin typeface="+mn-lt"/>
                        </a:rPr>
                        <a:t>Ne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txBody>
                  <a:tcPr/>
                </a:tc>
                <a:extLst>
                  <a:ext uri="{0D108BD9-81ED-4DB2-BD59-A6C34878D82A}">
                    <a16:rowId xmlns:a16="http://schemas.microsoft.com/office/drawing/2014/main" val="653136763"/>
                  </a:ext>
                </a:extLst>
              </a:tr>
              <a:tr h="370840">
                <a:tc>
                  <a:txBody>
                    <a:bodyPr/>
                    <a:lstStyle/>
                    <a:p>
                      <a:pPr rtl="0"/>
                      <a:r>
                        <a:rPr lang="de-DE" sz="1200" dirty="0">
                          <a:solidFill>
                            <a:schemeClr val="tx1"/>
                          </a:solidFill>
                          <a:latin typeface="+mn-lt"/>
                        </a:rPr>
                        <a:t>Kontaktdaten</a:t>
                      </a:r>
                      <a:r>
                        <a:rPr lang="de-DE" sz="1200" baseline="0" dirty="0">
                          <a:solidFill>
                            <a:schemeClr val="tx1"/>
                          </a:solidFill>
                          <a:latin typeface="+mn-lt"/>
                        </a:rPr>
                        <a:t> Antragssteller/Zuwendungsempfänger</a:t>
                      </a:r>
                      <a:endParaRPr lang="de-DE" sz="1200" dirty="0">
                        <a:solidFill>
                          <a:schemeClr val="tx1"/>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Allg. Arbeitsanweisung</a:t>
                      </a:r>
                    </a:p>
                  </a:txBody>
                  <a:tcPr/>
                </a:tc>
                <a:tc>
                  <a:txBody>
                    <a:bodyPr/>
                    <a:lstStyle/>
                    <a:p>
                      <a:pPr rtl="0"/>
                      <a:r>
                        <a:rPr lang="de-DE" sz="1200" dirty="0">
                          <a:solidFill>
                            <a:schemeClr val="tx1"/>
                          </a:solidFill>
                          <a:latin typeface="+mn-lt"/>
                        </a:rPr>
                        <a:t>Pflichtbewertu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Nein, ggf. Nachfrag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txBody>
                  <a:tcPr/>
                </a:tc>
                <a:extLst>
                  <a:ext uri="{0D108BD9-81ED-4DB2-BD59-A6C34878D82A}">
                    <a16:rowId xmlns:a16="http://schemas.microsoft.com/office/drawing/2014/main" val="44792172"/>
                  </a:ext>
                </a:extLst>
              </a:tr>
              <a:tr h="370840">
                <a:tc>
                  <a:txBody>
                    <a:bodyPr/>
                    <a:lstStyle/>
                    <a:p>
                      <a:pPr rtl="0"/>
                      <a:r>
                        <a:rPr lang="de-DE" sz="1200" dirty="0">
                          <a:solidFill>
                            <a:schemeClr val="tx1"/>
                          </a:solidFill>
                          <a:latin typeface="+mn-lt"/>
                        </a:rPr>
                        <a:t>Formell korrekt (</a:t>
                      </a:r>
                      <a:r>
                        <a:rPr lang="de-DE" sz="1200" kern="1200" dirty="0">
                          <a:solidFill>
                            <a:schemeClr val="tx1"/>
                          </a:solidFill>
                          <a:latin typeface="+mn-lt"/>
                          <a:ea typeface="+mn-ea"/>
                          <a:cs typeface="+mn-cs"/>
                        </a:rPr>
                        <a:t>Form)</a:t>
                      </a:r>
                    </a:p>
                  </a:txBody>
                  <a:tcPr/>
                </a:tc>
                <a:tc>
                  <a:txBody>
                    <a:bodyPr/>
                    <a:lstStyle/>
                    <a:p>
                      <a:pPr rtl="0"/>
                      <a:r>
                        <a:rPr lang="de-DE" sz="1200" dirty="0">
                          <a:solidFill>
                            <a:schemeClr val="tx1"/>
                          </a:solidFill>
                          <a:latin typeface="+mn-lt"/>
                        </a:rPr>
                        <a:t>§ 70 Abs. 1 Satz 1 VwGO</a:t>
                      </a:r>
                    </a:p>
                  </a:txBody>
                  <a:tcPr/>
                </a:tc>
                <a:tc>
                  <a:txBody>
                    <a:bodyPr/>
                    <a:lstStyle/>
                    <a:p>
                      <a:pPr rtl="0"/>
                      <a:r>
                        <a:rPr lang="de-DE" sz="1200" dirty="0">
                          <a:solidFill>
                            <a:schemeClr val="tx1"/>
                          </a:solidFill>
                          <a:latin typeface="+mn-lt"/>
                        </a:rPr>
                        <a:t>Pflichtbewertu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Ne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Ja, Nein </a:t>
                      </a:r>
                      <a:r>
                        <a:rPr kumimoji="0" lang="de-DE" sz="1200" b="0" i="0" u="none" strike="noStrike" kern="1200" cap="none" spc="0" normalizeH="0" baseline="0" noProof="0" dirty="0">
                          <a:ln>
                            <a:noFill/>
                          </a:ln>
                          <a:solidFill>
                            <a:schemeClr val="tx1"/>
                          </a:solidFill>
                          <a:effectLst/>
                          <a:uLnTx/>
                          <a:uFillTx/>
                          <a:latin typeface="+mn-lt"/>
                          <a:ea typeface="+mn-ea"/>
                          <a:cs typeface="+mn-cs"/>
                        </a:rPr>
                        <a:t>plus Freitextfeld für eine Kommentier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chemeClr val="tx1"/>
                          </a:solidFill>
                          <a:effectLst/>
                          <a:uLnTx/>
                          <a:uFillTx/>
                          <a:latin typeface="+mn-lt"/>
                          <a:ea typeface="+mn-ea"/>
                          <a:cs typeface="+mn-cs"/>
                        </a:rPr>
                        <a:t>Immer gegeben bei Online und Schriftlich, Mündlich mit Niederschrift</a:t>
                      </a:r>
                    </a:p>
                  </a:txBody>
                  <a:tcPr/>
                </a:tc>
                <a:extLst>
                  <a:ext uri="{0D108BD9-81ED-4DB2-BD59-A6C34878D82A}">
                    <a16:rowId xmlns:a16="http://schemas.microsoft.com/office/drawing/2014/main" val="228056639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Kontaktdaten Ansprechpartn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dirty="0">
                          <a:ln>
                            <a:noFill/>
                          </a:ln>
                          <a:solidFill>
                            <a:schemeClr val="tx1"/>
                          </a:solidFill>
                          <a:effectLst/>
                          <a:uLnTx/>
                          <a:uFillTx/>
                          <a:latin typeface="+mn-lt"/>
                          <a:ea typeface="+mn-ea"/>
                          <a:cs typeface="+mn-cs"/>
                        </a:rPr>
                        <a:t>VV §§ 44 </a:t>
                      </a:r>
                      <a:r>
                        <a:rPr kumimoji="0" lang="de-DE" sz="1200" b="0" i="0" u="none" strike="noStrike" kern="1200" cap="none" spc="0" normalizeH="0" baseline="0" noProof="0" dirty="0">
                          <a:ln>
                            <a:noFill/>
                          </a:ln>
                          <a:solidFill>
                            <a:schemeClr val="tx1"/>
                          </a:solidFill>
                          <a:effectLst/>
                          <a:uLnTx/>
                          <a:uFillTx/>
                          <a:latin typeface="+mn-lt"/>
                          <a:ea typeface="+mn-ea"/>
                          <a:cs typeface="+mn-cs"/>
                        </a:rPr>
                        <a:t>BHO/</a:t>
                      </a:r>
                      <a:r>
                        <a:rPr kumimoji="0" lang="de-DE" sz="1200" b="0" i="0" u="none" strike="noStrike" kern="1200" cap="none" spc="0" normalizeH="0" baseline="0" dirty="0">
                          <a:ln>
                            <a:noFill/>
                          </a:ln>
                          <a:solidFill>
                            <a:schemeClr val="tx1"/>
                          </a:solidFill>
                          <a:effectLst/>
                          <a:uLnTx/>
                          <a:uFillTx/>
                          <a:latin typeface="+mn-lt"/>
                          <a:ea typeface="+mn-ea"/>
                          <a:cs typeface="+mn-cs"/>
                        </a:rPr>
                        <a:t>LHO, Muster 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Pflichtbewertu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Nein, ggf. Nachfrag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Wird durch Online-Formular geprüft, Übernahme Ergebnis in </a:t>
                      </a:r>
                      <a:r>
                        <a:rPr kumimoji="0" lang="de-DE" sz="1000" b="0" i="0" u="none" strike="noStrike" kern="1200" cap="none" spc="0" normalizeH="0" baseline="0" noProof="0" dirty="0">
                          <a:ln>
                            <a:noFill/>
                          </a:ln>
                          <a:solidFill>
                            <a:schemeClr val="tx1"/>
                          </a:solidFill>
                          <a:effectLst/>
                          <a:uLnTx/>
                          <a:uFillTx/>
                          <a:latin typeface="+mn-lt"/>
                          <a:ea typeface="+mn-ea"/>
                          <a:cs typeface="+mn-cs"/>
                        </a:rPr>
                        <a:t>Checkliste, Daten werden dem Prüfvermerk zur Verfügung gestel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chemeClr val="tx1"/>
                          </a:solidFill>
                          <a:effectLst/>
                          <a:uLnTx/>
                          <a:uFillTx/>
                          <a:latin typeface="+mn-lt"/>
                          <a:ea typeface="+mn-ea"/>
                          <a:cs typeface="+mn-cs"/>
                        </a:rPr>
                        <a:t>Teil der Erklärungen im Formular</a:t>
                      </a:r>
                    </a:p>
                  </a:txBody>
                  <a:tcPr/>
                </a:tc>
                <a:extLst>
                  <a:ext uri="{0D108BD9-81ED-4DB2-BD59-A6C34878D82A}">
                    <a16:rowId xmlns:a16="http://schemas.microsoft.com/office/drawing/2014/main" val="3014049517"/>
                  </a:ext>
                </a:extLst>
              </a:tr>
              <a:tr h="370840">
                <a:tc>
                  <a:txBody>
                    <a:bodyPr/>
                    <a:lstStyle/>
                    <a:p>
                      <a:pPr rtl="0"/>
                      <a:r>
                        <a:rPr lang="de-DE" sz="1200" dirty="0">
                          <a:solidFill>
                            <a:schemeClr val="tx1"/>
                          </a:solidFill>
                          <a:latin typeface="+mn-lt"/>
                        </a:rPr>
                        <a:t>Fristgerechte</a:t>
                      </a:r>
                      <a:r>
                        <a:rPr lang="de-DE" sz="1200" baseline="0" dirty="0">
                          <a:solidFill>
                            <a:schemeClr val="tx1"/>
                          </a:solidFill>
                          <a:latin typeface="+mn-lt"/>
                        </a:rPr>
                        <a:t> Einreich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tx1"/>
                          </a:solidFill>
                          <a:effectLst/>
                          <a:uLnTx/>
                          <a:uFillTx/>
                          <a:latin typeface="+mn-lt"/>
                          <a:ea typeface="+mn-ea"/>
                          <a:cs typeface="+mn-cs"/>
                        </a:rPr>
                        <a:t>Beachte: Fallen Ausgangsbehörde und Widerspruchsbehörde auseinander, wird die Frist auch nach § 70 Abs. 1 Satz 2 VwGO gewahrt.</a:t>
                      </a:r>
                    </a:p>
                    <a:p>
                      <a:pPr rtl="0"/>
                      <a:endParaRPr lang="de-DE" sz="1200" dirty="0">
                        <a:solidFill>
                          <a:schemeClr val="tx1"/>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BHO/LHO, Zuwendungsbescheid</a:t>
                      </a:r>
                    </a:p>
                  </a:txBody>
                  <a:tcPr/>
                </a:tc>
                <a:tc>
                  <a:txBody>
                    <a:bodyPr/>
                    <a:lstStyle/>
                    <a:p>
                      <a:pPr rtl="0"/>
                      <a:r>
                        <a:rPr lang="de-DE" sz="1200" dirty="0">
                          <a:solidFill>
                            <a:schemeClr val="tx1"/>
                          </a:solidFill>
                          <a:latin typeface="+mn-lt"/>
                        </a:rPr>
                        <a:t>Pflichtbewertu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latin typeface="+mn-lt"/>
                        </a:rPr>
                        <a:t>Ne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p>
                      <a:pPr marL="0" algn="l" defTabSz="914400" rtl="0" eaLnBrk="1" latinLnBrk="0" hangingPunct="1"/>
                      <a:r>
                        <a:rPr lang="de-DE" sz="1000" kern="1200" dirty="0">
                          <a:solidFill>
                            <a:schemeClr val="tx1"/>
                          </a:solidFill>
                          <a:latin typeface="+mn-lt"/>
                          <a:ea typeface="+mn-ea"/>
                          <a:cs typeface="+mn-cs"/>
                        </a:rPr>
                        <a:t>4 Wochen +</a:t>
                      </a:r>
                      <a:r>
                        <a:rPr lang="de-DE" sz="1000" kern="1200" baseline="0" dirty="0">
                          <a:solidFill>
                            <a:schemeClr val="tx1"/>
                          </a:solidFill>
                          <a:latin typeface="+mn-lt"/>
                          <a:ea typeface="+mn-ea"/>
                          <a:cs typeface="+mn-cs"/>
                        </a:rPr>
                        <a:t> 3 Tage nach Versand plus alternative Regeln bei elektronischer Bereitstellung</a:t>
                      </a:r>
                      <a:endParaRPr lang="de-DE" sz="1000" kern="1200" dirty="0">
                        <a:solidFill>
                          <a:schemeClr val="tx1"/>
                        </a:solidFill>
                        <a:latin typeface="+mn-lt"/>
                        <a:ea typeface="+mn-ea"/>
                        <a:cs typeface="+mn-cs"/>
                      </a:endParaRPr>
                    </a:p>
                  </a:txBody>
                  <a:tcPr/>
                </a:tc>
                <a:extLst>
                  <a:ext uri="{0D108BD9-81ED-4DB2-BD59-A6C34878D82A}">
                    <a16:rowId xmlns:a16="http://schemas.microsoft.com/office/drawing/2014/main" val="456303060"/>
                  </a:ext>
                </a:extLst>
              </a:tr>
            </a:tbl>
          </a:graphicData>
        </a:graphic>
      </p:graphicFrame>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grpSp>
        <p:nvGrpSpPr>
          <p:cNvPr id="15" name="Sticker">
            <a:extLst>
              <a:ext uri="{FF2B5EF4-FFF2-40B4-BE49-F238E27FC236}">
                <a16:creationId xmlns:a16="http://schemas.microsoft.com/office/drawing/2014/main" id="{2392D97A-37AD-4446-A63F-47D130AFC840}"/>
              </a:ext>
            </a:extLst>
          </p:cNvPr>
          <p:cNvGrpSpPr/>
          <p:nvPr>
            <p:custDataLst>
              <p:tags r:id="rId2"/>
            </p:custDataLst>
          </p:nvPr>
        </p:nvGrpSpPr>
        <p:grpSpPr>
          <a:xfrm>
            <a:off x="10626341" y="1274763"/>
            <a:ext cx="899413" cy="215444"/>
            <a:chOff x="-326244" y="15388"/>
            <a:chExt cx="899413" cy="215444"/>
          </a:xfrm>
        </p:grpSpPr>
        <p:sp>
          <p:nvSpPr>
            <p:cNvPr id="16" name="Text">
              <a:extLst>
                <a:ext uri="{FF2B5EF4-FFF2-40B4-BE49-F238E27FC236}">
                  <a16:creationId xmlns:a16="http://schemas.microsoft.com/office/drawing/2014/main" id="{F0D3A2E7-E025-45C2-8DE8-78B0804B4B59}"/>
                </a:ext>
              </a:extLst>
            </p:cNvPr>
            <p:cNvSpPr txBox="1"/>
            <p:nvPr>
              <p:custDataLst>
                <p:tags r:id="rId3"/>
              </p:custDataLst>
            </p:nvPr>
          </p:nvSpPr>
          <p:spPr>
            <a:xfrm>
              <a:off x="-326244" y="15388"/>
              <a:ext cx="899413" cy="215444"/>
            </a:xfrm>
            <a:prstGeom prst="leftRightArrow">
              <a:avLst>
                <a:gd name="adj1" fmla="val 100000"/>
                <a:gd name="adj2" fmla="val 0"/>
              </a:avLst>
            </a:prstGeom>
            <a:noFill/>
          </p:spPr>
          <p:txBody>
            <a:bodyPr vert="horz" wrap="none" lIns="0" tIns="0" rIns="0" bIns="0" rtlCol="0" anchor="ctr">
              <a:spAutoFit/>
            </a:bodyPr>
            <a:lstStyle/>
            <a:p>
              <a:pPr algn="r"/>
              <a:r>
                <a:rPr lang="de-DE" sz="1400" cap="all"/>
                <a:t>Vorschlag</a:t>
              </a:r>
              <a:endParaRPr lang="de-DE" sz="1400" cap="all" dirty="0"/>
            </a:p>
          </p:txBody>
        </p:sp>
        <p:cxnSp>
          <p:nvCxnSpPr>
            <p:cNvPr id="17" name="Linie">
              <a:extLst>
                <a:ext uri="{FF2B5EF4-FFF2-40B4-BE49-F238E27FC236}">
                  <a16:creationId xmlns:a16="http://schemas.microsoft.com/office/drawing/2014/main" id="{F26B5AF2-915B-42B9-AE7A-ED2C0554FD5C}"/>
                </a:ext>
              </a:extLst>
            </p:cNvPr>
            <p:cNvCxnSpPr>
              <a:cxnSpLocks/>
              <a:stCxn id="16" idx="2"/>
              <a:endCxn id="16" idx="0"/>
            </p:cNvCxnSpPr>
            <p:nvPr/>
          </p:nvCxnSpPr>
          <p:spPr>
            <a:xfrm>
              <a:off x="-326244" y="15388"/>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8" name="Linie">
              <a:extLst>
                <a:ext uri="{FF2B5EF4-FFF2-40B4-BE49-F238E27FC236}">
                  <a16:creationId xmlns:a16="http://schemas.microsoft.com/office/drawing/2014/main" id="{D2699AC0-5AB4-4732-B271-22E6717AB338}"/>
                </a:ext>
              </a:extLst>
            </p:cNvPr>
            <p:cNvCxnSpPr>
              <a:cxnSpLocks/>
              <a:stCxn id="16" idx="6"/>
              <a:endCxn id="16" idx="4"/>
            </p:cNvCxnSpPr>
            <p:nvPr/>
          </p:nvCxnSpPr>
          <p:spPr>
            <a:xfrm flipH="1">
              <a:off x="-326244" y="230832"/>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09220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116423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7" imgH="348" progId="TCLayout.ActiveDocument.1">
                  <p:embed/>
                </p:oleObj>
              </mc:Choice>
              <mc:Fallback>
                <p:oleObj name="think-cell Folie" r:id="rId6" imgW="347" imgH="348" progId="TCLayout.ActiveDocument.1">
                  <p:embed/>
                  <p:pic>
                    <p:nvPicPr>
                      <p:cNvPr id="11" name="Objekt 10" hidden="1"/>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1961423683"/>
              </p:ext>
            </p:extLst>
          </p:nvPr>
        </p:nvGraphicFramePr>
        <p:xfrm>
          <a:off x="702652" y="1630760"/>
          <a:ext cx="10799052" cy="4693920"/>
        </p:xfrm>
        <a:graphic>
          <a:graphicData uri="http://schemas.openxmlformats.org/drawingml/2006/table">
            <a:tbl>
              <a:tblPr firstRow="1" bandRow="1">
                <a:tableStyleId>{5C22544A-7EE6-4342-B048-85BDC9FD1C3A}</a:tableStyleId>
              </a:tblPr>
              <a:tblGrid>
                <a:gridCol w="1753252">
                  <a:extLst>
                    <a:ext uri="{9D8B030D-6E8A-4147-A177-3AD203B41FA5}">
                      <a16:colId xmlns:a16="http://schemas.microsoft.com/office/drawing/2014/main" val="3961776024"/>
                    </a:ext>
                  </a:extLst>
                </a:gridCol>
                <a:gridCol w="1893433">
                  <a:extLst>
                    <a:ext uri="{9D8B030D-6E8A-4147-A177-3AD203B41FA5}">
                      <a16:colId xmlns:a16="http://schemas.microsoft.com/office/drawing/2014/main" val="2441736923"/>
                    </a:ext>
                  </a:extLst>
                </a:gridCol>
                <a:gridCol w="1288735">
                  <a:extLst>
                    <a:ext uri="{9D8B030D-6E8A-4147-A177-3AD203B41FA5}">
                      <a16:colId xmlns:a16="http://schemas.microsoft.com/office/drawing/2014/main" val="3177767942"/>
                    </a:ext>
                  </a:extLst>
                </a:gridCol>
                <a:gridCol w="1171074">
                  <a:extLst>
                    <a:ext uri="{9D8B030D-6E8A-4147-A177-3AD203B41FA5}">
                      <a16:colId xmlns:a16="http://schemas.microsoft.com/office/drawing/2014/main" val="3739456346"/>
                    </a:ext>
                  </a:extLst>
                </a:gridCol>
                <a:gridCol w="4692558">
                  <a:extLst>
                    <a:ext uri="{9D8B030D-6E8A-4147-A177-3AD203B41FA5}">
                      <a16:colId xmlns:a16="http://schemas.microsoft.com/office/drawing/2014/main" val="624120403"/>
                    </a:ext>
                  </a:extLst>
                </a:gridCol>
              </a:tblGrid>
              <a:tr h="370840">
                <a:tc>
                  <a:txBody>
                    <a:bodyPr/>
                    <a:lstStyle/>
                    <a:p>
                      <a:pPr rtl="0"/>
                      <a:r>
                        <a:rPr lang="de-DE" sz="1400" dirty="0">
                          <a:latin typeface="+mj-lt"/>
                        </a:rPr>
                        <a:t>Kriterium</a:t>
                      </a:r>
                    </a:p>
                  </a:txBody>
                  <a:tcPr/>
                </a:tc>
                <a:tc>
                  <a:txBody>
                    <a:bodyPr/>
                    <a:lstStyle/>
                    <a:p>
                      <a:pPr rtl="0"/>
                      <a:r>
                        <a:rPr lang="de-DE" sz="1400" dirty="0">
                          <a:latin typeface="+mj-lt"/>
                        </a:rPr>
                        <a:t>Quelle</a:t>
                      </a:r>
                    </a:p>
                  </a:txBody>
                  <a:tcPr/>
                </a:tc>
                <a:tc>
                  <a:txBody>
                    <a:bodyPr/>
                    <a:lstStyle/>
                    <a:p>
                      <a:pPr rtl="0"/>
                      <a:r>
                        <a:rPr lang="de-DE" sz="1400" dirty="0">
                          <a:latin typeface="+mj-lt"/>
                        </a:rPr>
                        <a:t>Pflichtangabe</a:t>
                      </a:r>
                    </a:p>
                  </a:txBody>
                  <a:tcPr/>
                </a:tc>
                <a:tc>
                  <a:txBody>
                    <a:bodyPr/>
                    <a:lstStyle/>
                    <a:p>
                      <a:pPr rtl="0"/>
                      <a:r>
                        <a:rPr lang="de-DE" sz="1400" dirty="0">
                          <a:latin typeface="+mj-lt"/>
                        </a:rPr>
                        <a:t>Ermessens-</a:t>
                      </a:r>
                      <a:r>
                        <a:rPr lang="de-DE" sz="1400" dirty="0" err="1">
                          <a:latin typeface="+mj-lt"/>
                        </a:rPr>
                        <a:t>spielraum</a:t>
                      </a:r>
                      <a:endParaRPr lang="de-DE" sz="1400" dirty="0">
                        <a:latin typeface="+mj-lt"/>
                      </a:endParaRPr>
                    </a:p>
                  </a:txBody>
                  <a:tcPr/>
                </a:tc>
                <a:tc>
                  <a:txBody>
                    <a:bodyPr/>
                    <a:lstStyle/>
                    <a:p>
                      <a:pPr rtl="0"/>
                      <a:r>
                        <a:rPr lang="de-DE" sz="1400" dirty="0">
                          <a:latin typeface="+mj-lt"/>
                        </a:rPr>
                        <a:t>Datenfeldtyp, ggf. Berechnungsregel, Attribute</a:t>
                      </a:r>
                    </a:p>
                  </a:txBody>
                  <a:tcPr/>
                </a:tc>
                <a:extLst>
                  <a:ext uri="{0D108BD9-81ED-4DB2-BD59-A6C34878D82A}">
                    <a16:rowId xmlns:a16="http://schemas.microsoft.com/office/drawing/2014/main" val="3519638733"/>
                  </a:ext>
                </a:extLst>
              </a:tr>
              <a:tr h="370840">
                <a:tc>
                  <a:txBody>
                    <a:bodyPr/>
                    <a:lstStyle/>
                    <a:p>
                      <a:pPr marL="0" algn="l" defTabSz="914400" rtl="0" eaLnBrk="1" latinLnBrk="0" hangingPunct="1"/>
                      <a:r>
                        <a:rPr lang="de-DE" sz="1200" kern="1200" baseline="0" dirty="0">
                          <a:solidFill>
                            <a:schemeClr val="tx1"/>
                          </a:solidFill>
                          <a:latin typeface="+mn-lt"/>
                          <a:ea typeface="+mn-ea"/>
                          <a:cs typeface="+mn-cs"/>
                        </a:rPr>
                        <a:t>Begründung Widerspruch gegeben</a:t>
                      </a:r>
                    </a:p>
                    <a:p>
                      <a:pPr marL="0" algn="l" defTabSz="914400" rtl="0" eaLnBrk="1" latinLnBrk="0" hangingPunct="1"/>
                      <a:r>
                        <a:rPr lang="de-DE" sz="800" kern="1200" baseline="0" dirty="0">
                          <a:solidFill>
                            <a:schemeClr val="tx1"/>
                          </a:solidFill>
                          <a:latin typeface="+mn-lt"/>
                          <a:ea typeface="+mn-ea"/>
                          <a:cs typeface="+mn-cs"/>
                        </a:rPr>
                        <a:t>Beachte: Das Gesetz sieht nicht vor, dass ein Widerspruch begründet werden muss. Es gilt der Amtsermittlungsgrundsatz, die Behörde muss von sich aus prüf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latin typeface="+mn-lt"/>
                          <a:ea typeface="+mn-ea"/>
                          <a:cs typeface="+mn-cs"/>
                        </a:rPr>
                        <a:t>Förderrichtlinie, BHO/LHO, Prüfvermerk, allgemeine Arbeitsanweisungen im Referat / Abteilu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Pflichtbewertu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J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 </a:t>
                      </a:r>
                      <a:r>
                        <a:rPr lang="de-DE" sz="1200" dirty="0">
                          <a:solidFill>
                            <a:schemeClr val="tx1"/>
                          </a:solidFill>
                        </a:rPr>
                        <a:t>mit umfangreicher Checkboxliste</a:t>
                      </a:r>
                      <a:r>
                        <a:rPr lang="de-DE" sz="1200" baseline="0" dirty="0">
                          <a:solidFill>
                            <a:schemeClr val="tx1"/>
                          </a:solidFill>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dirty="0">
                          <a:solidFill>
                            <a:schemeClr val="tx1"/>
                          </a:solidFill>
                          <a:latin typeface="+mn-lt"/>
                          <a:ea typeface="+mn-ea"/>
                          <a:cs typeface="+mn-cs"/>
                        </a:rPr>
                        <a:t>Rechtswidrigke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dirty="0">
                          <a:solidFill>
                            <a:schemeClr val="tx1"/>
                          </a:solidFill>
                          <a:latin typeface="+mn-lt"/>
                          <a:ea typeface="+mn-ea"/>
                          <a:cs typeface="+mn-cs"/>
                        </a:rPr>
                        <a:t>Rechteverletzu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noProof="0" dirty="0">
                          <a:solidFill>
                            <a:schemeClr val="tx1"/>
                          </a:solidFill>
                          <a:latin typeface="+mn-lt"/>
                          <a:ea typeface="+mn-ea"/>
                          <a:cs typeface="+mn-cs"/>
                        </a:rPr>
                        <a:t>Ermessensfehlgebrau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noProof="0" dirty="0">
                          <a:solidFill>
                            <a:schemeClr val="tx1"/>
                          </a:solidFill>
                          <a:latin typeface="+mn-lt"/>
                          <a:ea typeface="+mn-ea"/>
                          <a:cs typeface="+mn-cs"/>
                        </a:rPr>
                        <a:t>Kein Ermessen ausgeüb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noProof="0" dirty="0">
                          <a:solidFill>
                            <a:schemeClr val="tx1"/>
                          </a:solidFill>
                          <a:latin typeface="+mn-lt"/>
                          <a:ea typeface="+mn-ea"/>
                          <a:cs typeface="+mn-cs"/>
                        </a:rPr>
                        <a:t>Unzweckmäßi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noProof="0" dirty="0">
                          <a:solidFill>
                            <a:schemeClr val="tx1"/>
                          </a:solidFill>
                          <a:latin typeface="+mn-lt"/>
                          <a:ea typeface="+mn-ea"/>
                          <a:cs typeface="+mn-cs"/>
                        </a:rPr>
                        <a:t>Sonsti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chemeClr val="tx1"/>
                          </a:solidFill>
                          <a:effectLst/>
                          <a:uLnTx/>
                          <a:uFillTx/>
                          <a:latin typeface="+mn-lt"/>
                          <a:ea typeface="+mn-ea"/>
                          <a:cs typeface="+mn-cs"/>
                        </a:rPr>
                        <a:t>Nein </a:t>
                      </a:r>
                      <a:r>
                        <a:rPr kumimoji="0" lang="de-DE" sz="1000" b="0" i="0"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rPr>
                        <a:t> Rückweis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chemeClr val="tx1"/>
                          </a:solidFill>
                          <a:effectLst/>
                          <a:uLnTx/>
                          <a:uFillTx/>
                          <a:latin typeface="+mn-lt"/>
                          <a:ea typeface="+mn-ea"/>
                          <a:cs typeface="+mn-cs"/>
                          <a:sym typeface="Wingdings" panose="05000000000000000000" pitchFamily="2" charset="2"/>
                        </a:rPr>
                        <a:t>Ja  Widerspruchsbescheid (neuer Zuwendungsbescheid, Rückforderungsbescheid etc.)</a:t>
                      </a:r>
                      <a:endParaRPr kumimoji="0" lang="de-DE" sz="1000" b="0" i="0" u="none" strike="noStrike" kern="1200" cap="none" spc="0" normalizeH="0" baseline="0" noProof="0" dirty="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4046936773"/>
                  </a:ext>
                </a:extLst>
              </a:tr>
              <a:tr h="370840">
                <a:tc>
                  <a:txBody>
                    <a:bodyPr/>
                    <a:lstStyle/>
                    <a:p>
                      <a:pPr marL="0" algn="l" defTabSz="914400" rtl="0" eaLnBrk="1" latinLnBrk="0" hangingPunct="1"/>
                      <a:r>
                        <a:rPr kumimoji="0" lang="de-DE" sz="1200" b="0" i="0" u="none" strike="noStrike" kern="1200" cap="none" spc="0" normalizeH="0" baseline="0" dirty="0">
                          <a:ln>
                            <a:noFill/>
                          </a:ln>
                          <a:solidFill>
                            <a:schemeClr val="tx1"/>
                          </a:solidFill>
                          <a:effectLst/>
                          <a:uLnTx/>
                          <a:uFillTx/>
                          <a:latin typeface="+mn-lt"/>
                          <a:ea typeface="+mn-ea"/>
                          <a:cs typeface="+mn-cs"/>
                        </a:rPr>
                        <a:t>Prüfungsergebnis</a:t>
                      </a:r>
                    </a:p>
                  </a:txBody>
                  <a:tcPr/>
                </a:tc>
                <a:tc>
                  <a:txBody>
                    <a:bodyPr/>
                    <a:lstStyle/>
                    <a:p>
                      <a:pPr marL="0" algn="l" defTabSz="914400" rtl="0" eaLnBrk="1" latinLnBrk="0" hangingPunct="1"/>
                      <a:r>
                        <a:rPr kumimoji="0" lang="de-DE" sz="1200" b="0" i="0" u="none" strike="noStrike" kern="1200" cap="none" spc="0" normalizeH="0" baseline="0" dirty="0">
                          <a:ln>
                            <a:noFill/>
                          </a:ln>
                          <a:solidFill>
                            <a:schemeClr val="tx1"/>
                          </a:solidFill>
                          <a:effectLst/>
                          <a:uLnTx/>
                          <a:uFillTx/>
                          <a:latin typeface="+mn-lt"/>
                          <a:ea typeface="+mn-ea"/>
                          <a:cs typeface="+mn-cs"/>
                        </a:rPr>
                        <a:t>§§ 70, 72 oder 73 VwGO, Förderrichtlinie, Zuwendungsbescheid</a:t>
                      </a:r>
                    </a:p>
                  </a:txBody>
                  <a:tcPr/>
                </a:tc>
                <a:tc>
                  <a:txBody>
                    <a:bodyPr/>
                    <a:lstStyle/>
                    <a:p>
                      <a:pPr marL="0" algn="l" defTabSz="914400" rtl="0" eaLnBrk="1" latinLnBrk="0" hangingPunct="1"/>
                      <a:r>
                        <a:rPr kumimoji="0" lang="de-DE" sz="1200" b="0" i="0" u="none" strike="noStrike" kern="1200" cap="none" spc="0" normalizeH="0" baseline="0" dirty="0">
                          <a:ln>
                            <a:noFill/>
                          </a:ln>
                          <a:solidFill>
                            <a:schemeClr val="tx1"/>
                          </a:solidFill>
                          <a:effectLst/>
                          <a:uLnTx/>
                          <a:uFillTx/>
                          <a:latin typeface="+mn-lt"/>
                          <a:ea typeface="+mn-ea"/>
                          <a:cs typeface="+mn-cs"/>
                        </a:rPr>
                        <a:t>Pflich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dirty="0">
                          <a:ln>
                            <a:noFill/>
                          </a:ln>
                          <a:solidFill>
                            <a:schemeClr val="tx1"/>
                          </a:solidFill>
                          <a:effectLst/>
                          <a:uLnTx/>
                          <a:uFillTx/>
                          <a:latin typeface="+mn-lt"/>
                          <a:ea typeface="+mn-ea"/>
                          <a:cs typeface="+mn-cs"/>
                        </a:rPr>
                        <a:t>Ja</a:t>
                      </a:r>
                    </a:p>
                  </a:txBody>
                  <a:tcPr/>
                </a:tc>
                <a:tc>
                  <a:txBody>
                    <a:bodyPr/>
                    <a:lstStyle/>
                    <a:p>
                      <a:pPr marL="0" algn="l" defTabSz="914400" rtl="0" eaLnBrk="1" latinLnBrk="0" hangingPunct="1"/>
                      <a:r>
                        <a:rPr kumimoji="0" lang="de-DE" sz="1200" b="0" i="0" u="none" strike="noStrike" kern="1200" cap="none" spc="0" normalizeH="0" baseline="0" dirty="0">
                          <a:ln>
                            <a:noFill/>
                          </a:ln>
                          <a:solidFill>
                            <a:schemeClr val="tx1"/>
                          </a:solidFill>
                          <a:effectLst/>
                          <a:uLnTx/>
                          <a:uFillTx/>
                          <a:latin typeface="+mn-lt"/>
                          <a:ea typeface="+mn-ea"/>
                          <a:cs typeface="+mn-cs"/>
                        </a:rPr>
                        <a:t>Freitext ggf. mit Checkboxen </a:t>
                      </a:r>
                    </a:p>
                    <a:p>
                      <a:pPr marL="171450" indent="-171450" algn="l" defTabSz="914400" rtl="0" eaLnBrk="1" latinLnBrk="0" hangingPunct="1">
                        <a:buFont typeface="Arial" panose="020B0604020202020204" pitchFamily="34" charset="0"/>
                        <a:buChar char="•"/>
                      </a:pPr>
                      <a:r>
                        <a:rPr kumimoji="0" lang="de-DE" sz="1000" b="0" i="0" u="none" strike="noStrike" kern="1200" cap="none" spc="0" normalizeH="0" baseline="0" dirty="0">
                          <a:ln>
                            <a:noFill/>
                          </a:ln>
                          <a:solidFill>
                            <a:schemeClr val="tx1"/>
                          </a:solidFill>
                          <a:effectLst/>
                          <a:uLnTx/>
                          <a:uFillTx/>
                          <a:latin typeface="+mn-lt"/>
                          <a:ea typeface="+mn-ea"/>
                          <a:cs typeface="+mn-cs"/>
                        </a:rPr>
                        <a:t>Rückweisung durch Widerspruchsbescheid § 73 VwGO</a:t>
                      </a:r>
                    </a:p>
                    <a:p>
                      <a:pPr marL="171450" indent="-171450" algn="l" defTabSz="914400" rtl="0" eaLnBrk="1" latinLnBrk="0" hangingPunct="1">
                        <a:buFont typeface="Arial" panose="020B0604020202020204" pitchFamily="34" charset="0"/>
                        <a:buChar char="•"/>
                      </a:pPr>
                      <a:r>
                        <a:rPr kumimoji="0" lang="de-DE" sz="1000" b="0" i="0" u="none" strike="noStrike" kern="1200" cap="none" spc="0" normalizeH="0" baseline="0" dirty="0">
                          <a:ln>
                            <a:noFill/>
                          </a:ln>
                          <a:solidFill>
                            <a:schemeClr val="tx1"/>
                          </a:solidFill>
                          <a:effectLst/>
                          <a:uLnTx/>
                          <a:uFillTx/>
                          <a:latin typeface="+mn-lt"/>
                          <a:ea typeface="+mn-ea"/>
                          <a:cs typeface="+mn-cs"/>
                        </a:rPr>
                        <a:t>Abhilfebescheid § 72 VwGO – der Ausgangsbescheid muss aufgehoben oder nach § 48 VwVfG zurückgenommen werden</a:t>
                      </a:r>
                    </a:p>
                    <a:p>
                      <a:pPr marL="171450" indent="-171450" algn="l" defTabSz="914400" rtl="0" eaLnBrk="1" latinLnBrk="0" hangingPunct="1">
                        <a:buFont typeface="Arial" panose="020B0604020202020204" pitchFamily="34" charset="0"/>
                        <a:buChar char="•"/>
                      </a:pPr>
                      <a:r>
                        <a:rPr kumimoji="0" lang="de-DE" sz="1000" b="0" i="0" u="none" strike="noStrike" kern="1200" cap="none" spc="0" normalizeH="0" baseline="0" dirty="0">
                          <a:ln>
                            <a:noFill/>
                          </a:ln>
                          <a:solidFill>
                            <a:schemeClr val="tx1"/>
                          </a:solidFill>
                          <a:effectLst/>
                          <a:uLnTx/>
                          <a:uFillTx/>
                          <a:latin typeface="+mn-lt"/>
                          <a:ea typeface="+mn-ea"/>
                          <a:cs typeface="+mn-cs"/>
                        </a:rPr>
                        <a:t>Zurückweisung als unzulässig § 70 VwGO, wenn Zulässigkeitsvoraussetzungen fehlen – es darf keine inhaltliche Entscheidung ergehen!</a:t>
                      </a:r>
                    </a:p>
                  </a:txBody>
                  <a:tcPr/>
                </a:tc>
                <a:extLst>
                  <a:ext uri="{0D108BD9-81ED-4DB2-BD59-A6C34878D82A}">
                    <a16:rowId xmlns:a16="http://schemas.microsoft.com/office/drawing/2014/main" val="747780518"/>
                  </a:ext>
                </a:extLst>
              </a:tr>
              <a:tr h="370840">
                <a:tc>
                  <a:txBody>
                    <a:bodyPr/>
                    <a:lstStyle/>
                    <a:p>
                      <a:pPr rtl="0"/>
                      <a:r>
                        <a:rPr lang="de-DE" sz="1200" dirty="0">
                          <a:solidFill>
                            <a:schemeClr val="tx1"/>
                          </a:solidFill>
                        </a:rPr>
                        <a:t>Prüfungsergebnis 1 –</a:t>
                      </a:r>
                      <a:r>
                        <a:rPr lang="de-DE" sz="1200" baseline="0" dirty="0">
                          <a:solidFill>
                            <a:schemeClr val="tx1"/>
                          </a:solidFill>
                        </a:rPr>
                        <a:t> der Widerspruch ist begründet</a:t>
                      </a:r>
                      <a:endParaRPr lang="de-DE" sz="1200" dirty="0">
                        <a:solidFill>
                          <a:schemeClr val="tx1"/>
                        </a:solidFill>
                      </a:endParaRPr>
                    </a:p>
                  </a:txBody>
                  <a:tcPr/>
                </a:tc>
                <a:tc>
                  <a:txBody>
                    <a:bodyPr/>
                    <a:lstStyle/>
                    <a:p>
                      <a:pPr rtl="0"/>
                      <a:r>
                        <a:rPr lang="de-DE" sz="1200" dirty="0">
                          <a:solidFill>
                            <a:schemeClr val="tx1"/>
                          </a:solidFill>
                        </a:rPr>
                        <a:t>§ 72, 73 Abs. 1 Satz 1 VwGO,</a:t>
                      </a:r>
                      <a:r>
                        <a:rPr lang="de-DE" sz="1200" baseline="0" dirty="0">
                          <a:solidFill>
                            <a:schemeClr val="tx1"/>
                          </a:solidFill>
                        </a:rPr>
                        <a:t> </a:t>
                      </a:r>
                      <a:r>
                        <a:rPr lang="de-DE" sz="1200" dirty="0">
                          <a:solidFill>
                            <a:schemeClr val="tx1"/>
                          </a:solidFill>
                        </a:rPr>
                        <a:t>Förderrichtlinie, Zuwendungsbescheid </a:t>
                      </a:r>
                    </a:p>
                    <a:p>
                      <a:pPr rtl="0"/>
                      <a:r>
                        <a:rPr lang="de-DE" sz="800" dirty="0">
                          <a:solidFill>
                            <a:schemeClr val="tx1"/>
                          </a:solidFill>
                        </a:rPr>
                        <a:t>§ 73 Abs. 1 Satz 1 VwGO greift nur, wenn nicht die Ausgangsbehörde abhilft, sondern</a:t>
                      </a:r>
                      <a:r>
                        <a:rPr lang="de-DE" sz="800" baseline="0" dirty="0">
                          <a:solidFill>
                            <a:schemeClr val="tx1"/>
                          </a:solidFill>
                        </a:rPr>
                        <a:t> erst die Widerspruchsbehörde entscheidet.</a:t>
                      </a:r>
                      <a:r>
                        <a:rPr lang="de-DE" sz="800" dirty="0">
                          <a:solidFill>
                            <a:schemeClr val="tx1"/>
                          </a:solidFill>
                        </a:rPr>
                        <a:t> </a:t>
                      </a:r>
                    </a:p>
                  </a:txBody>
                  <a:tcPr/>
                </a:tc>
                <a:tc>
                  <a:txBody>
                    <a:bodyPr/>
                    <a:lstStyle/>
                    <a:p>
                      <a:pPr rtl="0"/>
                      <a:r>
                        <a:rPr lang="de-DE" sz="1200" dirty="0">
                          <a:solidFill>
                            <a:schemeClr val="tx1"/>
                          </a:solidFill>
                        </a:rPr>
                        <a:t>Optionale</a:t>
                      </a:r>
                      <a:r>
                        <a:rPr lang="de-DE" sz="1200" baseline="0" dirty="0">
                          <a:solidFill>
                            <a:schemeClr val="tx1"/>
                          </a:solidFill>
                        </a:rPr>
                        <a:t> Bewertung</a:t>
                      </a:r>
                      <a:endParaRPr lang="de-DE" sz="12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J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p>
                      <a:pPr marL="0" algn="l" defTabSz="914400" rtl="0" eaLnBrk="1" latinLnBrk="0" hangingPunct="1"/>
                      <a:endParaRPr lang="de-DE" sz="1200" kern="1200" dirty="0">
                        <a:solidFill>
                          <a:schemeClr val="tx1"/>
                        </a:solidFill>
                        <a:latin typeface="+mn-lt"/>
                        <a:ea typeface="+mn-ea"/>
                        <a:cs typeface="+mn-cs"/>
                      </a:endParaRPr>
                    </a:p>
                    <a:p>
                      <a:pPr marL="0" algn="l" defTabSz="914400" rtl="0" eaLnBrk="1" latinLnBrk="0" hangingPunct="1"/>
                      <a:r>
                        <a:rPr lang="de-DE" sz="1200" kern="1200" dirty="0">
                          <a:solidFill>
                            <a:schemeClr val="tx1"/>
                          </a:solidFill>
                          <a:latin typeface="+mn-lt"/>
                          <a:ea typeface="+mn-ea"/>
                          <a:cs typeface="+mn-cs"/>
                        </a:rPr>
                        <a:t>Plus neuer Betrag in Euro</a:t>
                      </a:r>
                    </a:p>
                    <a:p>
                      <a:pPr marL="0" algn="l" defTabSz="914400" rtl="0" eaLnBrk="1" latinLnBrk="0" hangingPunct="1"/>
                      <a:r>
                        <a:rPr lang="de-DE" sz="1000" kern="1200" dirty="0">
                          <a:solidFill>
                            <a:schemeClr val="tx1"/>
                          </a:solidFill>
                          <a:latin typeface="+mn-lt"/>
                          <a:ea typeface="+mn-ea"/>
                          <a:cs typeface="+mn-cs"/>
                        </a:rPr>
                        <a:t>Ergibt</a:t>
                      </a:r>
                      <a:r>
                        <a:rPr lang="de-DE" sz="1000" kern="1200" baseline="0" dirty="0">
                          <a:solidFill>
                            <a:schemeClr val="tx1"/>
                          </a:solidFill>
                          <a:latin typeface="+mn-lt"/>
                          <a:ea typeface="+mn-ea"/>
                          <a:cs typeface="+mn-cs"/>
                        </a:rPr>
                        <a:t> sich durch Anpassung des Finanzierungsplanes gemäß bemängelte Positionen</a:t>
                      </a:r>
                      <a:endParaRPr lang="de-DE" sz="1000" kern="1200" dirty="0">
                        <a:solidFill>
                          <a:schemeClr val="tx1"/>
                        </a:solidFill>
                        <a:latin typeface="+mn-lt"/>
                        <a:ea typeface="+mn-ea"/>
                        <a:cs typeface="+mn-cs"/>
                      </a:endParaRPr>
                    </a:p>
                  </a:txBody>
                  <a:tcPr/>
                </a:tc>
                <a:extLst>
                  <a:ext uri="{0D108BD9-81ED-4DB2-BD59-A6C34878D82A}">
                    <a16:rowId xmlns:a16="http://schemas.microsoft.com/office/drawing/2014/main" val="3774654250"/>
                  </a:ext>
                </a:extLst>
              </a:tr>
            </a:tbl>
          </a:graphicData>
        </a:graphic>
      </p:graphicFrame>
      <p:sp>
        <p:nvSpPr>
          <p:cNvPr id="2" name="Titel 1"/>
          <p:cNvSpPr>
            <a:spLocks noGrp="1"/>
          </p:cNvSpPr>
          <p:nvPr>
            <p:ph type="title"/>
          </p:nvPr>
        </p:nvSpPr>
        <p:spPr/>
        <p:txBody>
          <a:bodyPr vert="horz"/>
          <a:lstStyle/>
          <a:p>
            <a:r>
              <a:rPr lang="de-DE" dirty="0"/>
              <a:t>Sachlich-inhaltliche Prüfung: Widerspruchsverfahren</a:t>
            </a:r>
          </a:p>
        </p:txBody>
      </p:sp>
      <p:sp>
        <p:nvSpPr>
          <p:cNvPr id="5" name="Foliennummernplatzhalter 4"/>
          <p:cNvSpPr>
            <a:spLocks noGrp="1"/>
          </p:cNvSpPr>
          <p:nvPr>
            <p:ph type="sldNum" sz="quarter" idx="12"/>
          </p:nvPr>
        </p:nvSpPr>
        <p:spPr/>
        <p:txBody>
          <a:bodyPr/>
          <a:lstStyle/>
          <a:p>
            <a:fld id="{D4A18DF9-8FF6-4BA5-BC52-5FB4772E2292}" type="slidenum">
              <a:rPr lang="de-DE" smtClean="0"/>
              <a:pPr/>
              <a:t>13</a:t>
            </a:fld>
            <a:endParaRPr lang="de-DE" dirty="0"/>
          </a:p>
        </p:txBody>
      </p:sp>
      <p:sp>
        <p:nvSpPr>
          <p:cNvPr id="6" name="Textplatzhalter 5"/>
          <p:cNvSpPr>
            <a:spLocks noGrp="1"/>
          </p:cNvSpPr>
          <p:nvPr>
            <p:ph type="body" sz="quarter" idx="14"/>
          </p:nvPr>
        </p:nvSpPr>
        <p:spPr>
          <a:xfrm>
            <a:off x="693211" y="191947"/>
            <a:ext cx="65" cy="123111"/>
          </a:xfrm>
        </p:spPr>
        <p:txBody>
          <a:bodyPr/>
          <a:lstStyle/>
          <a:p>
            <a:endParaRPr lang="de-DE" dirty="0"/>
          </a:p>
        </p:txBody>
      </p:sp>
      <p:sp>
        <p:nvSpPr>
          <p:cNvPr id="7" name="Textplatzhalter 6"/>
          <p:cNvSpPr>
            <a:spLocks noGrp="1"/>
          </p:cNvSpPr>
          <p:nvPr>
            <p:ph type="body" sz="quarter" idx="13"/>
          </p:nvPr>
        </p:nvSpPr>
        <p:spPr>
          <a:xfrm>
            <a:off x="693211" y="1089964"/>
            <a:ext cx="10808493" cy="246221"/>
          </a:xfrm>
        </p:spPr>
        <p:txBody>
          <a:bodyPr/>
          <a:lstStyle/>
          <a:p>
            <a:r>
              <a:rPr lang="de-DE" dirty="0"/>
              <a:t>Vorlagen Checkliste (1/2)</a:t>
            </a:r>
          </a:p>
        </p:txBody>
      </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grpSp>
        <p:nvGrpSpPr>
          <p:cNvPr id="18" name="Sticker">
            <a:extLst>
              <a:ext uri="{FF2B5EF4-FFF2-40B4-BE49-F238E27FC236}">
                <a16:creationId xmlns:a16="http://schemas.microsoft.com/office/drawing/2014/main" id="{2392D97A-37AD-4446-A63F-47D130AFC840}"/>
              </a:ext>
            </a:extLst>
          </p:cNvPr>
          <p:cNvGrpSpPr/>
          <p:nvPr>
            <p:custDataLst>
              <p:tags r:id="rId2"/>
            </p:custDataLst>
          </p:nvPr>
        </p:nvGrpSpPr>
        <p:grpSpPr>
          <a:xfrm>
            <a:off x="10626341" y="1274763"/>
            <a:ext cx="899413" cy="215444"/>
            <a:chOff x="-326244" y="15388"/>
            <a:chExt cx="899413" cy="215444"/>
          </a:xfrm>
        </p:grpSpPr>
        <p:sp>
          <p:nvSpPr>
            <p:cNvPr id="19" name="Text">
              <a:extLst>
                <a:ext uri="{FF2B5EF4-FFF2-40B4-BE49-F238E27FC236}">
                  <a16:creationId xmlns:a16="http://schemas.microsoft.com/office/drawing/2014/main" id="{F0D3A2E7-E025-45C2-8DE8-78B0804B4B59}"/>
                </a:ext>
              </a:extLst>
            </p:cNvPr>
            <p:cNvSpPr txBox="1"/>
            <p:nvPr>
              <p:custDataLst>
                <p:tags r:id="rId3"/>
              </p:custDataLst>
            </p:nvPr>
          </p:nvSpPr>
          <p:spPr>
            <a:xfrm>
              <a:off x="-326244" y="15388"/>
              <a:ext cx="899413" cy="215444"/>
            </a:xfrm>
            <a:prstGeom prst="leftRightArrow">
              <a:avLst>
                <a:gd name="adj1" fmla="val 100000"/>
                <a:gd name="adj2" fmla="val 0"/>
              </a:avLst>
            </a:prstGeom>
            <a:noFill/>
          </p:spPr>
          <p:txBody>
            <a:bodyPr vert="horz" wrap="none" lIns="0" tIns="0" rIns="0" bIns="0" rtlCol="0" anchor="ctr">
              <a:spAutoFit/>
            </a:bodyPr>
            <a:lstStyle/>
            <a:p>
              <a:pPr algn="r"/>
              <a:r>
                <a:rPr lang="de-DE" sz="1400" cap="all"/>
                <a:t>Vorschlag</a:t>
              </a:r>
              <a:endParaRPr lang="de-DE" sz="1400" cap="all" dirty="0"/>
            </a:p>
          </p:txBody>
        </p:sp>
        <p:cxnSp>
          <p:nvCxnSpPr>
            <p:cNvPr id="20" name="Linie">
              <a:extLst>
                <a:ext uri="{FF2B5EF4-FFF2-40B4-BE49-F238E27FC236}">
                  <a16:creationId xmlns:a16="http://schemas.microsoft.com/office/drawing/2014/main" id="{F26B5AF2-915B-42B9-AE7A-ED2C0554FD5C}"/>
                </a:ext>
              </a:extLst>
            </p:cNvPr>
            <p:cNvCxnSpPr>
              <a:cxnSpLocks/>
              <a:stCxn id="19" idx="2"/>
              <a:endCxn id="19" idx="0"/>
            </p:cNvCxnSpPr>
            <p:nvPr/>
          </p:nvCxnSpPr>
          <p:spPr>
            <a:xfrm>
              <a:off x="-326244" y="15388"/>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1" name="Linie">
              <a:extLst>
                <a:ext uri="{FF2B5EF4-FFF2-40B4-BE49-F238E27FC236}">
                  <a16:creationId xmlns:a16="http://schemas.microsoft.com/office/drawing/2014/main" id="{D2699AC0-5AB4-4732-B271-22E6717AB338}"/>
                </a:ext>
              </a:extLst>
            </p:cNvPr>
            <p:cNvCxnSpPr>
              <a:cxnSpLocks/>
              <a:stCxn id="19" idx="6"/>
              <a:endCxn id="19" idx="4"/>
            </p:cNvCxnSpPr>
            <p:nvPr/>
          </p:nvCxnSpPr>
          <p:spPr>
            <a:xfrm flipH="1">
              <a:off x="-326244" y="230832"/>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19965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47" imgH="348" progId="TCLayout.ActiveDocument.1">
                  <p:embed/>
                </p:oleObj>
              </mc:Choice>
              <mc:Fallback>
                <p:oleObj name="think-cell Folie" r:id="rId6" imgW="347" imgH="348" progId="TCLayout.ActiveDocument.1">
                  <p:embed/>
                  <p:pic>
                    <p:nvPicPr>
                      <p:cNvPr id="11" name="Objekt 10" hidden="1"/>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1419137363"/>
              </p:ext>
            </p:extLst>
          </p:nvPr>
        </p:nvGraphicFramePr>
        <p:xfrm>
          <a:off x="695359" y="1630760"/>
          <a:ext cx="10799052" cy="2529840"/>
        </p:xfrm>
        <a:graphic>
          <a:graphicData uri="http://schemas.openxmlformats.org/drawingml/2006/table">
            <a:tbl>
              <a:tblPr firstRow="1" bandRow="1">
                <a:tableStyleId>{5C22544A-7EE6-4342-B048-85BDC9FD1C3A}</a:tableStyleId>
              </a:tblPr>
              <a:tblGrid>
                <a:gridCol w="1753252">
                  <a:extLst>
                    <a:ext uri="{9D8B030D-6E8A-4147-A177-3AD203B41FA5}">
                      <a16:colId xmlns:a16="http://schemas.microsoft.com/office/drawing/2014/main" val="3961776024"/>
                    </a:ext>
                  </a:extLst>
                </a:gridCol>
                <a:gridCol w="1893433">
                  <a:extLst>
                    <a:ext uri="{9D8B030D-6E8A-4147-A177-3AD203B41FA5}">
                      <a16:colId xmlns:a16="http://schemas.microsoft.com/office/drawing/2014/main" val="2441736923"/>
                    </a:ext>
                  </a:extLst>
                </a:gridCol>
                <a:gridCol w="1288735">
                  <a:extLst>
                    <a:ext uri="{9D8B030D-6E8A-4147-A177-3AD203B41FA5}">
                      <a16:colId xmlns:a16="http://schemas.microsoft.com/office/drawing/2014/main" val="3177767942"/>
                    </a:ext>
                  </a:extLst>
                </a:gridCol>
                <a:gridCol w="1171074">
                  <a:extLst>
                    <a:ext uri="{9D8B030D-6E8A-4147-A177-3AD203B41FA5}">
                      <a16:colId xmlns:a16="http://schemas.microsoft.com/office/drawing/2014/main" val="3739456346"/>
                    </a:ext>
                  </a:extLst>
                </a:gridCol>
                <a:gridCol w="4692558">
                  <a:extLst>
                    <a:ext uri="{9D8B030D-6E8A-4147-A177-3AD203B41FA5}">
                      <a16:colId xmlns:a16="http://schemas.microsoft.com/office/drawing/2014/main" val="624120403"/>
                    </a:ext>
                  </a:extLst>
                </a:gridCol>
              </a:tblGrid>
              <a:tr h="370840">
                <a:tc>
                  <a:txBody>
                    <a:bodyPr/>
                    <a:lstStyle/>
                    <a:p>
                      <a:pPr rtl="0"/>
                      <a:r>
                        <a:rPr lang="de-DE" sz="1400" dirty="0">
                          <a:latin typeface="+mj-lt"/>
                        </a:rPr>
                        <a:t>Kriterium</a:t>
                      </a:r>
                    </a:p>
                  </a:txBody>
                  <a:tcPr/>
                </a:tc>
                <a:tc>
                  <a:txBody>
                    <a:bodyPr/>
                    <a:lstStyle/>
                    <a:p>
                      <a:pPr rtl="0"/>
                      <a:r>
                        <a:rPr lang="de-DE" sz="1400" dirty="0">
                          <a:latin typeface="+mj-lt"/>
                        </a:rPr>
                        <a:t>Quelle</a:t>
                      </a:r>
                    </a:p>
                  </a:txBody>
                  <a:tcPr/>
                </a:tc>
                <a:tc>
                  <a:txBody>
                    <a:bodyPr/>
                    <a:lstStyle/>
                    <a:p>
                      <a:pPr rtl="0"/>
                      <a:r>
                        <a:rPr lang="de-DE" sz="1400" dirty="0">
                          <a:latin typeface="+mj-lt"/>
                        </a:rPr>
                        <a:t>Pflichtangabe</a:t>
                      </a:r>
                    </a:p>
                  </a:txBody>
                  <a:tcPr/>
                </a:tc>
                <a:tc>
                  <a:txBody>
                    <a:bodyPr/>
                    <a:lstStyle/>
                    <a:p>
                      <a:pPr rtl="0"/>
                      <a:r>
                        <a:rPr lang="de-DE" sz="1400" dirty="0">
                          <a:latin typeface="+mj-lt"/>
                        </a:rPr>
                        <a:t>Ermessens-</a:t>
                      </a:r>
                      <a:r>
                        <a:rPr lang="de-DE" sz="1400" dirty="0" err="1">
                          <a:latin typeface="+mj-lt"/>
                        </a:rPr>
                        <a:t>spielraum</a:t>
                      </a:r>
                      <a:endParaRPr lang="de-DE" sz="1400" dirty="0">
                        <a:latin typeface="+mj-lt"/>
                      </a:endParaRPr>
                    </a:p>
                  </a:txBody>
                  <a:tcPr/>
                </a:tc>
                <a:tc>
                  <a:txBody>
                    <a:bodyPr/>
                    <a:lstStyle/>
                    <a:p>
                      <a:pPr rtl="0"/>
                      <a:r>
                        <a:rPr lang="de-DE" sz="1400" dirty="0">
                          <a:latin typeface="+mj-lt"/>
                        </a:rPr>
                        <a:t>Datenfeldtyp, ggf. Berechnungsregel, Attribute</a:t>
                      </a:r>
                    </a:p>
                  </a:txBody>
                  <a:tcPr/>
                </a:tc>
                <a:extLst>
                  <a:ext uri="{0D108BD9-81ED-4DB2-BD59-A6C34878D82A}">
                    <a16:rowId xmlns:a16="http://schemas.microsoft.com/office/drawing/2014/main" val="351963873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Prüfungsergebnis 2 – der Widerspruch ist unbegründ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a:t>
                      </a:r>
                      <a:r>
                        <a:rPr lang="de-DE" sz="1200" baseline="0" dirty="0">
                          <a:solidFill>
                            <a:schemeClr val="tx1"/>
                          </a:solidFill>
                        </a:rPr>
                        <a:t> 73 </a:t>
                      </a:r>
                      <a:r>
                        <a:rPr lang="de-DE" sz="1200" dirty="0">
                          <a:solidFill>
                            <a:schemeClr val="tx1"/>
                          </a:solidFill>
                        </a:rPr>
                        <a:t>VwGO</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Förderrichtlinie, Zuwendungsbescheid</a:t>
                      </a:r>
                    </a:p>
                  </a:txBody>
                  <a:tcPr/>
                </a:tc>
                <a:tc>
                  <a:txBody>
                    <a:bodyPr/>
                    <a:lstStyle/>
                    <a:p>
                      <a:pPr rtl="0"/>
                      <a:r>
                        <a:rPr lang="de-DE" sz="1200" dirty="0">
                          <a:solidFill>
                            <a:schemeClr val="tx1"/>
                          </a:solidFill>
                        </a:rPr>
                        <a:t>Optionale</a:t>
                      </a:r>
                      <a:r>
                        <a:rPr lang="de-DE" sz="1200" baseline="0" dirty="0">
                          <a:solidFill>
                            <a:schemeClr val="tx1"/>
                          </a:solidFill>
                        </a:rPr>
                        <a:t> Bewertung</a:t>
                      </a:r>
                      <a:endParaRPr lang="de-DE" sz="12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J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txBody>
                  <a:tcPr/>
                </a:tc>
                <a:extLst>
                  <a:ext uri="{0D108BD9-81ED-4DB2-BD59-A6C34878D82A}">
                    <a16:rowId xmlns:a16="http://schemas.microsoft.com/office/drawing/2014/main" val="21873477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Prüfungsergebnis 3</a:t>
                      </a:r>
                      <a:r>
                        <a:rPr lang="de-DE" sz="1200" baseline="0" dirty="0">
                          <a:solidFill>
                            <a:schemeClr val="tx1"/>
                          </a:solidFill>
                        </a:rPr>
                        <a:t> – der Widerspruch ist (teilweise) begründet</a:t>
                      </a:r>
                      <a:endParaRPr lang="de-DE" sz="12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 72, 73 Abs. 1 Satz 1 VwGO,</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aseline="0" dirty="0">
                          <a:solidFill>
                            <a:schemeClr val="tx1"/>
                          </a:solidFill>
                        </a:rPr>
                        <a:t>Richtlinien der Verwaltungsleistung</a:t>
                      </a:r>
                      <a:r>
                        <a:rPr lang="de-DE" sz="1200" dirty="0">
                          <a:solidFill>
                            <a:schemeClr val="tx1"/>
                          </a:solidFill>
                        </a:rPr>
                        <a:t>, Zuwendungsbescheid</a:t>
                      </a:r>
                    </a:p>
                  </a:txBody>
                  <a:tcPr/>
                </a:tc>
                <a:tc>
                  <a:txBody>
                    <a:bodyPr/>
                    <a:lstStyle/>
                    <a:p>
                      <a:pPr rtl="0"/>
                      <a:r>
                        <a:rPr lang="de-DE" sz="1200" dirty="0">
                          <a:solidFill>
                            <a:schemeClr val="tx1"/>
                          </a:solidFill>
                        </a:rPr>
                        <a:t>Optionale</a:t>
                      </a:r>
                      <a:r>
                        <a:rPr lang="de-DE" sz="1200" baseline="0" dirty="0">
                          <a:solidFill>
                            <a:schemeClr val="tx1"/>
                          </a:solidFill>
                        </a:rPr>
                        <a:t> Bewertung</a:t>
                      </a:r>
                      <a:endParaRPr lang="de-DE" sz="1200" dirty="0">
                        <a:solidFill>
                          <a:schemeClr val="tx1"/>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J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Ja / Nein plus Freitextfeld für eine Kommentier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Es erfolgt eine inhaltliche Anpassung des Ausgangsbescheids in Gestalt des Widerspruchsbescheids, in dem Umfang, in dem der Widerspruch begründet is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Anpassung von Beträg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e-DE" sz="1200" b="0" i="0" u="none" strike="noStrike" kern="1200" cap="none" spc="0" normalizeH="0" baseline="0" noProof="0" dirty="0">
                          <a:ln>
                            <a:noFill/>
                          </a:ln>
                          <a:solidFill>
                            <a:schemeClr val="tx1"/>
                          </a:solidFill>
                          <a:effectLst/>
                          <a:uLnTx/>
                          <a:uFillTx/>
                          <a:latin typeface="+mn-lt"/>
                          <a:ea typeface="+mn-ea"/>
                          <a:cs typeface="+mn-cs"/>
                        </a:rPr>
                        <a:t>Erlass oder Änderung von Nebenbestimmungen (Auflagen, Bedingungen, Befristungen)</a:t>
                      </a:r>
                    </a:p>
                  </a:txBody>
                  <a:tcPr/>
                </a:tc>
                <a:extLst>
                  <a:ext uri="{0D108BD9-81ED-4DB2-BD59-A6C34878D82A}">
                    <a16:rowId xmlns:a16="http://schemas.microsoft.com/office/drawing/2014/main" val="4005907290"/>
                  </a:ext>
                </a:extLst>
              </a:tr>
            </a:tbl>
          </a:graphicData>
        </a:graphic>
      </p:graphicFrame>
      <p:sp>
        <p:nvSpPr>
          <p:cNvPr id="2" name="Titel 1"/>
          <p:cNvSpPr>
            <a:spLocks noGrp="1"/>
          </p:cNvSpPr>
          <p:nvPr>
            <p:ph type="title"/>
          </p:nvPr>
        </p:nvSpPr>
        <p:spPr/>
        <p:txBody>
          <a:bodyPr vert="horz"/>
          <a:lstStyle/>
          <a:p>
            <a:r>
              <a:rPr lang="de-DE" dirty="0"/>
              <a:t>Sachlich-inhaltliche Prüfung: Widerspruchsverfahren</a:t>
            </a:r>
          </a:p>
        </p:txBody>
      </p:sp>
      <p:sp>
        <p:nvSpPr>
          <p:cNvPr id="5" name="Foliennummernplatzhalter 4"/>
          <p:cNvSpPr>
            <a:spLocks noGrp="1"/>
          </p:cNvSpPr>
          <p:nvPr>
            <p:ph type="sldNum" sz="quarter" idx="12"/>
          </p:nvPr>
        </p:nvSpPr>
        <p:spPr/>
        <p:txBody>
          <a:bodyPr/>
          <a:lstStyle/>
          <a:p>
            <a:fld id="{D4A18DF9-8FF6-4BA5-BC52-5FB4772E2292}" type="slidenum">
              <a:rPr lang="de-DE" smtClean="0"/>
              <a:pPr/>
              <a:t>14</a:t>
            </a:fld>
            <a:endParaRPr lang="de-DE" dirty="0"/>
          </a:p>
        </p:txBody>
      </p:sp>
      <p:sp>
        <p:nvSpPr>
          <p:cNvPr id="6" name="Textplatzhalter 5"/>
          <p:cNvSpPr>
            <a:spLocks noGrp="1"/>
          </p:cNvSpPr>
          <p:nvPr>
            <p:ph type="body" sz="quarter" idx="14"/>
          </p:nvPr>
        </p:nvSpPr>
        <p:spPr>
          <a:xfrm>
            <a:off x="693211" y="191947"/>
            <a:ext cx="65" cy="123111"/>
          </a:xfrm>
        </p:spPr>
        <p:txBody>
          <a:bodyPr/>
          <a:lstStyle/>
          <a:p>
            <a:endParaRPr lang="de-DE" dirty="0"/>
          </a:p>
        </p:txBody>
      </p:sp>
      <p:sp>
        <p:nvSpPr>
          <p:cNvPr id="7" name="Textplatzhalter 6"/>
          <p:cNvSpPr>
            <a:spLocks noGrp="1"/>
          </p:cNvSpPr>
          <p:nvPr>
            <p:ph type="body" sz="quarter" idx="13"/>
          </p:nvPr>
        </p:nvSpPr>
        <p:spPr>
          <a:xfrm>
            <a:off x="693211" y="1089964"/>
            <a:ext cx="10808493" cy="246221"/>
          </a:xfrm>
        </p:spPr>
        <p:txBody>
          <a:bodyPr/>
          <a:lstStyle/>
          <a:p>
            <a:r>
              <a:rPr lang="de-DE" dirty="0"/>
              <a:t>Vorlagen Checkliste (2/2)</a:t>
            </a:r>
          </a:p>
        </p:txBody>
      </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grpSp>
        <p:nvGrpSpPr>
          <p:cNvPr id="12" name="Sticker">
            <a:extLst>
              <a:ext uri="{FF2B5EF4-FFF2-40B4-BE49-F238E27FC236}">
                <a16:creationId xmlns:a16="http://schemas.microsoft.com/office/drawing/2014/main" id="{2392D97A-37AD-4446-A63F-47D130AFC840}"/>
              </a:ext>
            </a:extLst>
          </p:cNvPr>
          <p:cNvGrpSpPr/>
          <p:nvPr>
            <p:custDataLst>
              <p:tags r:id="rId2"/>
            </p:custDataLst>
          </p:nvPr>
        </p:nvGrpSpPr>
        <p:grpSpPr>
          <a:xfrm>
            <a:off x="10626341" y="1274763"/>
            <a:ext cx="899413" cy="215444"/>
            <a:chOff x="-326244" y="15388"/>
            <a:chExt cx="899413" cy="215444"/>
          </a:xfrm>
        </p:grpSpPr>
        <p:sp>
          <p:nvSpPr>
            <p:cNvPr id="13" name="Text">
              <a:extLst>
                <a:ext uri="{FF2B5EF4-FFF2-40B4-BE49-F238E27FC236}">
                  <a16:creationId xmlns:a16="http://schemas.microsoft.com/office/drawing/2014/main" id="{F0D3A2E7-E025-45C2-8DE8-78B0804B4B59}"/>
                </a:ext>
              </a:extLst>
            </p:cNvPr>
            <p:cNvSpPr txBox="1"/>
            <p:nvPr>
              <p:custDataLst>
                <p:tags r:id="rId3"/>
              </p:custDataLst>
            </p:nvPr>
          </p:nvSpPr>
          <p:spPr>
            <a:xfrm>
              <a:off x="-326244" y="15388"/>
              <a:ext cx="899413" cy="215444"/>
            </a:xfrm>
            <a:prstGeom prst="leftRightArrow">
              <a:avLst>
                <a:gd name="adj1" fmla="val 100000"/>
                <a:gd name="adj2" fmla="val 0"/>
              </a:avLst>
            </a:prstGeom>
            <a:noFill/>
          </p:spPr>
          <p:txBody>
            <a:bodyPr vert="horz" wrap="none" lIns="0" tIns="0" rIns="0" bIns="0" rtlCol="0" anchor="ctr">
              <a:spAutoFit/>
            </a:bodyPr>
            <a:lstStyle/>
            <a:p>
              <a:pPr algn="r"/>
              <a:r>
                <a:rPr lang="de-DE" sz="1400" cap="all"/>
                <a:t>Vorschlag</a:t>
              </a:r>
              <a:endParaRPr lang="de-DE" sz="1400" cap="all" dirty="0"/>
            </a:p>
          </p:txBody>
        </p:sp>
        <p:cxnSp>
          <p:nvCxnSpPr>
            <p:cNvPr id="15" name="Linie">
              <a:extLst>
                <a:ext uri="{FF2B5EF4-FFF2-40B4-BE49-F238E27FC236}">
                  <a16:creationId xmlns:a16="http://schemas.microsoft.com/office/drawing/2014/main" id="{F26B5AF2-915B-42B9-AE7A-ED2C0554FD5C}"/>
                </a:ext>
              </a:extLst>
            </p:cNvPr>
            <p:cNvCxnSpPr>
              <a:cxnSpLocks/>
              <a:stCxn id="13" idx="2"/>
              <a:endCxn id="13" idx="0"/>
            </p:cNvCxnSpPr>
            <p:nvPr/>
          </p:nvCxnSpPr>
          <p:spPr>
            <a:xfrm>
              <a:off x="-326244" y="15388"/>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6" name="Linie">
              <a:extLst>
                <a:ext uri="{FF2B5EF4-FFF2-40B4-BE49-F238E27FC236}">
                  <a16:creationId xmlns:a16="http://schemas.microsoft.com/office/drawing/2014/main" id="{D2699AC0-5AB4-4732-B271-22E6717AB338}"/>
                </a:ext>
              </a:extLst>
            </p:cNvPr>
            <p:cNvCxnSpPr>
              <a:cxnSpLocks/>
              <a:stCxn id="13" idx="6"/>
              <a:endCxn id="13" idx="4"/>
            </p:cNvCxnSpPr>
            <p:nvPr/>
          </p:nvCxnSpPr>
          <p:spPr>
            <a:xfrm flipH="1">
              <a:off x="-326244" y="230832"/>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28943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787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4" name="Objekt 21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278" imgH="278" progId="TCLayout.ActiveDocument.1">
                  <p:embed/>
                </p:oleObj>
              </mc:Choice>
              <mc:Fallback>
                <p:oleObj name="think-cell Folie" r:id="rId4" imgW="278" imgH="278" progId="TCLayout.ActiveDocument.1">
                  <p:embed/>
                  <p:pic>
                    <p:nvPicPr>
                      <p:cNvPr id="214" name="Objekt 2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Bei der Umsetzung von Verwaltungsleistungen gilt es den grundsätzlichen Prozessablauf eines digitalen Amtsbesuchs zu beachten</a:t>
            </a:r>
          </a:p>
        </p:txBody>
      </p:sp>
      <p:sp>
        <p:nvSpPr>
          <p:cNvPr id="5" name="Foliennummernplatzhalter 4"/>
          <p:cNvSpPr>
            <a:spLocks noGrp="1"/>
          </p:cNvSpPr>
          <p:nvPr>
            <p:ph type="sldNum" sz="quarter" idx="12"/>
          </p:nvPr>
        </p:nvSpPr>
        <p:spPr/>
        <p:txBody>
          <a:bodyPr/>
          <a:lstStyle/>
          <a:p>
            <a:fld id="{D4A18DF9-8FF6-4BA5-BC52-5FB4772E2292}" type="slidenum">
              <a:rPr lang="de-DE" smtClean="0"/>
              <a:pPr/>
              <a:t>2</a:t>
            </a:fld>
            <a:endParaRPr lang="de-DE" dirty="0"/>
          </a:p>
        </p:txBody>
      </p:sp>
      <p:sp>
        <p:nvSpPr>
          <p:cNvPr id="6" name="Textplatzhalter 5"/>
          <p:cNvSpPr>
            <a:spLocks noGrp="1"/>
          </p:cNvSpPr>
          <p:nvPr>
            <p:ph type="body" sz="quarter" idx="14"/>
          </p:nvPr>
        </p:nvSpPr>
        <p:spPr/>
        <p:txBody>
          <a:bodyPr/>
          <a:lstStyle/>
          <a:p>
            <a:r>
              <a:rPr lang="de-DE" dirty="0"/>
              <a:t>Plattformbasierte Verwaltungsdigitalisierung</a:t>
            </a:r>
          </a:p>
        </p:txBody>
      </p:sp>
      <p:sp>
        <p:nvSpPr>
          <p:cNvPr id="7" name="Textplatzhalter 6"/>
          <p:cNvSpPr>
            <a:spLocks noGrp="1"/>
          </p:cNvSpPr>
          <p:nvPr>
            <p:ph type="body" sz="quarter" idx="13"/>
          </p:nvPr>
        </p:nvSpPr>
        <p:spPr/>
        <p:txBody>
          <a:bodyPr/>
          <a:lstStyle/>
          <a:p>
            <a:r>
              <a:rPr lang="de-DE" dirty="0"/>
              <a:t>Prozessablauf eines digitalen Amtsbesuchs</a:t>
            </a:r>
          </a:p>
        </p:txBody>
      </p:sp>
      <p:sp>
        <p:nvSpPr>
          <p:cNvPr id="204" name="Textplatzhalter 203"/>
          <p:cNvSpPr>
            <a:spLocks noGrp="1"/>
          </p:cNvSpPr>
          <p:nvPr>
            <p:ph type="body" sz="quarter" idx="15"/>
          </p:nvPr>
        </p:nvSpPr>
        <p:spPr>
          <a:xfrm>
            <a:off x="693211" y="6454254"/>
            <a:ext cx="5044808" cy="246221"/>
          </a:xfrm>
        </p:spPr>
        <p:txBody>
          <a:bodyPr/>
          <a:lstStyle/>
          <a:p>
            <a:r>
              <a:rPr lang="de-DE" dirty="0"/>
              <a:t>* Theoretisch geht auch DE-Mail – </a:t>
            </a:r>
            <a:r>
              <a:rPr lang="de-DE" dirty="0" err="1"/>
              <a:t>defacto</a:t>
            </a:r>
            <a:r>
              <a:rPr lang="de-DE" dirty="0"/>
              <a:t> nicht relevant, sollte nicht genutzt werden</a:t>
            </a:r>
          </a:p>
          <a:p>
            <a:r>
              <a:rPr lang="de-DE" dirty="0"/>
              <a:t>** XML-Datensatz enthält Postkorb-Handle. Ebenso das PDF der Antragsdaten</a:t>
            </a:r>
          </a:p>
        </p:txBody>
      </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sp>
        <p:nvSpPr>
          <p:cNvPr id="201" name="Abgerundetes Rechteck 12">
            <a:extLst>
              <a:ext uri="{FF2B5EF4-FFF2-40B4-BE49-F238E27FC236}">
                <a16:creationId xmlns:a16="http://schemas.microsoft.com/office/drawing/2014/main" id="{1B9D5F0D-4D47-461F-87B4-88108D79727F}"/>
              </a:ext>
            </a:extLst>
          </p:cNvPr>
          <p:cNvSpPr/>
          <p:nvPr/>
        </p:nvSpPr>
        <p:spPr>
          <a:xfrm>
            <a:off x="3448310" y="2505081"/>
            <a:ext cx="900000" cy="684000"/>
          </a:xfrm>
          <a:prstGeom prst="roundRect">
            <a:avLst>
              <a:gd name="adj" fmla="val 9983"/>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grpSp>
        <p:nvGrpSpPr>
          <p:cNvPr id="202" name="Gruppieren 201"/>
          <p:cNvGrpSpPr/>
          <p:nvPr/>
        </p:nvGrpSpPr>
        <p:grpSpPr>
          <a:xfrm>
            <a:off x="3541633" y="2645228"/>
            <a:ext cx="254762" cy="157335"/>
            <a:chOff x="7073453" y="2563341"/>
            <a:chExt cx="254762" cy="157335"/>
          </a:xfrm>
        </p:grpSpPr>
        <p:sp>
          <p:nvSpPr>
            <p:cNvPr id="203" name="Freihandform: Form 223">
              <a:extLst>
                <a:ext uri="{FF2B5EF4-FFF2-40B4-BE49-F238E27FC236}">
                  <a16:creationId xmlns:a16="http://schemas.microsoft.com/office/drawing/2014/main" id="{D4806A20-A82F-4A5F-AD8C-BD961479E435}"/>
                </a:ext>
              </a:extLst>
            </p:cNvPr>
            <p:cNvSpPr/>
            <p:nvPr/>
          </p:nvSpPr>
          <p:spPr>
            <a:xfrm>
              <a:off x="7073453" y="2584094"/>
              <a:ext cx="162122" cy="136582"/>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270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sp>
          <p:nvSpPr>
            <p:cNvPr id="205" name="Freihandform: Form 224">
              <a:extLst>
                <a:ext uri="{FF2B5EF4-FFF2-40B4-BE49-F238E27FC236}">
                  <a16:creationId xmlns:a16="http://schemas.microsoft.com/office/drawing/2014/main" id="{B0DE8EF5-AD7F-4C08-A1DE-FD7551BB1E27}"/>
                </a:ext>
              </a:extLst>
            </p:cNvPr>
            <p:cNvSpPr/>
            <p:nvPr/>
          </p:nvSpPr>
          <p:spPr>
            <a:xfrm>
              <a:off x="7208940" y="2563341"/>
              <a:ext cx="119275" cy="157335"/>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270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grpSp>
      <p:grpSp>
        <p:nvGrpSpPr>
          <p:cNvPr id="206" name="Gruppieren 510">
            <a:extLst>
              <a:ext uri="{FF2B5EF4-FFF2-40B4-BE49-F238E27FC236}">
                <a16:creationId xmlns:a16="http://schemas.microsoft.com/office/drawing/2014/main" id="{74CD490D-35A7-4536-8EEC-8323CEB1A910}"/>
              </a:ext>
            </a:extLst>
          </p:cNvPr>
          <p:cNvGrpSpPr>
            <a:grpSpLocks noChangeAspect="1"/>
          </p:cNvGrpSpPr>
          <p:nvPr/>
        </p:nvGrpSpPr>
        <p:grpSpPr>
          <a:xfrm>
            <a:off x="4024936" y="2659265"/>
            <a:ext cx="196748" cy="129260"/>
            <a:chOff x="3925395" y="1785648"/>
            <a:chExt cx="552450" cy="457200"/>
          </a:xfrm>
        </p:grpSpPr>
        <p:sp>
          <p:nvSpPr>
            <p:cNvPr id="211" name="Freihandform: Form 166">
              <a:extLst>
                <a:ext uri="{FF2B5EF4-FFF2-40B4-BE49-F238E27FC236}">
                  <a16:creationId xmlns:a16="http://schemas.microsoft.com/office/drawing/2014/main" id="{A7DE4998-3E89-4A94-ACAA-107376A89B44}"/>
                </a:ext>
              </a:extLst>
            </p:cNvPr>
            <p:cNvSpPr/>
            <p:nvPr/>
          </p:nvSpPr>
          <p:spPr>
            <a:xfrm>
              <a:off x="3992070" y="1852323"/>
              <a:ext cx="419100" cy="200025"/>
            </a:xfrm>
            <a:custGeom>
              <a:avLst/>
              <a:gdLst>
                <a:gd name="connsiteX0" fmla="*/ 0 w 419100"/>
                <a:gd name="connsiteY0" fmla="*/ 0 h 200025"/>
                <a:gd name="connsiteX1" fmla="*/ 209550 w 419100"/>
                <a:gd name="connsiteY1" fmla="*/ 200025 h 200025"/>
                <a:gd name="connsiteX2" fmla="*/ 419100 w 419100"/>
                <a:gd name="connsiteY2" fmla="*/ 0 h 200025"/>
              </a:gdLst>
              <a:ahLst/>
              <a:cxnLst>
                <a:cxn ang="0">
                  <a:pos x="connsiteX0" y="connsiteY0"/>
                </a:cxn>
                <a:cxn ang="0">
                  <a:pos x="connsiteX1" y="connsiteY1"/>
                </a:cxn>
                <a:cxn ang="0">
                  <a:pos x="connsiteX2" y="connsiteY2"/>
                </a:cxn>
              </a:cxnLst>
              <a:rect l="l" t="t" r="r" b="b"/>
              <a:pathLst>
                <a:path w="419100" h="200025">
                  <a:moveTo>
                    <a:pt x="0" y="0"/>
                  </a:moveTo>
                  <a:lnTo>
                    <a:pt x="209550" y="200025"/>
                  </a:lnTo>
                  <a:lnTo>
                    <a:pt x="419100" y="0"/>
                  </a:lnTo>
                </a:path>
              </a:pathLst>
            </a:custGeom>
            <a:noFill/>
            <a:ln w="12700" cap="sq">
              <a:solidFill>
                <a:schemeClr val="accent5"/>
              </a:solidFill>
              <a:prstDash val="solid"/>
              <a:miter/>
            </a:ln>
          </p:spPr>
          <p:txBody>
            <a:bodyPr lIns="36000" tIns="36000" rIns="36000" bIns="36000" rtlCol="0" anchor="ctr"/>
            <a:lstStyle/>
            <a:p>
              <a:endParaRPr lang="de-DE" sz="800" dirty="0">
                <a:latin typeface="+mn-lt"/>
              </a:endParaRPr>
            </a:p>
          </p:txBody>
        </p:sp>
        <p:sp>
          <p:nvSpPr>
            <p:cNvPr id="222" name="Freihandform: Form 167">
              <a:extLst>
                <a:ext uri="{FF2B5EF4-FFF2-40B4-BE49-F238E27FC236}">
                  <a16:creationId xmlns:a16="http://schemas.microsoft.com/office/drawing/2014/main" id="{DC64D642-5C23-4E56-9C33-AC23CE2E1CA0}"/>
                </a:ext>
              </a:extLst>
            </p:cNvPr>
            <p:cNvSpPr/>
            <p:nvPr/>
          </p:nvSpPr>
          <p:spPr>
            <a:xfrm>
              <a:off x="3992070" y="2033298"/>
              <a:ext cx="95250" cy="123825"/>
            </a:xfrm>
            <a:custGeom>
              <a:avLst/>
              <a:gdLst>
                <a:gd name="connsiteX0" fmla="*/ 0 w 95250"/>
                <a:gd name="connsiteY0" fmla="*/ 123825 h 123825"/>
                <a:gd name="connsiteX1" fmla="*/ 95250 w 95250"/>
                <a:gd name="connsiteY1" fmla="*/ 0 h 123825"/>
              </a:gdLst>
              <a:ahLst/>
              <a:cxnLst>
                <a:cxn ang="0">
                  <a:pos x="connsiteX0" y="connsiteY0"/>
                </a:cxn>
                <a:cxn ang="0">
                  <a:pos x="connsiteX1" y="connsiteY1"/>
                </a:cxn>
              </a:cxnLst>
              <a:rect l="l" t="t" r="r" b="b"/>
              <a:pathLst>
                <a:path w="95250" h="123825">
                  <a:moveTo>
                    <a:pt x="0" y="123825"/>
                  </a:moveTo>
                  <a:lnTo>
                    <a:pt x="95250" y="0"/>
                  </a:lnTo>
                </a:path>
              </a:pathLst>
            </a:custGeom>
            <a:ln w="12700" cap="sq">
              <a:solidFill>
                <a:schemeClr val="accent5"/>
              </a:solidFill>
              <a:prstDash val="solid"/>
              <a:miter/>
            </a:ln>
          </p:spPr>
          <p:txBody>
            <a:bodyPr lIns="36000" tIns="36000" rIns="36000" bIns="36000" rtlCol="0" anchor="ctr"/>
            <a:lstStyle/>
            <a:p>
              <a:endParaRPr lang="de-DE" sz="800" dirty="0">
                <a:latin typeface="+mn-lt"/>
              </a:endParaRPr>
            </a:p>
          </p:txBody>
        </p:sp>
        <p:sp>
          <p:nvSpPr>
            <p:cNvPr id="223" name="Freihandform: Form 168">
              <a:extLst>
                <a:ext uri="{FF2B5EF4-FFF2-40B4-BE49-F238E27FC236}">
                  <a16:creationId xmlns:a16="http://schemas.microsoft.com/office/drawing/2014/main" id="{75577E59-DD76-48BE-917E-8C56AB080038}"/>
                </a:ext>
              </a:extLst>
            </p:cNvPr>
            <p:cNvSpPr/>
            <p:nvPr/>
          </p:nvSpPr>
          <p:spPr>
            <a:xfrm>
              <a:off x="4315920" y="2033298"/>
              <a:ext cx="95250" cy="123825"/>
            </a:xfrm>
            <a:custGeom>
              <a:avLst/>
              <a:gdLst>
                <a:gd name="connsiteX0" fmla="*/ 0 w 95250"/>
                <a:gd name="connsiteY0" fmla="*/ 0 h 123825"/>
                <a:gd name="connsiteX1" fmla="*/ 95250 w 95250"/>
                <a:gd name="connsiteY1" fmla="*/ 123825 h 123825"/>
              </a:gdLst>
              <a:ahLst/>
              <a:cxnLst>
                <a:cxn ang="0">
                  <a:pos x="connsiteX0" y="connsiteY0"/>
                </a:cxn>
                <a:cxn ang="0">
                  <a:pos x="connsiteX1" y="connsiteY1"/>
                </a:cxn>
              </a:cxnLst>
              <a:rect l="l" t="t" r="r" b="b"/>
              <a:pathLst>
                <a:path w="95250" h="123825">
                  <a:moveTo>
                    <a:pt x="0" y="0"/>
                  </a:moveTo>
                  <a:lnTo>
                    <a:pt x="95250" y="123825"/>
                  </a:lnTo>
                </a:path>
              </a:pathLst>
            </a:custGeom>
            <a:ln w="12700" cap="sq">
              <a:solidFill>
                <a:schemeClr val="accent5"/>
              </a:solidFill>
              <a:prstDash val="solid"/>
              <a:miter/>
            </a:ln>
          </p:spPr>
          <p:txBody>
            <a:bodyPr lIns="36000" tIns="36000" rIns="36000" bIns="36000" rtlCol="0" anchor="ctr"/>
            <a:lstStyle/>
            <a:p>
              <a:endParaRPr lang="de-DE" sz="800" dirty="0">
                <a:latin typeface="+mn-lt"/>
              </a:endParaRPr>
            </a:p>
          </p:txBody>
        </p:sp>
        <p:sp>
          <p:nvSpPr>
            <p:cNvPr id="224" name="Freihandform: Form 169">
              <a:extLst>
                <a:ext uri="{FF2B5EF4-FFF2-40B4-BE49-F238E27FC236}">
                  <a16:creationId xmlns:a16="http://schemas.microsoft.com/office/drawing/2014/main" id="{8CF40263-D27C-4B24-8C84-AAA8BE8EEE48}"/>
                </a:ext>
              </a:extLst>
            </p:cNvPr>
            <p:cNvSpPr/>
            <p:nvPr/>
          </p:nvSpPr>
          <p:spPr>
            <a:xfrm>
              <a:off x="3925395" y="1785648"/>
              <a:ext cx="552450" cy="457200"/>
            </a:xfrm>
            <a:custGeom>
              <a:avLst/>
              <a:gdLst>
                <a:gd name="connsiteX0" fmla="*/ 0 w 552450"/>
                <a:gd name="connsiteY0" fmla="*/ 47625 h 457200"/>
                <a:gd name="connsiteX1" fmla="*/ 0 w 552450"/>
                <a:gd name="connsiteY1" fmla="*/ 409575 h 457200"/>
                <a:gd name="connsiteX2" fmla="*/ 47625 w 552450"/>
                <a:gd name="connsiteY2" fmla="*/ 457200 h 457200"/>
                <a:gd name="connsiteX3" fmla="*/ 504825 w 552450"/>
                <a:gd name="connsiteY3" fmla="*/ 457200 h 457200"/>
                <a:gd name="connsiteX4" fmla="*/ 552450 w 552450"/>
                <a:gd name="connsiteY4" fmla="*/ 409575 h 457200"/>
                <a:gd name="connsiteX5" fmla="*/ 552450 w 552450"/>
                <a:gd name="connsiteY5" fmla="*/ 47625 h 457200"/>
                <a:gd name="connsiteX6" fmla="*/ 504825 w 552450"/>
                <a:gd name="connsiteY6" fmla="*/ 0 h 457200"/>
                <a:gd name="connsiteX7" fmla="*/ 47625 w 552450"/>
                <a:gd name="connsiteY7" fmla="*/ 0 h 457200"/>
                <a:gd name="connsiteX8" fmla="*/ 0 w 552450"/>
                <a:gd name="connsiteY8" fmla="*/ 4762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457200">
                  <a:moveTo>
                    <a:pt x="0" y="47625"/>
                  </a:moveTo>
                  <a:lnTo>
                    <a:pt x="0" y="409575"/>
                  </a:lnTo>
                  <a:cubicBezTo>
                    <a:pt x="0" y="436245"/>
                    <a:pt x="20955" y="457200"/>
                    <a:pt x="47625" y="457200"/>
                  </a:cubicBezTo>
                  <a:lnTo>
                    <a:pt x="504825" y="457200"/>
                  </a:lnTo>
                  <a:cubicBezTo>
                    <a:pt x="531495" y="457200"/>
                    <a:pt x="552450" y="436245"/>
                    <a:pt x="552450" y="409575"/>
                  </a:cubicBezTo>
                  <a:lnTo>
                    <a:pt x="552450" y="47625"/>
                  </a:lnTo>
                  <a:cubicBezTo>
                    <a:pt x="552450" y="20955"/>
                    <a:pt x="531495" y="0"/>
                    <a:pt x="504825" y="0"/>
                  </a:cubicBezTo>
                  <a:lnTo>
                    <a:pt x="47625" y="0"/>
                  </a:lnTo>
                  <a:cubicBezTo>
                    <a:pt x="20955" y="0"/>
                    <a:pt x="0" y="20955"/>
                    <a:pt x="0" y="47625"/>
                  </a:cubicBezTo>
                  <a:close/>
                </a:path>
              </a:pathLst>
            </a:custGeom>
            <a:noFill/>
            <a:ln w="1270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225" name="Textfeld 509">
            <a:extLst>
              <a:ext uri="{FF2B5EF4-FFF2-40B4-BE49-F238E27FC236}">
                <a16:creationId xmlns:a16="http://schemas.microsoft.com/office/drawing/2014/main" id="{F8B1162D-90A9-4807-A120-E2E6D7A3F0B9}"/>
              </a:ext>
            </a:extLst>
          </p:cNvPr>
          <p:cNvSpPr txBox="1">
            <a:spLocks/>
          </p:cNvSpPr>
          <p:nvPr/>
        </p:nvSpPr>
        <p:spPr>
          <a:xfrm>
            <a:off x="3448310"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Nutzer-konto</a:t>
            </a:r>
          </a:p>
        </p:txBody>
      </p:sp>
      <p:sp>
        <p:nvSpPr>
          <p:cNvPr id="226" name="Textfeld 515">
            <a:extLst>
              <a:ext uri="{FF2B5EF4-FFF2-40B4-BE49-F238E27FC236}">
                <a16:creationId xmlns:a16="http://schemas.microsoft.com/office/drawing/2014/main" id="{4C3251A9-846A-47F8-8F0F-B1B5F99431EE}"/>
              </a:ext>
            </a:extLst>
          </p:cNvPr>
          <p:cNvSpPr txBox="1">
            <a:spLocks/>
          </p:cNvSpPr>
          <p:nvPr/>
        </p:nvSpPr>
        <p:spPr>
          <a:xfrm>
            <a:off x="3898310"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Postfach</a:t>
            </a:r>
          </a:p>
        </p:txBody>
      </p:sp>
      <p:sp>
        <p:nvSpPr>
          <p:cNvPr id="228" name="Abgerundetes Rechteck 13">
            <a:extLst>
              <a:ext uri="{FF2B5EF4-FFF2-40B4-BE49-F238E27FC236}">
                <a16:creationId xmlns:a16="http://schemas.microsoft.com/office/drawing/2014/main" id="{5CD60640-289D-4D30-8AE0-0F7EB7900213}"/>
              </a:ext>
            </a:extLst>
          </p:cNvPr>
          <p:cNvSpPr/>
          <p:nvPr/>
        </p:nvSpPr>
        <p:spPr>
          <a:xfrm>
            <a:off x="3037634" y="4644179"/>
            <a:ext cx="4128865" cy="950038"/>
          </a:xfrm>
          <a:prstGeom prst="roundRect">
            <a:avLst>
              <a:gd name="adj" fmla="val 6390"/>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sp>
        <p:nvSpPr>
          <p:cNvPr id="237" name="Textfeld 236">
            <a:extLst>
              <a:ext uri="{FF2B5EF4-FFF2-40B4-BE49-F238E27FC236}">
                <a16:creationId xmlns:a16="http://schemas.microsoft.com/office/drawing/2014/main" id="{306D977B-E9B3-4510-A00B-D9B69D94EE77}"/>
              </a:ext>
            </a:extLst>
          </p:cNvPr>
          <p:cNvSpPr txBox="1">
            <a:spLocks noChangeAspect="1"/>
          </p:cNvSpPr>
          <p:nvPr/>
        </p:nvSpPr>
        <p:spPr>
          <a:xfrm>
            <a:off x="829074" y="2718595"/>
            <a:ext cx="93588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Verwaltungskunde</a:t>
            </a:r>
          </a:p>
        </p:txBody>
      </p:sp>
      <p:cxnSp>
        <p:nvCxnSpPr>
          <p:cNvPr id="238" name="Gerade Verbindung mit Pfeil 237">
            <a:extLst>
              <a:ext uri="{FF2B5EF4-FFF2-40B4-BE49-F238E27FC236}">
                <a16:creationId xmlns:a16="http://schemas.microsoft.com/office/drawing/2014/main" id="{781D0F32-56FD-4CBC-98CE-4B342E8E7592}"/>
              </a:ext>
            </a:extLst>
          </p:cNvPr>
          <p:cNvCxnSpPr>
            <a:cxnSpLocks/>
            <a:stCxn id="237" idx="2"/>
            <a:endCxn id="241" idx="0"/>
          </p:cNvCxnSpPr>
          <p:nvPr/>
        </p:nvCxnSpPr>
        <p:spPr>
          <a:xfrm>
            <a:off x="1297014" y="2914409"/>
            <a:ext cx="1" cy="435083"/>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9" name="Textfeld 238">
            <a:extLst>
              <a:ext uri="{FF2B5EF4-FFF2-40B4-BE49-F238E27FC236}">
                <a16:creationId xmlns:a16="http://schemas.microsoft.com/office/drawing/2014/main" id="{81D4D4BE-9DF6-452C-9DB3-17575C18E898}"/>
              </a:ext>
            </a:extLst>
          </p:cNvPr>
          <p:cNvSpPr txBox="1"/>
          <p:nvPr/>
        </p:nvSpPr>
        <p:spPr>
          <a:xfrm>
            <a:off x="1808794" y="5433134"/>
            <a:ext cx="1242379" cy="442035"/>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Link zu Service der zuständigen Behörde (Webadresse)</a:t>
            </a:r>
          </a:p>
        </p:txBody>
      </p:sp>
      <p:sp>
        <p:nvSpPr>
          <p:cNvPr id="240" name="Freihandform: Form 169">
            <a:extLst>
              <a:ext uri="{FF2B5EF4-FFF2-40B4-BE49-F238E27FC236}">
                <a16:creationId xmlns:a16="http://schemas.microsoft.com/office/drawing/2014/main" id="{1A0DFE7C-E574-4BFD-B13E-0EA280877A90}"/>
              </a:ext>
            </a:extLst>
          </p:cNvPr>
          <p:cNvSpPr/>
          <p:nvPr/>
        </p:nvSpPr>
        <p:spPr>
          <a:xfrm>
            <a:off x="2309685" y="5201072"/>
            <a:ext cx="240596" cy="210245"/>
          </a:xfrm>
          <a:custGeom>
            <a:avLst/>
            <a:gdLst>
              <a:gd name="connsiteX0" fmla="*/ 181096 w 229673"/>
              <a:gd name="connsiteY0" fmla="*/ 95250 h 248602"/>
              <a:gd name="connsiteX1" fmla="*/ 228721 w 229673"/>
              <a:gd name="connsiteY1" fmla="*/ 47625 h 248602"/>
              <a:gd name="connsiteX2" fmla="*/ 181096 w 229673"/>
              <a:gd name="connsiteY2" fmla="*/ 0 h 248602"/>
              <a:gd name="connsiteX3" fmla="*/ 133471 w 229673"/>
              <a:gd name="connsiteY3" fmla="*/ 47625 h 248602"/>
              <a:gd name="connsiteX4" fmla="*/ 135376 w 229673"/>
              <a:gd name="connsiteY4" fmla="*/ 60960 h 248602"/>
              <a:gd name="connsiteX5" fmla="*/ 81084 w 229673"/>
              <a:gd name="connsiteY5" fmla="*/ 89535 h 248602"/>
              <a:gd name="connsiteX6" fmla="*/ 13456 w 229673"/>
              <a:gd name="connsiteY6" fmla="*/ 90488 h 248602"/>
              <a:gd name="connsiteX7" fmla="*/ 14409 w 229673"/>
              <a:gd name="connsiteY7" fmla="*/ 158115 h 248602"/>
              <a:gd name="connsiteX8" fmla="*/ 81084 w 229673"/>
              <a:gd name="connsiteY8" fmla="*/ 158115 h 248602"/>
              <a:gd name="connsiteX9" fmla="*/ 135376 w 229673"/>
              <a:gd name="connsiteY9" fmla="*/ 186690 h 248602"/>
              <a:gd name="connsiteX10" fmla="*/ 133471 w 229673"/>
              <a:gd name="connsiteY10" fmla="*/ 200025 h 248602"/>
              <a:gd name="connsiteX11" fmla="*/ 181096 w 229673"/>
              <a:gd name="connsiteY11" fmla="*/ 248602 h 248602"/>
              <a:gd name="connsiteX12" fmla="*/ 229674 w 229673"/>
              <a:gd name="connsiteY12" fmla="*/ 200977 h 248602"/>
              <a:gd name="connsiteX13" fmla="*/ 182049 w 229673"/>
              <a:gd name="connsiteY13" fmla="*/ 152400 h 248602"/>
              <a:gd name="connsiteX14" fmla="*/ 143949 w 229673"/>
              <a:gd name="connsiteY14" fmla="*/ 169545 h 248602"/>
              <a:gd name="connsiteX15" fmla="*/ 91561 w 229673"/>
              <a:gd name="connsiteY15" fmla="*/ 141923 h 248602"/>
              <a:gd name="connsiteX16" fmla="*/ 91561 w 229673"/>
              <a:gd name="connsiteY16" fmla="*/ 105727 h 248602"/>
              <a:gd name="connsiteX17" fmla="*/ 143949 w 229673"/>
              <a:gd name="connsiteY17" fmla="*/ 78105 h 248602"/>
              <a:gd name="connsiteX18" fmla="*/ 181096 w 229673"/>
              <a:gd name="connsiteY18" fmla="*/ 95250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9673" h="248602">
                <a:moveTo>
                  <a:pt x="181096" y="95250"/>
                </a:moveTo>
                <a:cubicBezTo>
                  <a:pt x="207766" y="95250"/>
                  <a:pt x="228721" y="74295"/>
                  <a:pt x="228721" y="47625"/>
                </a:cubicBezTo>
                <a:cubicBezTo>
                  <a:pt x="228721" y="20955"/>
                  <a:pt x="207766" y="0"/>
                  <a:pt x="181096" y="0"/>
                </a:cubicBezTo>
                <a:cubicBezTo>
                  <a:pt x="154426" y="0"/>
                  <a:pt x="133471" y="20955"/>
                  <a:pt x="133471" y="47625"/>
                </a:cubicBezTo>
                <a:cubicBezTo>
                  <a:pt x="133471" y="52388"/>
                  <a:pt x="134424" y="56198"/>
                  <a:pt x="135376" y="60960"/>
                </a:cubicBezTo>
                <a:lnTo>
                  <a:pt x="81084" y="89535"/>
                </a:lnTo>
                <a:cubicBezTo>
                  <a:pt x="62034" y="71438"/>
                  <a:pt x="32506" y="71438"/>
                  <a:pt x="13456" y="90488"/>
                </a:cubicBezTo>
                <a:cubicBezTo>
                  <a:pt x="-4641" y="109538"/>
                  <a:pt x="-4641" y="139065"/>
                  <a:pt x="14409" y="158115"/>
                </a:cubicBezTo>
                <a:cubicBezTo>
                  <a:pt x="32506" y="176213"/>
                  <a:pt x="62034" y="176213"/>
                  <a:pt x="81084" y="158115"/>
                </a:cubicBezTo>
                <a:lnTo>
                  <a:pt x="135376" y="186690"/>
                </a:lnTo>
                <a:cubicBezTo>
                  <a:pt x="134424" y="191452"/>
                  <a:pt x="133471" y="195263"/>
                  <a:pt x="133471" y="200025"/>
                </a:cubicBezTo>
                <a:cubicBezTo>
                  <a:pt x="133471" y="226695"/>
                  <a:pt x="154426" y="248602"/>
                  <a:pt x="181096" y="248602"/>
                </a:cubicBezTo>
                <a:cubicBezTo>
                  <a:pt x="207766" y="248602"/>
                  <a:pt x="229674" y="227648"/>
                  <a:pt x="229674" y="200977"/>
                </a:cubicBezTo>
                <a:cubicBezTo>
                  <a:pt x="229674" y="174308"/>
                  <a:pt x="208719" y="152400"/>
                  <a:pt x="182049" y="152400"/>
                </a:cubicBezTo>
                <a:cubicBezTo>
                  <a:pt x="167761" y="152400"/>
                  <a:pt x="153474" y="159068"/>
                  <a:pt x="143949" y="169545"/>
                </a:cubicBezTo>
                <a:lnTo>
                  <a:pt x="91561" y="141923"/>
                </a:lnTo>
                <a:cubicBezTo>
                  <a:pt x="96324" y="130493"/>
                  <a:pt x="96324" y="117157"/>
                  <a:pt x="91561" y="105727"/>
                </a:cubicBezTo>
                <a:lnTo>
                  <a:pt x="143949" y="78105"/>
                </a:lnTo>
                <a:cubicBezTo>
                  <a:pt x="153474" y="88582"/>
                  <a:pt x="166809" y="95250"/>
                  <a:pt x="181096" y="95250"/>
                </a:cubicBezTo>
                <a:close/>
              </a:path>
            </a:pathLst>
          </a:custGeom>
          <a:solidFill>
            <a:schemeClr val="accent5"/>
          </a:solidFill>
          <a:ln w="9525" cap="flat">
            <a:solidFill>
              <a:schemeClr val="accent5"/>
            </a:solidFill>
            <a:prstDash val="solid"/>
            <a:miter/>
          </a:ln>
        </p:spPr>
        <p:txBody>
          <a:bodyPr lIns="36000" tIns="36000" rIns="36000" bIns="36000" rtlCol="0" anchor="ctr"/>
          <a:lstStyle/>
          <a:p>
            <a:endParaRPr lang="de-DE" sz="800" dirty="0">
              <a:latin typeface="+mn-lt"/>
            </a:endParaRPr>
          </a:p>
        </p:txBody>
      </p:sp>
      <p:sp>
        <p:nvSpPr>
          <p:cNvPr id="241" name="Abgerundetes Rechteck 11">
            <a:extLst>
              <a:ext uri="{FF2B5EF4-FFF2-40B4-BE49-F238E27FC236}">
                <a16:creationId xmlns:a16="http://schemas.microsoft.com/office/drawing/2014/main" id="{AEA2CB68-A3D9-4825-BCF9-7FB990F1F2C0}"/>
              </a:ext>
            </a:extLst>
          </p:cNvPr>
          <p:cNvSpPr/>
          <p:nvPr/>
        </p:nvSpPr>
        <p:spPr>
          <a:xfrm>
            <a:off x="719743" y="3349492"/>
            <a:ext cx="1154543" cy="2244724"/>
          </a:xfrm>
          <a:prstGeom prst="roundRect">
            <a:avLst>
              <a:gd name="adj" fmla="val 4620"/>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grpSp>
        <p:nvGrpSpPr>
          <p:cNvPr id="242" name="Gruppieren 241">
            <a:extLst>
              <a:ext uri="{FF2B5EF4-FFF2-40B4-BE49-F238E27FC236}">
                <a16:creationId xmlns:a16="http://schemas.microsoft.com/office/drawing/2014/main" id="{374DF1A9-CD1C-4379-AE16-C53189FD93BB}"/>
              </a:ext>
            </a:extLst>
          </p:cNvPr>
          <p:cNvGrpSpPr>
            <a:grpSpLocks noChangeAspect="1"/>
          </p:cNvGrpSpPr>
          <p:nvPr/>
        </p:nvGrpSpPr>
        <p:grpSpPr>
          <a:xfrm>
            <a:off x="1068985" y="4639646"/>
            <a:ext cx="456058" cy="401653"/>
            <a:chOff x="1384220" y="4721915"/>
            <a:chExt cx="523875" cy="571500"/>
          </a:xfrm>
        </p:grpSpPr>
        <p:sp>
          <p:nvSpPr>
            <p:cNvPr id="243" name="Freihandform: Form 538">
              <a:extLst>
                <a:ext uri="{FF2B5EF4-FFF2-40B4-BE49-F238E27FC236}">
                  <a16:creationId xmlns:a16="http://schemas.microsoft.com/office/drawing/2014/main" id="{2744B768-A24E-4610-B2DD-8EB7A8FDDF3A}"/>
                </a:ext>
              </a:extLst>
            </p:cNvPr>
            <p:cNvSpPr/>
            <p:nvPr/>
          </p:nvSpPr>
          <p:spPr>
            <a:xfrm>
              <a:off x="1384220" y="4721915"/>
              <a:ext cx="457200" cy="571500"/>
            </a:xfrm>
            <a:custGeom>
              <a:avLst/>
              <a:gdLst>
                <a:gd name="connsiteX0" fmla="*/ 266700 w 457200"/>
                <a:gd name="connsiteY0" fmla="*/ 571500 h 571500"/>
                <a:gd name="connsiteX1" fmla="*/ 0 w 457200"/>
                <a:gd name="connsiteY1" fmla="*/ 571500 h 571500"/>
                <a:gd name="connsiteX2" fmla="*/ 0 w 457200"/>
                <a:gd name="connsiteY2" fmla="*/ 0 h 571500"/>
                <a:gd name="connsiteX3" fmla="*/ 457200 w 457200"/>
                <a:gd name="connsiteY3" fmla="*/ 0 h 571500"/>
                <a:gd name="connsiteX4" fmla="*/ 457200 w 4572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71500">
                  <a:moveTo>
                    <a:pt x="266700" y="571500"/>
                  </a:moveTo>
                  <a:lnTo>
                    <a:pt x="0" y="571500"/>
                  </a:lnTo>
                  <a:lnTo>
                    <a:pt x="0" y="0"/>
                  </a:lnTo>
                  <a:lnTo>
                    <a:pt x="457200" y="0"/>
                  </a:lnTo>
                  <a:lnTo>
                    <a:pt x="457200" y="28575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44" name="Freihandform: Form 539">
              <a:extLst>
                <a:ext uri="{FF2B5EF4-FFF2-40B4-BE49-F238E27FC236}">
                  <a16:creationId xmlns:a16="http://schemas.microsoft.com/office/drawing/2014/main" id="{E64DE43F-F675-4FDF-8BCA-5861EB5EA13E}"/>
                </a:ext>
              </a:extLst>
            </p:cNvPr>
            <p:cNvSpPr/>
            <p:nvPr/>
          </p:nvSpPr>
          <p:spPr>
            <a:xfrm>
              <a:off x="1584245" y="485526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45" name="Freihandform: Form 540">
              <a:extLst>
                <a:ext uri="{FF2B5EF4-FFF2-40B4-BE49-F238E27FC236}">
                  <a16:creationId xmlns:a16="http://schemas.microsoft.com/office/drawing/2014/main" id="{6DC9A462-E3D3-4F27-A439-3FA2412859F4}"/>
                </a:ext>
              </a:extLst>
            </p:cNvPr>
            <p:cNvSpPr/>
            <p:nvPr/>
          </p:nvSpPr>
          <p:spPr>
            <a:xfrm>
              <a:off x="1488995" y="5141015"/>
              <a:ext cx="123825" cy="9525"/>
            </a:xfrm>
            <a:custGeom>
              <a:avLst/>
              <a:gdLst>
                <a:gd name="connsiteX0" fmla="*/ 0 w 123825"/>
                <a:gd name="connsiteY0" fmla="*/ 0 h 9525"/>
                <a:gd name="connsiteX1" fmla="*/ 123825 w 123825"/>
                <a:gd name="connsiteY1" fmla="*/ 0 h 9525"/>
              </a:gdLst>
              <a:ahLst/>
              <a:cxnLst>
                <a:cxn ang="0">
                  <a:pos x="connsiteX0" y="connsiteY0"/>
                </a:cxn>
                <a:cxn ang="0">
                  <a:pos x="connsiteX1" y="connsiteY1"/>
                </a:cxn>
              </a:cxnLst>
              <a:rect l="l" t="t" r="r" b="b"/>
              <a:pathLst>
                <a:path w="123825" h="9525">
                  <a:moveTo>
                    <a:pt x="0" y="0"/>
                  </a:moveTo>
                  <a:lnTo>
                    <a:pt x="12382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46" name="Freihandform: Form 541">
              <a:extLst>
                <a:ext uri="{FF2B5EF4-FFF2-40B4-BE49-F238E27FC236}">
                  <a16:creationId xmlns:a16="http://schemas.microsoft.com/office/drawing/2014/main" id="{927F290D-E2BD-4573-9A47-6B8412DC51C1}"/>
                </a:ext>
              </a:extLst>
            </p:cNvPr>
            <p:cNvSpPr/>
            <p:nvPr/>
          </p:nvSpPr>
          <p:spPr>
            <a:xfrm>
              <a:off x="1488995" y="48552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47" name="Freihandform: Form 542">
              <a:extLst>
                <a:ext uri="{FF2B5EF4-FFF2-40B4-BE49-F238E27FC236}">
                  <a16:creationId xmlns:a16="http://schemas.microsoft.com/office/drawing/2014/main" id="{C983F9A3-FD87-49FE-A188-A6B4B3610617}"/>
                </a:ext>
              </a:extLst>
            </p:cNvPr>
            <p:cNvSpPr/>
            <p:nvPr/>
          </p:nvSpPr>
          <p:spPr>
            <a:xfrm>
              <a:off x="1584245" y="495051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48" name="Freihandform: Form 543">
              <a:extLst>
                <a:ext uri="{FF2B5EF4-FFF2-40B4-BE49-F238E27FC236}">
                  <a16:creationId xmlns:a16="http://schemas.microsoft.com/office/drawing/2014/main" id="{0D7AF888-D61E-4BC0-801D-59A17978D18A}"/>
                </a:ext>
              </a:extLst>
            </p:cNvPr>
            <p:cNvSpPr/>
            <p:nvPr/>
          </p:nvSpPr>
          <p:spPr>
            <a:xfrm>
              <a:off x="1488995" y="495051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49" name="Freihandform: Form 544">
              <a:extLst>
                <a:ext uri="{FF2B5EF4-FFF2-40B4-BE49-F238E27FC236}">
                  <a16:creationId xmlns:a16="http://schemas.microsoft.com/office/drawing/2014/main" id="{18BC9A56-8142-4C06-8211-3809445EAE68}"/>
                </a:ext>
              </a:extLst>
            </p:cNvPr>
            <p:cNvSpPr/>
            <p:nvPr/>
          </p:nvSpPr>
          <p:spPr>
            <a:xfrm>
              <a:off x="1584245" y="5045765"/>
              <a:ext cx="85725" cy="9525"/>
            </a:xfrm>
            <a:custGeom>
              <a:avLst/>
              <a:gdLst>
                <a:gd name="connsiteX0" fmla="*/ 0 w 85725"/>
                <a:gd name="connsiteY0" fmla="*/ 0 h 9525"/>
                <a:gd name="connsiteX1" fmla="*/ 85725 w 85725"/>
                <a:gd name="connsiteY1" fmla="*/ 0 h 9525"/>
              </a:gdLst>
              <a:ahLst/>
              <a:cxnLst>
                <a:cxn ang="0">
                  <a:pos x="connsiteX0" y="connsiteY0"/>
                </a:cxn>
                <a:cxn ang="0">
                  <a:pos x="connsiteX1" y="connsiteY1"/>
                </a:cxn>
              </a:cxnLst>
              <a:rect l="l" t="t" r="r" b="b"/>
              <a:pathLst>
                <a:path w="85725" h="9525">
                  <a:moveTo>
                    <a:pt x="0" y="0"/>
                  </a:moveTo>
                  <a:lnTo>
                    <a:pt x="8572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50" name="Freihandform: Form 545">
              <a:extLst>
                <a:ext uri="{FF2B5EF4-FFF2-40B4-BE49-F238E27FC236}">
                  <a16:creationId xmlns:a16="http://schemas.microsoft.com/office/drawing/2014/main" id="{D995C39D-F1C9-452F-B9AC-17CCA6F92A4D}"/>
                </a:ext>
              </a:extLst>
            </p:cNvPr>
            <p:cNvSpPr/>
            <p:nvPr/>
          </p:nvSpPr>
          <p:spPr>
            <a:xfrm>
              <a:off x="1488995" y="50457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51" name="Freihandform: Form 546">
              <a:extLst>
                <a:ext uri="{FF2B5EF4-FFF2-40B4-BE49-F238E27FC236}">
                  <a16:creationId xmlns:a16="http://schemas.microsoft.com/office/drawing/2014/main" id="{1DA6F193-EEDA-4E0D-BE1A-8F95C2659893}"/>
                </a:ext>
              </a:extLst>
            </p:cNvPr>
            <p:cNvSpPr/>
            <p:nvPr/>
          </p:nvSpPr>
          <p:spPr>
            <a:xfrm>
              <a:off x="1793795" y="5141015"/>
              <a:ext cx="9525" cy="76200"/>
            </a:xfrm>
            <a:custGeom>
              <a:avLst/>
              <a:gdLst>
                <a:gd name="connsiteX0" fmla="*/ 0 w 9525"/>
                <a:gd name="connsiteY0" fmla="*/ 0 h 76200"/>
                <a:gd name="connsiteX1" fmla="*/ 0 w 9525"/>
                <a:gd name="connsiteY1" fmla="*/ 76200 h 76200"/>
              </a:gdLst>
              <a:ahLst/>
              <a:cxnLst>
                <a:cxn ang="0">
                  <a:pos x="connsiteX0" y="connsiteY0"/>
                </a:cxn>
                <a:cxn ang="0">
                  <a:pos x="connsiteX1" y="connsiteY1"/>
                </a:cxn>
              </a:cxnLst>
              <a:rect l="l" t="t" r="r" b="b"/>
              <a:pathLst>
                <a:path w="9525" h="76200">
                  <a:moveTo>
                    <a:pt x="0" y="0"/>
                  </a:moveTo>
                  <a:lnTo>
                    <a:pt x="0" y="7620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52" name="Freihandform: Form 547">
              <a:extLst>
                <a:ext uri="{FF2B5EF4-FFF2-40B4-BE49-F238E27FC236}">
                  <a16:creationId xmlns:a16="http://schemas.microsoft.com/office/drawing/2014/main" id="{E5090021-59FB-4BED-9A62-3D82FBF69352}"/>
                </a:ext>
              </a:extLst>
            </p:cNvPr>
            <p:cNvSpPr/>
            <p:nvPr/>
          </p:nvSpPr>
          <p:spPr>
            <a:xfrm>
              <a:off x="1755695" y="5179115"/>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53" name="Freihandform: Form 548">
              <a:extLst>
                <a:ext uri="{FF2B5EF4-FFF2-40B4-BE49-F238E27FC236}">
                  <a16:creationId xmlns:a16="http://schemas.microsoft.com/office/drawing/2014/main" id="{2E45F68D-1141-4D3C-A336-BB52F6C3B210}"/>
                </a:ext>
              </a:extLst>
            </p:cNvPr>
            <p:cNvSpPr/>
            <p:nvPr/>
          </p:nvSpPr>
          <p:spPr>
            <a:xfrm>
              <a:off x="1679495" y="5064815"/>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grpSp>
      <p:grpSp>
        <p:nvGrpSpPr>
          <p:cNvPr id="254" name="Grafik 33">
            <a:extLst>
              <a:ext uri="{FF2B5EF4-FFF2-40B4-BE49-F238E27FC236}">
                <a16:creationId xmlns:a16="http://schemas.microsoft.com/office/drawing/2014/main" id="{218B79F5-CF39-447A-B8E9-F2CC4930389E}"/>
              </a:ext>
            </a:extLst>
          </p:cNvPr>
          <p:cNvGrpSpPr>
            <a:grpSpLocks noChangeAspect="1"/>
          </p:cNvGrpSpPr>
          <p:nvPr/>
        </p:nvGrpSpPr>
        <p:grpSpPr>
          <a:xfrm>
            <a:off x="1087477" y="3523828"/>
            <a:ext cx="419074" cy="304953"/>
            <a:chOff x="8500865" y="2492965"/>
            <a:chExt cx="560069" cy="504825"/>
          </a:xfrm>
          <a:noFill/>
        </p:grpSpPr>
        <p:sp>
          <p:nvSpPr>
            <p:cNvPr id="255" name="Freihandform: Form 442">
              <a:extLst>
                <a:ext uri="{FF2B5EF4-FFF2-40B4-BE49-F238E27FC236}">
                  <a16:creationId xmlns:a16="http://schemas.microsoft.com/office/drawing/2014/main" id="{C93870F2-0FF5-4B26-9B46-18416D9BDF7B}"/>
                </a:ext>
              </a:extLst>
            </p:cNvPr>
            <p:cNvSpPr/>
            <p:nvPr/>
          </p:nvSpPr>
          <p:spPr>
            <a:xfrm>
              <a:off x="8874245" y="2797765"/>
              <a:ext cx="179069" cy="76200"/>
            </a:xfrm>
            <a:custGeom>
              <a:avLst/>
              <a:gdLst>
                <a:gd name="connsiteX0" fmla="*/ 0 w 179069"/>
                <a:gd name="connsiteY0" fmla="*/ 76200 h 76200"/>
                <a:gd name="connsiteX1" fmla="*/ 93345 w 179069"/>
                <a:gd name="connsiteY1" fmla="*/ 0 h 76200"/>
                <a:gd name="connsiteX2" fmla="*/ 179070 w 179069"/>
                <a:gd name="connsiteY2" fmla="*/ 57150 h 76200"/>
              </a:gdLst>
              <a:ahLst/>
              <a:cxnLst>
                <a:cxn ang="0">
                  <a:pos x="connsiteX0" y="connsiteY0"/>
                </a:cxn>
                <a:cxn ang="0">
                  <a:pos x="connsiteX1" y="connsiteY1"/>
                </a:cxn>
                <a:cxn ang="0">
                  <a:pos x="connsiteX2" y="connsiteY2"/>
                </a:cxn>
              </a:cxnLst>
              <a:rect l="l" t="t" r="r" b="b"/>
              <a:pathLst>
                <a:path w="179069" h="76200">
                  <a:moveTo>
                    <a:pt x="0" y="76200"/>
                  </a:moveTo>
                  <a:cubicBezTo>
                    <a:pt x="8572" y="32385"/>
                    <a:pt x="47625" y="0"/>
                    <a:pt x="93345" y="0"/>
                  </a:cubicBezTo>
                  <a:cubicBezTo>
                    <a:pt x="132397" y="0"/>
                    <a:pt x="164783" y="23813"/>
                    <a:pt x="179070" y="57150"/>
                  </a:cubicBezTo>
                </a:path>
              </a:pathLst>
            </a:custGeom>
            <a:noFill/>
            <a:ln w="28575" cap="flat">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256" name="Freihandform: Form 443">
              <a:extLst>
                <a:ext uri="{FF2B5EF4-FFF2-40B4-BE49-F238E27FC236}">
                  <a16:creationId xmlns:a16="http://schemas.microsoft.com/office/drawing/2014/main" id="{99787ECD-6A3F-45C8-958C-14C2DF97F7CC}"/>
                </a:ext>
              </a:extLst>
            </p:cNvPr>
            <p:cNvSpPr/>
            <p:nvPr/>
          </p:nvSpPr>
          <p:spPr>
            <a:xfrm>
              <a:off x="8881865" y="2912065"/>
              <a:ext cx="179069" cy="76200"/>
            </a:xfrm>
            <a:custGeom>
              <a:avLst/>
              <a:gdLst>
                <a:gd name="connsiteX0" fmla="*/ 179070 w 179069"/>
                <a:gd name="connsiteY0" fmla="*/ 0 h 76200"/>
                <a:gd name="connsiteX1" fmla="*/ 85725 w 179069"/>
                <a:gd name="connsiteY1" fmla="*/ 76200 h 76200"/>
                <a:gd name="connsiteX2" fmla="*/ 0 w 179069"/>
                <a:gd name="connsiteY2" fmla="*/ 19050 h 76200"/>
              </a:gdLst>
              <a:ahLst/>
              <a:cxnLst>
                <a:cxn ang="0">
                  <a:pos x="connsiteX0" y="connsiteY0"/>
                </a:cxn>
                <a:cxn ang="0">
                  <a:pos x="connsiteX1" y="connsiteY1"/>
                </a:cxn>
                <a:cxn ang="0">
                  <a:pos x="connsiteX2" y="connsiteY2"/>
                </a:cxn>
              </a:cxnLst>
              <a:rect l="l" t="t" r="r" b="b"/>
              <a:pathLst>
                <a:path w="179069" h="76200">
                  <a:moveTo>
                    <a:pt x="179070" y="0"/>
                  </a:moveTo>
                  <a:cubicBezTo>
                    <a:pt x="170498" y="43815"/>
                    <a:pt x="131445" y="76200"/>
                    <a:pt x="85725" y="76200"/>
                  </a:cubicBezTo>
                  <a:cubicBezTo>
                    <a:pt x="46673" y="76200"/>
                    <a:pt x="14288" y="52388"/>
                    <a:pt x="0" y="19050"/>
                  </a:cubicBezTo>
                </a:path>
              </a:pathLst>
            </a:custGeom>
            <a:noFill/>
            <a:ln w="28575" cap="flat">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257" name="Freihandform: Form 444">
              <a:extLst>
                <a:ext uri="{FF2B5EF4-FFF2-40B4-BE49-F238E27FC236}">
                  <a16:creationId xmlns:a16="http://schemas.microsoft.com/office/drawing/2014/main" id="{BC84BB00-9886-4B42-A790-E2236343ABD5}"/>
                </a:ext>
              </a:extLst>
            </p:cNvPr>
            <p:cNvSpPr/>
            <p:nvPr/>
          </p:nvSpPr>
          <p:spPr>
            <a:xfrm>
              <a:off x="8986640" y="2788240"/>
              <a:ext cx="66675" cy="66675"/>
            </a:xfrm>
            <a:custGeom>
              <a:avLst/>
              <a:gdLst>
                <a:gd name="connsiteX0" fmla="*/ 66675 w 66675"/>
                <a:gd name="connsiteY0" fmla="*/ 0 h 66675"/>
                <a:gd name="connsiteX1" fmla="*/ 66675 w 66675"/>
                <a:gd name="connsiteY1" fmla="*/ 66675 h 66675"/>
                <a:gd name="connsiteX2" fmla="*/ 0 w 66675"/>
                <a:gd name="connsiteY2" fmla="*/ 66675 h 66675"/>
              </a:gdLst>
              <a:ahLst/>
              <a:cxnLst>
                <a:cxn ang="0">
                  <a:pos x="connsiteX0" y="connsiteY0"/>
                </a:cxn>
                <a:cxn ang="0">
                  <a:pos x="connsiteX1" y="connsiteY1"/>
                </a:cxn>
                <a:cxn ang="0">
                  <a:pos x="connsiteX2" y="connsiteY2"/>
                </a:cxn>
              </a:cxnLst>
              <a:rect l="l" t="t" r="r" b="b"/>
              <a:pathLst>
                <a:path w="66675" h="66675">
                  <a:moveTo>
                    <a:pt x="66675" y="0"/>
                  </a:moveTo>
                  <a:lnTo>
                    <a:pt x="66675" y="66675"/>
                  </a:lnTo>
                  <a:lnTo>
                    <a:pt x="0" y="66675"/>
                  </a:lnTo>
                </a:path>
              </a:pathLst>
            </a:custGeom>
            <a:noFill/>
            <a:ln w="28575"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258" name="Freihandform: Form 445">
              <a:extLst>
                <a:ext uri="{FF2B5EF4-FFF2-40B4-BE49-F238E27FC236}">
                  <a16:creationId xmlns:a16="http://schemas.microsoft.com/office/drawing/2014/main" id="{9868504C-491A-4A49-A21F-6BAB765848A2}"/>
                </a:ext>
              </a:extLst>
            </p:cNvPr>
            <p:cNvSpPr/>
            <p:nvPr/>
          </p:nvSpPr>
          <p:spPr>
            <a:xfrm>
              <a:off x="8881865" y="2931115"/>
              <a:ext cx="66675" cy="66675"/>
            </a:xfrm>
            <a:custGeom>
              <a:avLst/>
              <a:gdLst>
                <a:gd name="connsiteX0" fmla="*/ 0 w 66675"/>
                <a:gd name="connsiteY0" fmla="*/ 66675 h 66675"/>
                <a:gd name="connsiteX1" fmla="*/ 0 w 66675"/>
                <a:gd name="connsiteY1" fmla="*/ 0 h 66675"/>
                <a:gd name="connsiteX2" fmla="*/ 66675 w 66675"/>
                <a:gd name="connsiteY2" fmla="*/ 0 h 66675"/>
              </a:gdLst>
              <a:ahLst/>
              <a:cxnLst>
                <a:cxn ang="0">
                  <a:pos x="connsiteX0" y="connsiteY0"/>
                </a:cxn>
                <a:cxn ang="0">
                  <a:pos x="connsiteX1" y="connsiteY1"/>
                </a:cxn>
                <a:cxn ang="0">
                  <a:pos x="connsiteX2" y="connsiteY2"/>
                </a:cxn>
              </a:cxnLst>
              <a:rect l="l" t="t" r="r" b="b"/>
              <a:pathLst>
                <a:path w="66675" h="66675">
                  <a:moveTo>
                    <a:pt x="0" y="66675"/>
                  </a:moveTo>
                  <a:lnTo>
                    <a:pt x="0" y="0"/>
                  </a:lnTo>
                  <a:lnTo>
                    <a:pt x="66675" y="0"/>
                  </a:lnTo>
                </a:path>
              </a:pathLst>
            </a:custGeom>
            <a:noFill/>
            <a:ln w="28575"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259" name="Freihandform: Form 446">
              <a:extLst>
                <a:ext uri="{FF2B5EF4-FFF2-40B4-BE49-F238E27FC236}">
                  <a16:creationId xmlns:a16="http://schemas.microsoft.com/office/drawing/2014/main" id="{3D07BB22-043F-467C-BD20-D6889292F261}"/>
                </a:ext>
              </a:extLst>
            </p:cNvPr>
            <p:cNvSpPr/>
            <p:nvPr/>
          </p:nvSpPr>
          <p:spPr>
            <a:xfrm>
              <a:off x="8558015" y="2492965"/>
              <a:ext cx="457200" cy="304800"/>
            </a:xfrm>
            <a:custGeom>
              <a:avLst/>
              <a:gdLst>
                <a:gd name="connsiteX0" fmla="*/ 0 w 457200"/>
                <a:gd name="connsiteY0" fmla="*/ 304800 h 304800"/>
                <a:gd name="connsiteX1" fmla="*/ 0 w 457200"/>
                <a:gd name="connsiteY1" fmla="*/ 38100 h 304800"/>
                <a:gd name="connsiteX2" fmla="*/ 38100 w 457200"/>
                <a:gd name="connsiteY2" fmla="*/ 0 h 304800"/>
                <a:gd name="connsiteX3" fmla="*/ 419100 w 457200"/>
                <a:gd name="connsiteY3" fmla="*/ 0 h 304800"/>
                <a:gd name="connsiteX4" fmla="*/ 457200 w 457200"/>
                <a:gd name="connsiteY4" fmla="*/ 38100 h 304800"/>
                <a:gd name="connsiteX5" fmla="*/ 457200 w 457200"/>
                <a:gd name="connsiteY5" fmla="*/ 2286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304800">
                  <a:moveTo>
                    <a:pt x="0" y="304800"/>
                  </a:moveTo>
                  <a:lnTo>
                    <a:pt x="0" y="38100"/>
                  </a:lnTo>
                  <a:cubicBezTo>
                    <a:pt x="0" y="17145"/>
                    <a:pt x="17145" y="0"/>
                    <a:pt x="38100" y="0"/>
                  </a:cubicBezTo>
                  <a:lnTo>
                    <a:pt x="419100" y="0"/>
                  </a:lnTo>
                  <a:cubicBezTo>
                    <a:pt x="440055" y="0"/>
                    <a:pt x="457200" y="17145"/>
                    <a:pt x="457200" y="38100"/>
                  </a:cubicBezTo>
                  <a:lnTo>
                    <a:pt x="457200" y="22860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260" name="Freihandform: Form 447">
              <a:extLst>
                <a:ext uri="{FF2B5EF4-FFF2-40B4-BE49-F238E27FC236}">
                  <a16:creationId xmlns:a16="http://schemas.microsoft.com/office/drawing/2014/main" id="{87541ACA-5FE5-42C5-B04F-2E4AA5F84BD1}"/>
                </a:ext>
              </a:extLst>
            </p:cNvPr>
            <p:cNvSpPr/>
            <p:nvPr/>
          </p:nvSpPr>
          <p:spPr>
            <a:xfrm>
              <a:off x="8767565" y="2550115"/>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261" name="Freihandform: Form 448">
              <a:extLst>
                <a:ext uri="{FF2B5EF4-FFF2-40B4-BE49-F238E27FC236}">
                  <a16:creationId xmlns:a16="http://schemas.microsoft.com/office/drawing/2014/main" id="{4ABF80ED-2B44-4330-BB61-5AAE2572CCD3}"/>
                </a:ext>
              </a:extLst>
            </p:cNvPr>
            <p:cNvSpPr/>
            <p:nvPr/>
          </p:nvSpPr>
          <p:spPr>
            <a:xfrm>
              <a:off x="8500865" y="2854915"/>
              <a:ext cx="314325" cy="76200"/>
            </a:xfrm>
            <a:custGeom>
              <a:avLst/>
              <a:gdLst>
                <a:gd name="connsiteX0" fmla="*/ 314325 w 314325"/>
                <a:gd name="connsiteY0" fmla="*/ 0 h 76200"/>
                <a:gd name="connsiteX1" fmla="*/ 0 w 314325"/>
                <a:gd name="connsiteY1" fmla="*/ 0 h 76200"/>
                <a:gd name="connsiteX2" fmla="*/ 76200 w 314325"/>
                <a:gd name="connsiteY2" fmla="*/ 76200 h 76200"/>
                <a:gd name="connsiteX3" fmla="*/ 314325 w 314325"/>
                <a:gd name="connsiteY3" fmla="*/ 76200 h 76200"/>
              </a:gdLst>
              <a:ahLst/>
              <a:cxnLst>
                <a:cxn ang="0">
                  <a:pos x="connsiteX0" y="connsiteY0"/>
                </a:cxn>
                <a:cxn ang="0">
                  <a:pos x="connsiteX1" y="connsiteY1"/>
                </a:cxn>
                <a:cxn ang="0">
                  <a:pos x="connsiteX2" y="connsiteY2"/>
                </a:cxn>
                <a:cxn ang="0">
                  <a:pos x="connsiteX3" y="connsiteY3"/>
                </a:cxn>
              </a:cxnLst>
              <a:rect l="l" t="t" r="r" b="b"/>
              <a:pathLst>
                <a:path w="314325" h="76200">
                  <a:moveTo>
                    <a:pt x="314325" y="0"/>
                  </a:moveTo>
                  <a:lnTo>
                    <a:pt x="0" y="0"/>
                  </a:lnTo>
                  <a:cubicBezTo>
                    <a:pt x="0" y="41910"/>
                    <a:pt x="34290" y="76200"/>
                    <a:pt x="76200" y="76200"/>
                  </a:cubicBezTo>
                  <a:lnTo>
                    <a:pt x="314325" y="7620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grpSp>
      <p:sp>
        <p:nvSpPr>
          <p:cNvPr id="262" name="Textfeld 261">
            <a:extLst>
              <a:ext uri="{FF2B5EF4-FFF2-40B4-BE49-F238E27FC236}">
                <a16:creationId xmlns:a16="http://schemas.microsoft.com/office/drawing/2014/main" id="{CB4660CB-77AB-4A5B-AAD6-88E8C8618796}"/>
              </a:ext>
            </a:extLst>
          </p:cNvPr>
          <p:cNvSpPr txBox="1">
            <a:spLocks noChangeAspect="1"/>
          </p:cNvSpPr>
          <p:nvPr/>
        </p:nvSpPr>
        <p:spPr>
          <a:xfrm>
            <a:off x="759912" y="3846119"/>
            <a:ext cx="1074205"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Verwaltungs-</a:t>
            </a:r>
          </a:p>
          <a:p>
            <a:r>
              <a:rPr lang="de-DE" dirty="0"/>
              <a:t>Portal</a:t>
            </a:r>
          </a:p>
        </p:txBody>
      </p:sp>
      <p:cxnSp>
        <p:nvCxnSpPr>
          <p:cNvPr id="263" name="Gerade Verbindung mit Pfeil 262">
            <a:extLst>
              <a:ext uri="{FF2B5EF4-FFF2-40B4-BE49-F238E27FC236}">
                <a16:creationId xmlns:a16="http://schemas.microsoft.com/office/drawing/2014/main" id="{BFFEFDA9-C35D-4B99-AE84-9DA96D91F629}"/>
              </a:ext>
            </a:extLst>
          </p:cNvPr>
          <p:cNvCxnSpPr>
            <a:cxnSpLocks/>
          </p:cNvCxnSpPr>
          <p:nvPr/>
        </p:nvCxnSpPr>
        <p:spPr>
          <a:xfrm>
            <a:off x="1297014" y="4205715"/>
            <a:ext cx="0" cy="33705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4" name="Textfeld 263">
            <a:extLst>
              <a:ext uri="{FF2B5EF4-FFF2-40B4-BE49-F238E27FC236}">
                <a16:creationId xmlns:a16="http://schemas.microsoft.com/office/drawing/2014/main" id="{285BF91C-B030-4C1C-8964-2970F597331F}"/>
              </a:ext>
            </a:extLst>
          </p:cNvPr>
          <p:cNvSpPr txBox="1">
            <a:spLocks noChangeAspect="1"/>
          </p:cNvSpPr>
          <p:nvPr/>
        </p:nvSpPr>
        <p:spPr>
          <a:xfrm>
            <a:off x="759912" y="5074932"/>
            <a:ext cx="1074205"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Leistungsbeschreibung </a:t>
            </a:r>
          </a:p>
          <a:p>
            <a:r>
              <a:rPr lang="de-DE" dirty="0"/>
              <a:t>aufrufen</a:t>
            </a:r>
          </a:p>
        </p:txBody>
      </p:sp>
      <p:grpSp>
        <p:nvGrpSpPr>
          <p:cNvPr id="265" name="Grafik 60">
            <a:extLst>
              <a:ext uri="{FF2B5EF4-FFF2-40B4-BE49-F238E27FC236}">
                <a16:creationId xmlns:a16="http://schemas.microsoft.com/office/drawing/2014/main" id="{5B54BA13-6A67-47DF-B0ED-ADE97C507A78}"/>
              </a:ext>
            </a:extLst>
          </p:cNvPr>
          <p:cNvGrpSpPr>
            <a:grpSpLocks noChangeAspect="1"/>
          </p:cNvGrpSpPr>
          <p:nvPr/>
        </p:nvGrpSpPr>
        <p:grpSpPr>
          <a:xfrm>
            <a:off x="4274860" y="4755423"/>
            <a:ext cx="568290" cy="451142"/>
            <a:chOff x="7339940" y="4969264"/>
            <a:chExt cx="571500" cy="561975"/>
          </a:xfrm>
          <a:noFill/>
        </p:grpSpPr>
        <p:sp>
          <p:nvSpPr>
            <p:cNvPr id="266" name="Freihandform: Form 127">
              <a:extLst>
                <a:ext uri="{FF2B5EF4-FFF2-40B4-BE49-F238E27FC236}">
                  <a16:creationId xmlns:a16="http://schemas.microsoft.com/office/drawing/2014/main" id="{890273B0-DC40-4A9C-86AC-83D03757E03C}"/>
                </a:ext>
              </a:extLst>
            </p:cNvPr>
            <p:cNvSpPr/>
            <p:nvPr/>
          </p:nvSpPr>
          <p:spPr>
            <a:xfrm>
              <a:off x="7339940" y="5245489"/>
              <a:ext cx="571500" cy="285750"/>
            </a:xfrm>
            <a:custGeom>
              <a:avLst/>
              <a:gdLst>
                <a:gd name="connsiteX0" fmla="*/ 352425 w 571500"/>
                <a:gd name="connsiteY0" fmla="*/ 0 h 285750"/>
                <a:gd name="connsiteX1" fmla="*/ 571500 w 571500"/>
                <a:gd name="connsiteY1" fmla="*/ 0 h 285750"/>
                <a:gd name="connsiteX2" fmla="*/ 571500 w 571500"/>
                <a:gd name="connsiteY2" fmla="*/ 285750 h 285750"/>
                <a:gd name="connsiteX3" fmla="*/ 0 w 571500"/>
                <a:gd name="connsiteY3" fmla="*/ 285750 h 285750"/>
                <a:gd name="connsiteX4" fmla="*/ 0 w 571500"/>
                <a:gd name="connsiteY4" fmla="*/ 0 h 285750"/>
                <a:gd name="connsiteX5" fmla="*/ 76200 w 571500"/>
                <a:gd name="connsiteY5"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0" h="285750">
                  <a:moveTo>
                    <a:pt x="352425" y="0"/>
                  </a:moveTo>
                  <a:lnTo>
                    <a:pt x="571500" y="0"/>
                  </a:lnTo>
                  <a:lnTo>
                    <a:pt x="571500" y="285750"/>
                  </a:lnTo>
                  <a:lnTo>
                    <a:pt x="0" y="285750"/>
                  </a:lnTo>
                  <a:lnTo>
                    <a:pt x="0" y="0"/>
                  </a:lnTo>
                  <a:lnTo>
                    <a:pt x="76200" y="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67" name="Freihandform: Form 128">
              <a:extLst>
                <a:ext uri="{FF2B5EF4-FFF2-40B4-BE49-F238E27FC236}">
                  <a16:creationId xmlns:a16="http://schemas.microsoft.com/office/drawing/2014/main" id="{6C1BB863-D356-4891-AA1F-4FFDFDB0B987}"/>
                </a:ext>
              </a:extLst>
            </p:cNvPr>
            <p:cNvSpPr/>
            <p:nvPr/>
          </p:nvSpPr>
          <p:spPr>
            <a:xfrm>
              <a:off x="7463765" y="4969264"/>
              <a:ext cx="342900" cy="342900"/>
            </a:xfrm>
            <a:custGeom>
              <a:avLst/>
              <a:gdLst>
                <a:gd name="connsiteX0" fmla="*/ 95250 w 342900"/>
                <a:gd name="connsiteY0" fmla="*/ 314325 h 342900"/>
                <a:gd name="connsiteX1" fmla="*/ 0 w 342900"/>
                <a:gd name="connsiteY1" fmla="*/ 342900 h 342900"/>
                <a:gd name="connsiteX2" fmla="*/ 28575 w 342900"/>
                <a:gd name="connsiteY2" fmla="*/ 247650 h 342900"/>
                <a:gd name="connsiteX3" fmla="*/ 276225 w 342900"/>
                <a:gd name="connsiteY3" fmla="*/ 0 h 342900"/>
                <a:gd name="connsiteX4" fmla="*/ 342900 w 342900"/>
                <a:gd name="connsiteY4" fmla="*/ 6667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95250" y="314325"/>
                  </a:moveTo>
                  <a:lnTo>
                    <a:pt x="0" y="342900"/>
                  </a:lnTo>
                  <a:lnTo>
                    <a:pt x="28575" y="247650"/>
                  </a:lnTo>
                  <a:lnTo>
                    <a:pt x="276225" y="0"/>
                  </a:lnTo>
                  <a:lnTo>
                    <a:pt x="342900" y="66675"/>
                  </a:ln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68" name="Freihandform: Form 129">
              <a:extLst>
                <a:ext uri="{FF2B5EF4-FFF2-40B4-BE49-F238E27FC236}">
                  <a16:creationId xmlns:a16="http://schemas.microsoft.com/office/drawing/2014/main" id="{9BECD6AD-500D-4706-8A74-341ADBDE1D19}"/>
                </a:ext>
              </a:extLst>
            </p:cNvPr>
            <p:cNvSpPr/>
            <p:nvPr/>
          </p:nvSpPr>
          <p:spPr>
            <a:xfrm>
              <a:off x="7454240" y="5378840"/>
              <a:ext cx="342900" cy="9525"/>
            </a:xfrm>
            <a:custGeom>
              <a:avLst/>
              <a:gdLst>
                <a:gd name="connsiteX0" fmla="*/ 0 w 342900"/>
                <a:gd name="connsiteY0" fmla="*/ 0 h 9525"/>
                <a:gd name="connsiteX1" fmla="*/ 342900 w 342900"/>
                <a:gd name="connsiteY1" fmla="*/ 0 h 9525"/>
              </a:gdLst>
              <a:ahLst/>
              <a:cxnLst>
                <a:cxn ang="0">
                  <a:pos x="connsiteX0" y="connsiteY0"/>
                </a:cxn>
                <a:cxn ang="0">
                  <a:pos x="connsiteX1" y="connsiteY1"/>
                </a:cxn>
              </a:cxnLst>
              <a:rect l="l" t="t" r="r" b="b"/>
              <a:pathLst>
                <a:path w="342900" h="9525">
                  <a:moveTo>
                    <a:pt x="0" y="0"/>
                  </a:moveTo>
                  <a:lnTo>
                    <a:pt x="3429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69" name="Freihandform: Form 130">
              <a:extLst>
                <a:ext uri="{FF2B5EF4-FFF2-40B4-BE49-F238E27FC236}">
                  <a16:creationId xmlns:a16="http://schemas.microsoft.com/office/drawing/2014/main" id="{0038CA60-38B1-4643-BF95-194EB2CC22B8}"/>
                </a:ext>
              </a:extLst>
            </p:cNvPr>
            <p:cNvSpPr/>
            <p:nvPr/>
          </p:nvSpPr>
          <p:spPr>
            <a:xfrm>
              <a:off x="7454240" y="5455040"/>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70" name="Freihandform: Form 131">
              <a:extLst>
                <a:ext uri="{FF2B5EF4-FFF2-40B4-BE49-F238E27FC236}">
                  <a16:creationId xmlns:a16="http://schemas.microsoft.com/office/drawing/2014/main" id="{F9CF4477-AD42-4402-B690-D305A76828E4}"/>
                </a:ext>
              </a:extLst>
            </p:cNvPr>
            <p:cNvSpPr/>
            <p:nvPr/>
          </p:nvSpPr>
          <p:spPr>
            <a:xfrm>
              <a:off x="7720940" y="5455040"/>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271" name="Textfeld 270">
            <a:extLst>
              <a:ext uri="{FF2B5EF4-FFF2-40B4-BE49-F238E27FC236}">
                <a16:creationId xmlns:a16="http://schemas.microsoft.com/office/drawing/2014/main" id="{61FA0F73-A2AB-420B-B790-4ACF959411DD}"/>
              </a:ext>
            </a:extLst>
          </p:cNvPr>
          <p:cNvSpPr txBox="1">
            <a:spLocks/>
          </p:cNvSpPr>
          <p:nvPr/>
        </p:nvSpPr>
        <p:spPr>
          <a:xfrm>
            <a:off x="4172164"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latin typeface="+mn-lt"/>
              </a:rPr>
              <a:t>Onlineformular </a:t>
            </a:r>
          </a:p>
          <a:p>
            <a:pPr algn="ctr" fontAlgn="base">
              <a:spcBef>
                <a:spcPct val="0"/>
              </a:spcBef>
              <a:spcAft>
                <a:spcPct val="0"/>
              </a:spcAft>
            </a:pPr>
            <a:r>
              <a:rPr lang="de-DE" sz="800" dirty="0">
                <a:latin typeface="+mn-lt"/>
              </a:rPr>
              <a:t>ausfüllen</a:t>
            </a:r>
          </a:p>
        </p:txBody>
      </p:sp>
      <p:cxnSp>
        <p:nvCxnSpPr>
          <p:cNvPr id="272" name="Gerade Verbindung mit Pfeil 271">
            <a:extLst>
              <a:ext uri="{FF2B5EF4-FFF2-40B4-BE49-F238E27FC236}">
                <a16:creationId xmlns:a16="http://schemas.microsoft.com/office/drawing/2014/main" id="{92669AC7-5C88-481D-9D0A-23056D097197}"/>
              </a:ext>
            </a:extLst>
          </p:cNvPr>
          <p:cNvCxnSpPr>
            <a:cxnSpLocks/>
          </p:cNvCxnSpPr>
          <p:nvPr/>
        </p:nvCxnSpPr>
        <p:spPr>
          <a:xfrm flipV="1">
            <a:off x="3842438" y="5119198"/>
            <a:ext cx="324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73" name="Grafik 22">
            <a:extLst>
              <a:ext uri="{FF2B5EF4-FFF2-40B4-BE49-F238E27FC236}">
                <a16:creationId xmlns:a16="http://schemas.microsoft.com/office/drawing/2014/main" id="{8780B4EC-0700-4FC7-BC2F-69DEDDC0BFEE}"/>
              </a:ext>
            </a:extLst>
          </p:cNvPr>
          <p:cNvGrpSpPr>
            <a:grpSpLocks noChangeAspect="1"/>
          </p:cNvGrpSpPr>
          <p:nvPr/>
        </p:nvGrpSpPr>
        <p:grpSpPr>
          <a:xfrm rot="5400000">
            <a:off x="7383258" y="5742294"/>
            <a:ext cx="202850" cy="395393"/>
            <a:chOff x="4545058" y="2924175"/>
            <a:chExt cx="403556" cy="571500"/>
          </a:xfrm>
          <a:noFill/>
        </p:grpSpPr>
        <p:sp>
          <p:nvSpPr>
            <p:cNvPr id="274" name="Freihandform: Form 116">
              <a:extLst>
                <a:ext uri="{FF2B5EF4-FFF2-40B4-BE49-F238E27FC236}">
                  <a16:creationId xmlns:a16="http://schemas.microsoft.com/office/drawing/2014/main" id="{AFB78749-E16C-4118-ADCA-0D5362BF8556}"/>
                </a:ext>
              </a:extLst>
            </p:cNvPr>
            <p:cNvSpPr/>
            <p:nvPr/>
          </p:nvSpPr>
          <p:spPr>
            <a:xfrm>
              <a:off x="4726033" y="3438525"/>
              <a:ext cx="209550" cy="57150"/>
            </a:xfrm>
            <a:custGeom>
              <a:avLst/>
              <a:gdLst>
                <a:gd name="connsiteX0" fmla="*/ 0 w 209550"/>
                <a:gd name="connsiteY0" fmla="*/ 0 h 57150"/>
                <a:gd name="connsiteX1" fmla="*/ 209550 w 209550"/>
                <a:gd name="connsiteY1" fmla="*/ 0 h 57150"/>
                <a:gd name="connsiteX2" fmla="*/ 209550 w 209550"/>
                <a:gd name="connsiteY2" fmla="*/ 57150 h 57150"/>
                <a:gd name="connsiteX3" fmla="*/ 0 w 20955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209550" h="57150">
                  <a:moveTo>
                    <a:pt x="0" y="0"/>
                  </a:moveTo>
                  <a:lnTo>
                    <a:pt x="209550" y="0"/>
                  </a:lnTo>
                  <a:lnTo>
                    <a:pt x="209550" y="57150"/>
                  </a:lnTo>
                  <a:lnTo>
                    <a:pt x="0" y="57150"/>
                  </a:lnTo>
                  <a:close/>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sp>
          <p:nvSpPr>
            <p:cNvPr id="275" name="Freihandform: Form 117">
              <a:extLst>
                <a:ext uri="{FF2B5EF4-FFF2-40B4-BE49-F238E27FC236}">
                  <a16:creationId xmlns:a16="http://schemas.microsoft.com/office/drawing/2014/main" id="{91BDEED2-E69D-4C78-8CC9-C7D485DE65A6}"/>
                </a:ext>
              </a:extLst>
            </p:cNvPr>
            <p:cNvSpPr/>
            <p:nvPr/>
          </p:nvSpPr>
          <p:spPr>
            <a:xfrm>
              <a:off x="4830808" y="3019425"/>
              <a:ext cx="117806" cy="419100"/>
            </a:xfrm>
            <a:custGeom>
              <a:avLst/>
              <a:gdLst>
                <a:gd name="connsiteX0" fmla="*/ 76200 w 117806"/>
                <a:gd name="connsiteY0" fmla="*/ 419100 h 419100"/>
                <a:gd name="connsiteX1" fmla="*/ 113348 w 117806"/>
                <a:gd name="connsiteY1" fmla="*/ 292418 h 419100"/>
                <a:gd name="connsiteX2" fmla="*/ 111443 w 117806"/>
                <a:gd name="connsiteY2" fmla="*/ 222885 h 419100"/>
                <a:gd name="connsiteX3" fmla="*/ 50482 w 117806"/>
                <a:gd name="connsiteY3" fmla="*/ 46672 h 419100"/>
                <a:gd name="connsiteX4" fmla="*/ 0 w 117806"/>
                <a:gd name="connsiteY4" fmla="*/ 0 h 419100"/>
                <a:gd name="connsiteX5" fmla="*/ 0 w 117806"/>
                <a:gd name="connsiteY5"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806" h="419100">
                  <a:moveTo>
                    <a:pt x="76200" y="419100"/>
                  </a:moveTo>
                  <a:lnTo>
                    <a:pt x="113348" y="292418"/>
                  </a:lnTo>
                  <a:cubicBezTo>
                    <a:pt x="120015" y="269558"/>
                    <a:pt x="119063" y="244793"/>
                    <a:pt x="111443" y="222885"/>
                  </a:cubicBezTo>
                  <a:lnTo>
                    <a:pt x="50482" y="46672"/>
                  </a:lnTo>
                  <a:cubicBezTo>
                    <a:pt x="42863" y="23813"/>
                    <a:pt x="22860" y="5715"/>
                    <a:pt x="0" y="0"/>
                  </a:cubicBezTo>
                  <a:lnTo>
                    <a:pt x="0" y="0"/>
                  </a:ln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sp>
          <p:nvSpPr>
            <p:cNvPr id="276" name="Freihandform: Form 118">
              <a:extLst>
                <a:ext uri="{FF2B5EF4-FFF2-40B4-BE49-F238E27FC236}">
                  <a16:creationId xmlns:a16="http://schemas.microsoft.com/office/drawing/2014/main" id="{F9B4AEF7-4085-42F6-9C86-9F42348779CF}"/>
                </a:ext>
              </a:extLst>
            </p:cNvPr>
            <p:cNvSpPr/>
            <p:nvPr/>
          </p:nvSpPr>
          <p:spPr>
            <a:xfrm>
              <a:off x="4716508" y="3181350"/>
              <a:ext cx="76200" cy="257175"/>
            </a:xfrm>
            <a:custGeom>
              <a:avLst/>
              <a:gdLst>
                <a:gd name="connsiteX0" fmla="*/ 76200 w 76200"/>
                <a:gd name="connsiteY0" fmla="*/ 133350 h 257175"/>
                <a:gd name="connsiteX1" fmla="*/ 76200 w 76200"/>
                <a:gd name="connsiteY1" fmla="*/ 38100 h 257175"/>
                <a:gd name="connsiteX2" fmla="*/ 38100 w 76200"/>
                <a:gd name="connsiteY2" fmla="*/ 0 h 257175"/>
                <a:gd name="connsiteX3" fmla="*/ 38100 w 76200"/>
                <a:gd name="connsiteY3" fmla="*/ 0 h 257175"/>
                <a:gd name="connsiteX4" fmla="*/ 0 w 76200"/>
                <a:gd name="connsiteY4" fmla="*/ 38100 h 257175"/>
                <a:gd name="connsiteX5" fmla="*/ 0 w 76200"/>
                <a:gd name="connsiteY5" fmla="*/ 161925 h 257175"/>
                <a:gd name="connsiteX6" fmla="*/ 57150 w 76200"/>
                <a:gd name="connsiteY6"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57175">
                  <a:moveTo>
                    <a:pt x="76200" y="133350"/>
                  </a:moveTo>
                  <a:lnTo>
                    <a:pt x="76200" y="38100"/>
                  </a:lnTo>
                  <a:cubicBezTo>
                    <a:pt x="76200" y="17145"/>
                    <a:pt x="59055" y="0"/>
                    <a:pt x="38100" y="0"/>
                  </a:cubicBezTo>
                  <a:lnTo>
                    <a:pt x="38100" y="0"/>
                  </a:lnTo>
                  <a:cubicBezTo>
                    <a:pt x="17145" y="0"/>
                    <a:pt x="0" y="17145"/>
                    <a:pt x="0" y="38100"/>
                  </a:cubicBezTo>
                  <a:lnTo>
                    <a:pt x="0" y="161925"/>
                  </a:lnTo>
                  <a:cubicBezTo>
                    <a:pt x="0" y="219075"/>
                    <a:pt x="57150" y="257175"/>
                    <a:pt x="57150" y="257175"/>
                  </a:cubicBez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sp>
          <p:nvSpPr>
            <p:cNvPr id="277" name="Freihandform: Form 119">
              <a:extLst>
                <a:ext uri="{FF2B5EF4-FFF2-40B4-BE49-F238E27FC236}">
                  <a16:creationId xmlns:a16="http://schemas.microsoft.com/office/drawing/2014/main" id="{68F78B82-75A7-4499-B2B0-E97D178B5EB3}"/>
                </a:ext>
              </a:extLst>
            </p:cNvPr>
            <p:cNvSpPr/>
            <p:nvPr/>
          </p:nvSpPr>
          <p:spPr>
            <a:xfrm>
              <a:off x="4545058" y="2924175"/>
              <a:ext cx="285750" cy="381000"/>
            </a:xfrm>
            <a:custGeom>
              <a:avLst/>
              <a:gdLst>
                <a:gd name="connsiteX0" fmla="*/ 285750 w 285750"/>
                <a:gd name="connsiteY0" fmla="*/ 247650 h 381000"/>
                <a:gd name="connsiteX1" fmla="*/ 285750 w 285750"/>
                <a:gd name="connsiteY1" fmla="*/ 0 h 381000"/>
                <a:gd name="connsiteX2" fmla="*/ 0 w 285750"/>
                <a:gd name="connsiteY2" fmla="*/ 0 h 381000"/>
                <a:gd name="connsiteX3" fmla="*/ 0 w 285750"/>
                <a:gd name="connsiteY3" fmla="*/ 381000 h 381000"/>
                <a:gd name="connsiteX4" fmla="*/ 114300 w 285750"/>
                <a:gd name="connsiteY4" fmla="*/ 38100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381000">
                  <a:moveTo>
                    <a:pt x="285750" y="247650"/>
                  </a:moveTo>
                  <a:lnTo>
                    <a:pt x="285750" y="0"/>
                  </a:lnTo>
                  <a:lnTo>
                    <a:pt x="0" y="0"/>
                  </a:lnTo>
                  <a:lnTo>
                    <a:pt x="0" y="381000"/>
                  </a:lnTo>
                  <a:lnTo>
                    <a:pt x="114300" y="381000"/>
                  </a:lnTo>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grpSp>
      <p:grpSp>
        <p:nvGrpSpPr>
          <p:cNvPr id="278" name="Gruppieren 277">
            <a:extLst>
              <a:ext uri="{FF2B5EF4-FFF2-40B4-BE49-F238E27FC236}">
                <a16:creationId xmlns:a16="http://schemas.microsoft.com/office/drawing/2014/main" id="{163CBDD2-17C1-4201-A746-93ABC205CAC6}"/>
              </a:ext>
            </a:extLst>
          </p:cNvPr>
          <p:cNvGrpSpPr>
            <a:grpSpLocks noChangeAspect="1"/>
          </p:cNvGrpSpPr>
          <p:nvPr/>
        </p:nvGrpSpPr>
        <p:grpSpPr>
          <a:xfrm>
            <a:off x="3825392" y="3511450"/>
            <a:ext cx="465037" cy="375590"/>
            <a:chOff x="6529993" y="5451580"/>
            <a:chExt cx="571282" cy="571524"/>
          </a:xfrm>
        </p:grpSpPr>
        <p:sp>
          <p:nvSpPr>
            <p:cNvPr id="279" name="Freihandform: Form 375">
              <a:extLst>
                <a:ext uri="{FF2B5EF4-FFF2-40B4-BE49-F238E27FC236}">
                  <a16:creationId xmlns:a16="http://schemas.microsoft.com/office/drawing/2014/main" id="{B2B72795-E7EB-4BA7-916A-AF3F79367A7C}"/>
                </a:ext>
              </a:extLst>
            </p:cNvPr>
            <p:cNvSpPr/>
            <p:nvPr/>
          </p:nvSpPr>
          <p:spPr>
            <a:xfrm>
              <a:off x="6529993" y="5546855"/>
              <a:ext cx="73124" cy="246697"/>
            </a:xfrm>
            <a:custGeom>
              <a:avLst/>
              <a:gdLst>
                <a:gd name="connsiteX0" fmla="*/ 73125 w 73124"/>
                <a:gd name="connsiteY0" fmla="*/ 0 h 246697"/>
                <a:gd name="connsiteX1" fmla="*/ 5497 w 73124"/>
                <a:gd name="connsiteY1" fmla="*/ 246698 h 246697"/>
              </a:gdLst>
              <a:ahLst/>
              <a:cxnLst>
                <a:cxn ang="0">
                  <a:pos x="connsiteX0" y="connsiteY0"/>
                </a:cxn>
                <a:cxn ang="0">
                  <a:pos x="connsiteX1" y="connsiteY1"/>
                </a:cxn>
              </a:cxnLst>
              <a:rect l="l" t="t" r="r" b="b"/>
              <a:pathLst>
                <a:path w="73124" h="246697">
                  <a:moveTo>
                    <a:pt x="73125" y="0"/>
                  </a:moveTo>
                  <a:cubicBezTo>
                    <a:pt x="15022" y="64770"/>
                    <a:pt x="-12600" y="155258"/>
                    <a:pt x="5497" y="246698"/>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0" name="Freihandform: Form 376">
              <a:extLst>
                <a:ext uri="{FF2B5EF4-FFF2-40B4-BE49-F238E27FC236}">
                  <a16:creationId xmlns:a16="http://schemas.microsoft.com/office/drawing/2014/main" id="{C21D3F94-2B76-4073-A55B-8A95B15E027B}"/>
                </a:ext>
              </a:extLst>
            </p:cNvPr>
            <p:cNvSpPr/>
            <p:nvPr/>
          </p:nvSpPr>
          <p:spPr>
            <a:xfrm>
              <a:off x="6644076" y="5451580"/>
              <a:ext cx="333375" cy="57174"/>
            </a:xfrm>
            <a:custGeom>
              <a:avLst/>
              <a:gdLst>
                <a:gd name="connsiteX0" fmla="*/ 333375 w 333375"/>
                <a:gd name="connsiteY0" fmla="*/ 50507 h 57174"/>
                <a:gd name="connsiteX1" fmla="*/ 115253 w 333375"/>
                <a:gd name="connsiteY1" fmla="*/ 5740 h 57174"/>
                <a:gd name="connsiteX2" fmla="*/ 0 w 333375"/>
                <a:gd name="connsiteY2" fmla="*/ 57175 h 57174"/>
              </a:gdLst>
              <a:ahLst/>
              <a:cxnLst>
                <a:cxn ang="0">
                  <a:pos x="connsiteX0" y="connsiteY0"/>
                </a:cxn>
                <a:cxn ang="0">
                  <a:pos x="connsiteX1" y="connsiteY1"/>
                </a:cxn>
                <a:cxn ang="0">
                  <a:pos x="connsiteX2" y="connsiteY2"/>
                </a:cxn>
              </a:cxnLst>
              <a:rect l="l" t="t" r="r" b="b"/>
              <a:pathLst>
                <a:path w="333375" h="57174">
                  <a:moveTo>
                    <a:pt x="333375" y="50507"/>
                  </a:moveTo>
                  <a:cubicBezTo>
                    <a:pt x="271463" y="8597"/>
                    <a:pt x="194310" y="-10453"/>
                    <a:pt x="115253" y="5740"/>
                  </a:cubicBezTo>
                  <a:cubicBezTo>
                    <a:pt x="71438" y="14312"/>
                    <a:pt x="33338" y="32410"/>
                    <a:pt x="0" y="57175"/>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1" name="Freihandform: Form 377">
              <a:extLst>
                <a:ext uri="{FF2B5EF4-FFF2-40B4-BE49-F238E27FC236}">
                  <a16:creationId xmlns:a16="http://schemas.microsoft.com/office/drawing/2014/main" id="{D6143933-F976-4D56-A015-8F3EEB6C2905}"/>
                </a:ext>
              </a:extLst>
            </p:cNvPr>
            <p:cNvSpPr/>
            <p:nvPr/>
          </p:nvSpPr>
          <p:spPr>
            <a:xfrm>
              <a:off x="7019361" y="5537330"/>
              <a:ext cx="76200" cy="143827"/>
            </a:xfrm>
            <a:custGeom>
              <a:avLst/>
              <a:gdLst>
                <a:gd name="connsiteX0" fmla="*/ 76200 w 76200"/>
                <a:gd name="connsiteY0" fmla="*/ 143828 h 143827"/>
                <a:gd name="connsiteX1" fmla="*/ 0 w 76200"/>
                <a:gd name="connsiteY1" fmla="*/ 0 h 143827"/>
              </a:gdLst>
              <a:ahLst/>
              <a:cxnLst>
                <a:cxn ang="0">
                  <a:pos x="connsiteX0" y="connsiteY0"/>
                </a:cxn>
                <a:cxn ang="0">
                  <a:pos x="connsiteX1" y="connsiteY1"/>
                </a:cxn>
              </a:cxnLst>
              <a:rect l="l" t="t" r="r" b="b"/>
              <a:pathLst>
                <a:path w="76200" h="143827">
                  <a:moveTo>
                    <a:pt x="76200" y="143828"/>
                  </a:moveTo>
                  <a:cubicBezTo>
                    <a:pt x="64770" y="87630"/>
                    <a:pt x="37147" y="38100"/>
                    <a:pt x="0" y="0"/>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2" name="Freihandform: Form 378">
              <a:extLst>
                <a:ext uri="{FF2B5EF4-FFF2-40B4-BE49-F238E27FC236}">
                  <a16:creationId xmlns:a16="http://schemas.microsoft.com/office/drawing/2014/main" id="{1AE34A8D-8505-402A-92D6-7DCB966793B5}"/>
                </a:ext>
              </a:extLst>
            </p:cNvPr>
            <p:cNvSpPr/>
            <p:nvPr/>
          </p:nvSpPr>
          <p:spPr>
            <a:xfrm>
              <a:off x="7095561" y="5681157"/>
              <a:ext cx="5714" cy="61912"/>
            </a:xfrm>
            <a:custGeom>
              <a:avLst/>
              <a:gdLst>
                <a:gd name="connsiteX0" fmla="*/ 5715 w 5714"/>
                <a:gd name="connsiteY0" fmla="*/ 61913 h 61912"/>
                <a:gd name="connsiteX1" fmla="*/ 0 w 5714"/>
                <a:gd name="connsiteY1" fmla="*/ 0 h 61912"/>
              </a:gdLst>
              <a:ahLst/>
              <a:cxnLst>
                <a:cxn ang="0">
                  <a:pos x="connsiteX0" y="connsiteY0"/>
                </a:cxn>
                <a:cxn ang="0">
                  <a:pos x="connsiteX1" y="connsiteY1"/>
                </a:cxn>
              </a:cxnLst>
              <a:rect l="l" t="t" r="r" b="b"/>
              <a:pathLst>
                <a:path w="5714" h="61912">
                  <a:moveTo>
                    <a:pt x="5715" y="61913"/>
                  </a:moveTo>
                  <a:cubicBezTo>
                    <a:pt x="5715" y="40957"/>
                    <a:pt x="4763" y="20955"/>
                    <a:pt x="0" y="0"/>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3" name="Freihandform: Form 379">
              <a:extLst>
                <a:ext uri="{FF2B5EF4-FFF2-40B4-BE49-F238E27FC236}">
                  <a16:creationId xmlns:a16="http://schemas.microsoft.com/office/drawing/2014/main" id="{0590E982-BF2C-4697-9085-2D485709BD5C}"/>
                </a:ext>
              </a:extLst>
            </p:cNvPr>
            <p:cNvSpPr/>
            <p:nvPr/>
          </p:nvSpPr>
          <p:spPr>
            <a:xfrm>
              <a:off x="6535491" y="5793552"/>
              <a:ext cx="2857" cy="12382"/>
            </a:xfrm>
            <a:custGeom>
              <a:avLst/>
              <a:gdLst>
                <a:gd name="connsiteX0" fmla="*/ 0 w 2857"/>
                <a:gd name="connsiteY0" fmla="*/ 0 h 12382"/>
                <a:gd name="connsiteX1" fmla="*/ 2857 w 2857"/>
                <a:gd name="connsiteY1" fmla="*/ 12382 h 12382"/>
              </a:gdLst>
              <a:ahLst/>
              <a:cxnLst>
                <a:cxn ang="0">
                  <a:pos x="connsiteX0" y="connsiteY0"/>
                </a:cxn>
                <a:cxn ang="0">
                  <a:pos x="connsiteX1" y="connsiteY1"/>
                </a:cxn>
              </a:cxnLst>
              <a:rect l="l" t="t" r="r" b="b"/>
              <a:pathLst>
                <a:path w="2857" h="12382">
                  <a:moveTo>
                    <a:pt x="0" y="0"/>
                  </a:moveTo>
                  <a:cubicBezTo>
                    <a:pt x="953" y="3810"/>
                    <a:pt x="1905" y="8572"/>
                    <a:pt x="2857" y="12382"/>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4" name="Freihandform: Form 380">
              <a:extLst>
                <a:ext uri="{FF2B5EF4-FFF2-40B4-BE49-F238E27FC236}">
                  <a16:creationId xmlns:a16="http://schemas.microsoft.com/office/drawing/2014/main" id="{87CA03A3-E47D-4DBC-B61C-D8BAAA615AAE}"/>
                </a:ext>
              </a:extLst>
            </p:cNvPr>
            <p:cNvSpPr/>
            <p:nvPr/>
          </p:nvSpPr>
          <p:spPr>
            <a:xfrm>
              <a:off x="6742183" y="5737355"/>
              <a:ext cx="79907" cy="276225"/>
            </a:xfrm>
            <a:custGeom>
              <a:avLst/>
              <a:gdLst>
                <a:gd name="connsiteX0" fmla="*/ 0 w 79907"/>
                <a:gd name="connsiteY0" fmla="*/ 276225 h 276225"/>
                <a:gd name="connsiteX1" fmla="*/ 73343 w 79907"/>
                <a:gd name="connsiteY1" fmla="*/ 0 h 276225"/>
              </a:gdLst>
              <a:ahLst/>
              <a:cxnLst>
                <a:cxn ang="0">
                  <a:pos x="connsiteX0" y="connsiteY0"/>
                </a:cxn>
                <a:cxn ang="0">
                  <a:pos x="connsiteX1" y="connsiteY1"/>
                </a:cxn>
              </a:cxnLst>
              <a:rect l="l" t="t" r="r" b="b"/>
              <a:pathLst>
                <a:path w="79907" h="276225">
                  <a:moveTo>
                    <a:pt x="0" y="276225"/>
                  </a:moveTo>
                  <a:cubicBezTo>
                    <a:pt x="63818" y="203835"/>
                    <a:pt x="94298" y="102870"/>
                    <a:pt x="73343" y="0"/>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5" name="Freihandform: Form 381">
              <a:extLst>
                <a:ext uri="{FF2B5EF4-FFF2-40B4-BE49-F238E27FC236}">
                  <a16:creationId xmlns:a16="http://schemas.microsoft.com/office/drawing/2014/main" id="{A28CA9AB-20A2-42B6-B982-9DDC10C90911}"/>
                </a:ext>
              </a:extLst>
            </p:cNvPr>
            <p:cNvSpPr/>
            <p:nvPr/>
          </p:nvSpPr>
          <p:spPr>
            <a:xfrm>
              <a:off x="6669793" y="5665494"/>
              <a:ext cx="220980" cy="318558"/>
            </a:xfrm>
            <a:custGeom>
              <a:avLst/>
              <a:gdLst>
                <a:gd name="connsiteX0" fmla="*/ 220980 w 220980"/>
                <a:gd name="connsiteY0" fmla="*/ 91863 h 318558"/>
                <a:gd name="connsiteX1" fmla="*/ 215265 w 220980"/>
                <a:gd name="connsiteY1" fmla="*/ 57573 h 318558"/>
                <a:gd name="connsiteX2" fmla="*/ 215265 w 220980"/>
                <a:gd name="connsiteY2" fmla="*/ 57573 h 318558"/>
                <a:gd name="connsiteX3" fmla="*/ 130493 w 220980"/>
                <a:gd name="connsiteY3" fmla="*/ 1376 h 318558"/>
                <a:gd name="connsiteX4" fmla="*/ 74295 w 220980"/>
                <a:gd name="connsiteY4" fmla="*/ 86148 h 318558"/>
                <a:gd name="connsiteX5" fmla="*/ 0 w 220980"/>
                <a:gd name="connsiteY5" fmla="*/ 318558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980" h="318558">
                  <a:moveTo>
                    <a:pt x="220980" y="91863"/>
                  </a:moveTo>
                  <a:cubicBezTo>
                    <a:pt x="220028" y="80433"/>
                    <a:pt x="218122" y="69003"/>
                    <a:pt x="215265" y="57573"/>
                  </a:cubicBezTo>
                  <a:lnTo>
                    <a:pt x="215265" y="57573"/>
                  </a:lnTo>
                  <a:cubicBezTo>
                    <a:pt x="207645" y="18521"/>
                    <a:pt x="169545" y="-6244"/>
                    <a:pt x="130493" y="1376"/>
                  </a:cubicBezTo>
                  <a:cubicBezTo>
                    <a:pt x="91440" y="8996"/>
                    <a:pt x="66675" y="47096"/>
                    <a:pt x="74295" y="86148"/>
                  </a:cubicBezTo>
                  <a:cubicBezTo>
                    <a:pt x="76200" y="103293"/>
                    <a:pt x="99060" y="226166"/>
                    <a:pt x="0" y="318558"/>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6" name="Freihandform: Form 382">
              <a:extLst>
                <a:ext uri="{FF2B5EF4-FFF2-40B4-BE49-F238E27FC236}">
                  <a16:creationId xmlns:a16="http://schemas.microsoft.com/office/drawing/2014/main" id="{D1C4E420-165A-42DF-AD43-7A9855644711}"/>
                </a:ext>
              </a:extLst>
            </p:cNvPr>
            <p:cNvSpPr/>
            <p:nvPr/>
          </p:nvSpPr>
          <p:spPr>
            <a:xfrm>
              <a:off x="6825051" y="5816412"/>
              <a:ext cx="68580" cy="206692"/>
            </a:xfrm>
            <a:custGeom>
              <a:avLst/>
              <a:gdLst>
                <a:gd name="connsiteX0" fmla="*/ 0 w 68580"/>
                <a:gd name="connsiteY0" fmla="*/ 206693 h 206692"/>
                <a:gd name="connsiteX1" fmla="*/ 68580 w 68580"/>
                <a:gd name="connsiteY1" fmla="*/ 0 h 206692"/>
              </a:gdLst>
              <a:ahLst/>
              <a:cxnLst>
                <a:cxn ang="0">
                  <a:pos x="connsiteX0" y="connsiteY0"/>
                </a:cxn>
                <a:cxn ang="0">
                  <a:pos x="connsiteX1" y="connsiteY1"/>
                </a:cxn>
              </a:cxnLst>
              <a:rect l="l" t="t" r="r" b="b"/>
              <a:pathLst>
                <a:path w="68580" h="206692">
                  <a:moveTo>
                    <a:pt x="0" y="206693"/>
                  </a:moveTo>
                  <a:cubicBezTo>
                    <a:pt x="40957" y="146685"/>
                    <a:pt x="65723" y="75248"/>
                    <a:pt x="68580" y="0"/>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7" name="Freihandform: Form 383">
              <a:extLst>
                <a:ext uri="{FF2B5EF4-FFF2-40B4-BE49-F238E27FC236}">
                  <a16:creationId xmlns:a16="http://schemas.microsoft.com/office/drawing/2014/main" id="{4A84CD6C-4729-4D13-8A6F-F580DEB4719B}"/>
                </a:ext>
              </a:extLst>
            </p:cNvPr>
            <p:cNvSpPr/>
            <p:nvPr/>
          </p:nvSpPr>
          <p:spPr>
            <a:xfrm>
              <a:off x="6613596" y="5699255"/>
              <a:ext cx="65407" cy="240030"/>
            </a:xfrm>
            <a:custGeom>
              <a:avLst/>
              <a:gdLst>
                <a:gd name="connsiteX0" fmla="*/ 63818 w 65407"/>
                <a:gd name="connsiteY0" fmla="*/ 0 h 240030"/>
                <a:gd name="connsiteX1" fmla="*/ 61912 w 65407"/>
                <a:gd name="connsiteY1" fmla="*/ 66675 h 240030"/>
                <a:gd name="connsiteX2" fmla="*/ 61912 w 65407"/>
                <a:gd name="connsiteY2" fmla="*/ 66675 h 240030"/>
                <a:gd name="connsiteX3" fmla="*/ 0 w 65407"/>
                <a:gd name="connsiteY3" fmla="*/ 240030 h 240030"/>
              </a:gdLst>
              <a:ahLst/>
              <a:cxnLst>
                <a:cxn ang="0">
                  <a:pos x="connsiteX0" y="connsiteY0"/>
                </a:cxn>
                <a:cxn ang="0">
                  <a:pos x="connsiteX1" y="connsiteY1"/>
                </a:cxn>
                <a:cxn ang="0">
                  <a:pos x="connsiteX2" y="connsiteY2"/>
                </a:cxn>
                <a:cxn ang="0">
                  <a:pos x="connsiteX3" y="connsiteY3"/>
                </a:cxn>
              </a:cxnLst>
              <a:rect l="l" t="t" r="r" b="b"/>
              <a:pathLst>
                <a:path w="65407" h="240030">
                  <a:moveTo>
                    <a:pt x="63818" y="0"/>
                  </a:moveTo>
                  <a:cubicBezTo>
                    <a:pt x="58102" y="20955"/>
                    <a:pt x="57150" y="43815"/>
                    <a:pt x="61912" y="66675"/>
                  </a:cubicBezTo>
                  <a:lnTo>
                    <a:pt x="61912" y="66675"/>
                  </a:lnTo>
                  <a:cubicBezTo>
                    <a:pt x="75248" y="134302"/>
                    <a:pt x="49530" y="200025"/>
                    <a:pt x="0" y="240030"/>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8" name="Freihandform: Form 384">
              <a:extLst>
                <a:ext uri="{FF2B5EF4-FFF2-40B4-BE49-F238E27FC236}">
                  <a16:creationId xmlns:a16="http://schemas.microsoft.com/office/drawing/2014/main" id="{04C42A59-8C70-49D8-B14B-3F23CEFBF40F}"/>
                </a:ext>
              </a:extLst>
            </p:cNvPr>
            <p:cNvSpPr/>
            <p:nvPr/>
          </p:nvSpPr>
          <p:spPr>
            <a:xfrm>
              <a:off x="6705988" y="5593770"/>
              <a:ext cx="258873" cy="410284"/>
            </a:xfrm>
            <a:custGeom>
              <a:avLst/>
              <a:gdLst>
                <a:gd name="connsiteX0" fmla="*/ 212408 w 258873"/>
                <a:gd name="connsiteY0" fmla="*/ 410284 h 410284"/>
                <a:gd name="connsiteX1" fmla="*/ 249555 w 258873"/>
                <a:gd name="connsiteY1" fmla="*/ 115009 h 410284"/>
                <a:gd name="connsiteX2" fmla="*/ 80963 w 258873"/>
                <a:gd name="connsiteY2" fmla="*/ 3567 h 410284"/>
                <a:gd name="connsiteX3" fmla="*/ 0 w 258873"/>
                <a:gd name="connsiteY3" fmla="*/ 52144 h 410284"/>
              </a:gdLst>
              <a:ahLst/>
              <a:cxnLst>
                <a:cxn ang="0">
                  <a:pos x="connsiteX0" y="connsiteY0"/>
                </a:cxn>
                <a:cxn ang="0">
                  <a:pos x="connsiteX1" y="connsiteY1"/>
                </a:cxn>
                <a:cxn ang="0">
                  <a:pos x="connsiteX2" y="connsiteY2"/>
                </a:cxn>
                <a:cxn ang="0">
                  <a:pos x="connsiteX3" y="connsiteY3"/>
                </a:cxn>
              </a:cxnLst>
              <a:rect l="l" t="t" r="r" b="b"/>
              <a:pathLst>
                <a:path w="258873" h="410284">
                  <a:moveTo>
                    <a:pt x="212408" y="410284"/>
                  </a:moveTo>
                  <a:cubicBezTo>
                    <a:pt x="255270" y="321702"/>
                    <a:pt x="270510" y="218832"/>
                    <a:pt x="249555" y="115009"/>
                  </a:cubicBezTo>
                  <a:cubicBezTo>
                    <a:pt x="244793" y="90244"/>
                    <a:pt x="202883" y="-21198"/>
                    <a:pt x="80963" y="3567"/>
                  </a:cubicBezTo>
                  <a:cubicBezTo>
                    <a:pt x="47625" y="10234"/>
                    <a:pt x="20003" y="28332"/>
                    <a:pt x="0" y="52144"/>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89" name="Freihandform: Form 385">
              <a:extLst>
                <a:ext uri="{FF2B5EF4-FFF2-40B4-BE49-F238E27FC236}">
                  <a16:creationId xmlns:a16="http://schemas.microsoft.com/office/drawing/2014/main" id="{416E100D-2138-4F73-8351-F2F9AAC4F459}"/>
                </a:ext>
              </a:extLst>
            </p:cNvPr>
            <p:cNvSpPr/>
            <p:nvPr/>
          </p:nvSpPr>
          <p:spPr>
            <a:xfrm>
              <a:off x="6568828" y="5528757"/>
              <a:ext cx="199072" cy="353377"/>
            </a:xfrm>
            <a:custGeom>
              <a:avLst/>
              <a:gdLst>
                <a:gd name="connsiteX0" fmla="*/ 199073 w 199072"/>
                <a:gd name="connsiteY0" fmla="*/ 0 h 353377"/>
                <a:gd name="connsiteX1" fmla="*/ 36195 w 199072"/>
                <a:gd name="connsiteY1" fmla="*/ 250508 h 353377"/>
                <a:gd name="connsiteX2" fmla="*/ 36195 w 199072"/>
                <a:gd name="connsiteY2" fmla="*/ 250508 h 353377"/>
                <a:gd name="connsiteX3" fmla="*/ 0 w 199072"/>
                <a:gd name="connsiteY3" fmla="*/ 353378 h 353377"/>
              </a:gdLst>
              <a:ahLst/>
              <a:cxnLst>
                <a:cxn ang="0">
                  <a:pos x="connsiteX0" y="connsiteY0"/>
                </a:cxn>
                <a:cxn ang="0">
                  <a:pos x="connsiteX1" y="connsiteY1"/>
                </a:cxn>
                <a:cxn ang="0">
                  <a:pos x="connsiteX2" y="connsiteY2"/>
                </a:cxn>
                <a:cxn ang="0">
                  <a:pos x="connsiteX3" y="connsiteY3"/>
                </a:cxn>
              </a:cxnLst>
              <a:rect l="l" t="t" r="r" b="b"/>
              <a:pathLst>
                <a:path w="199072" h="353377">
                  <a:moveTo>
                    <a:pt x="199073" y="0"/>
                  </a:moveTo>
                  <a:cubicBezTo>
                    <a:pt x="85725" y="25717"/>
                    <a:pt x="13335" y="136208"/>
                    <a:pt x="36195" y="250508"/>
                  </a:cubicBezTo>
                  <a:lnTo>
                    <a:pt x="36195" y="250508"/>
                  </a:lnTo>
                  <a:cubicBezTo>
                    <a:pt x="43815" y="290512"/>
                    <a:pt x="29528" y="329565"/>
                    <a:pt x="0" y="353378"/>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90" name="Freihandform: Form 386">
              <a:extLst>
                <a:ext uri="{FF2B5EF4-FFF2-40B4-BE49-F238E27FC236}">
                  <a16:creationId xmlns:a16="http://schemas.microsoft.com/office/drawing/2014/main" id="{C166071F-23EB-4F09-BD71-19E2881D90EB}"/>
                </a:ext>
              </a:extLst>
            </p:cNvPr>
            <p:cNvSpPr/>
            <p:nvPr/>
          </p:nvSpPr>
          <p:spPr>
            <a:xfrm>
              <a:off x="6825051" y="5523042"/>
              <a:ext cx="211374" cy="415289"/>
            </a:xfrm>
            <a:custGeom>
              <a:avLst/>
              <a:gdLst>
                <a:gd name="connsiteX0" fmla="*/ 193358 w 211374"/>
                <a:gd name="connsiteY0" fmla="*/ 415290 h 415289"/>
                <a:gd name="connsiteX1" fmla="*/ 200977 w 211374"/>
                <a:gd name="connsiteY1" fmla="*/ 171450 h 415289"/>
                <a:gd name="connsiteX2" fmla="*/ 200977 w 211374"/>
                <a:gd name="connsiteY2" fmla="*/ 171450 h 415289"/>
                <a:gd name="connsiteX3" fmla="*/ 0 w 211374"/>
                <a:gd name="connsiteY3" fmla="*/ 0 h 415289"/>
              </a:gdLst>
              <a:ahLst/>
              <a:cxnLst>
                <a:cxn ang="0">
                  <a:pos x="connsiteX0" y="connsiteY0"/>
                </a:cxn>
                <a:cxn ang="0">
                  <a:pos x="connsiteX1" y="connsiteY1"/>
                </a:cxn>
                <a:cxn ang="0">
                  <a:pos x="connsiteX2" y="connsiteY2"/>
                </a:cxn>
                <a:cxn ang="0">
                  <a:pos x="connsiteX3" y="connsiteY3"/>
                </a:cxn>
              </a:cxnLst>
              <a:rect l="l" t="t" r="r" b="b"/>
              <a:pathLst>
                <a:path w="211374" h="415289">
                  <a:moveTo>
                    <a:pt x="193358" y="415290"/>
                  </a:moveTo>
                  <a:cubicBezTo>
                    <a:pt x="214313" y="338138"/>
                    <a:pt x="217170" y="255270"/>
                    <a:pt x="200977" y="171450"/>
                  </a:cubicBezTo>
                  <a:lnTo>
                    <a:pt x="200977" y="171450"/>
                  </a:lnTo>
                  <a:cubicBezTo>
                    <a:pt x="180975" y="73343"/>
                    <a:pt x="96202" y="4763"/>
                    <a:pt x="0" y="0"/>
                  </a:cubicBez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grpSp>
      <p:grpSp>
        <p:nvGrpSpPr>
          <p:cNvPr id="291" name="Grafik 35">
            <a:extLst>
              <a:ext uri="{FF2B5EF4-FFF2-40B4-BE49-F238E27FC236}">
                <a16:creationId xmlns:a16="http://schemas.microsoft.com/office/drawing/2014/main" id="{40B8C9E1-BFB7-466D-B488-3355AC9D942E}"/>
              </a:ext>
            </a:extLst>
          </p:cNvPr>
          <p:cNvGrpSpPr>
            <a:grpSpLocks noChangeAspect="1"/>
          </p:cNvGrpSpPr>
          <p:nvPr/>
        </p:nvGrpSpPr>
        <p:grpSpPr>
          <a:xfrm>
            <a:off x="6428840" y="4803192"/>
            <a:ext cx="521392" cy="420927"/>
            <a:chOff x="8210142" y="3810544"/>
            <a:chExt cx="571500" cy="571500"/>
          </a:xfrm>
          <a:noFill/>
        </p:grpSpPr>
        <p:sp>
          <p:nvSpPr>
            <p:cNvPr id="292" name="Freihandform: Form 174">
              <a:extLst>
                <a:ext uri="{FF2B5EF4-FFF2-40B4-BE49-F238E27FC236}">
                  <a16:creationId xmlns:a16="http://schemas.microsoft.com/office/drawing/2014/main" id="{FAF96E30-4F30-4EF7-8507-20B23A44E5CE}"/>
                </a:ext>
              </a:extLst>
            </p:cNvPr>
            <p:cNvSpPr/>
            <p:nvPr/>
          </p:nvSpPr>
          <p:spPr>
            <a:xfrm>
              <a:off x="8210142" y="4001044"/>
              <a:ext cx="571500" cy="381000"/>
            </a:xfrm>
            <a:custGeom>
              <a:avLst/>
              <a:gdLst>
                <a:gd name="connsiteX0" fmla="*/ 95250 w 571500"/>
                <a:gd name="connsiteY0" fmla="*/ 0 h 381000"/>
                <a:gd name="connsiteX1" fmla="*/ 0 w 571500"/>
                <a:gd name="connsiteY1" fmla="*/ 55245 h 381000"/>
                <a:gd name="connsiteX2" fmla="*/ 0 w 571500"/>
                <a:gd name="connsiteY2" fmla="*/ 381000 h 381000"/>
                <a:gd name="connsiteX3" fmla="*/ 571500 w 571500"/>
                <a:gd name="connsiteY3" fmla="*/ 381000 h 381000"/>
                <a:gd name="connsiteX4" fmla="*/ 571500 w 571500"/>
                <a:gd name="connsiteY4" fmla="*/ 56197 h 381000"/>
                <a:gd name="connsiteX5" fmla="*/ 476250 w 5715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0" h="381000">
                  <a:moveTo>
                    <a:pt x="95250" y="0"/>
                  </a:moveTo>
                  <a:lnTo>
                    <a:pt x="0" y="55245"/>
                  </a:lnTo>
                  <a:lnTo>
                    <a:pt x="0" y="381000"/>
                  </a:lnTo>
                  <a:lnTo>
                    <a:pt x="571500" y="381000"/>
                  </a:lnTo>
                  <a:lnTo>
                    <a:pt x="571500" y="56197"/>
                  </a:lnTo>
                  <a:lnTo>
                    <a:pt x="476250" y="0"/>
                  </a:ln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93" name="Freihandform: Form 175">
              <a:extLst>
                <a:ext uri="{FF2B5EF4-FFF2-40B4-BE49-F238E27FC236}">
                  <a16:creationId xmlns:a16="http://schemas.microsoft.com/office/drawing/2014/main" id="{6C091DCC-E226-43EB-8FE3-E34665ACF171}"/>
                </a:ext>
              </a:extLst>
            </p:cNvPr>
            <p:cNvSpPr/>
            <p:nvPr/>
          </p:nvSpPr>
          <p:spPr>
            <a:xfrm>
              <a:off x="8305392" y="3810544"/>
              <a:ext cx="381000" cy="300037"/>
            </a:xfrm>
            <a:custGeom>
              <a:avLst/>
              <a:gdLst>
                <a:gd name="connsiteX0" fmla="*/ 0 w 381000"/>
                <a:gd name="connsiteY0" fmla="*/ 300038 h 300037"/>
                <a:gd name="connsiteX1" fmla="*/ 0 w 381000"/>
                <a:gd name="connsiteY1" fmla="*/ 0 h 300037"/>
                <a:gd name="connsiteX2" fmla="*/ 381000 w 381000"/>
                <a:gd name="connsiteY2" fmla="*/ 0 h 300037"/>
                <a:gd name="connsiteX3" fmla="*/ 381000 w 381000"/>
                <a:gd name="connsiteY3" fmla="*/ 297180 h 300037"/>
              </a:gdLst>
              <a:ahLst/>
              <a:cxnLst>
                <a:cxn ang="0">
                  <a:pos x="connsiteX0" y="connsiteY0"/>
                </a:cxn>
                <a:cxn ang="0">
                  <a:pos x="connsiteX1" y="connsiteY1"/>
                </a:cxn>
                <a:cxn ang="0">
                  <a:pos x="connsiteX2" y="connsiteY2"/>
                </a:cxn>
                <a:cxn ang="0">
                  <a:pos x="connsiteX3" y="connsiteY3"/>
                </a:cxn>
              </a:cxnLst>
              <a:rect l="l" t="t" r="r" b="b"/>
              <a:pathLst>
                <a:path w="381000" h="300037">
                  <a:moveTo>
                    <a:pt x="0" y="300038"/>
                  </a:moveTo>
                  <a:lnTo>
                    <a:pt x="0" y="0"/>
                  </a:lnTo>
                  <a:lnTo>
                    <a:pt x="381000" y="0"/>
                  </a:lnTo>
                  <a:lnTo>
                    <a:pt x="381000" y="297180"/>
                  </a:ln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94" name="Freihandform: Form 176">
              <a:extLst>
                <a:ext uri="{FF2B5EF4-FFF2-40B4-BE49-F238E27FC236}">
                  <a16:creationId xmlns:a16="http://schemas.microsoft.com/office/drawing/2014/main" id="{B5337CCD-959B-4CB6-90A1-4890A1869B8A}"/>
                </a:ext>
              </a:extLst>
            </p:cNvPr>
            <p:cNvSpPr/>
            <p:nvPr/>
          </p:nvSpPr>
          <p:spPr>
            <a:xfrm>
              <a:off x="8210142" y="4056289"/>
              <a:ext cx="571500" cy="325755"/>
            </a:xfrm>
            <a:custGeom>
              <a:avLst/>
              <a:gdLst>
                <a:gd name="connsiteX0" fmla="*/ 0 w 571500"/>
                <a:gd name="connsiteY0" fmla="*/ 0 h 325755"/>
                <a:gd name="connsiteX1" fmla="*/ 571500 w 571500"/>
                <a:gd name="connsiteY1" fmla="*/ 325755 h 325755"/>
              </a:gdLst>
              <a:ahLst/>
              <a:cxnLst>
                <a:cxn ang="0">
                  <a:pos x="connsiteX0" y="connsiteY0"/>
                </a:cxn>
                <a:cxn ang="0">
                  <a:pos x="connsiteX1" y="connsiteY1"/>
                </a:cxn>
              </a:cxnLst>
              <a:rect l="l" t="t" r="r" b="b"/>
              <a:pathLst>
                <a:path w="571500" h="325755">
                  <a:moveTo>
                    <a:pt x="0" y="0"/>
                  </a:moveTo>
                  <a:lnTo>
                    <a:pt x="571500" y="325755"/>
                  </a:lnTo>
                </a:path>
              </a:pathLst>
            </a:custGeom>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95" name="Freihandform: Form 177">
              <a:extLst>
                <a:ext uri="{FF2B5EF4-FFF2-40B4-BE49-F238E27FC236}">
                  <a16:creationId xmlns:a16="http://schemas.microsoft.com/office/drawing/2014/main" id="{C1DC16FA-B3E0-480E-A8A1-7D45A2AD8810}"/>
                </a:ext>
              </a:extLst>
            </p:cNvPr>
            <p:cNvSpPr/>
            <p:nvPr/>
          </p:nvSpPr>
          <p:spPr>
            <a:xfrm>
              <a:off x="8489224" y="4057241"/>
              <a:ext cx="292417" cy="158115"/>
            </a:xfrm>
            <a:custGeom>
              <a:avLst/>
              <a:gdLst>
                <a:gd name="connsiteX0" fmla="*/ 292418 w 292417"/>
                <a:gd name="connsiteY0" fmla="*/ 0 h 158115"/>
                <a:gd name="connsiteX1" fmla="*/ 0 w 292417"/>
                <a:gd name="connsiteY1" fmla="*/ 158115 h 158115"/>
              </a:gdLst>
              <a:ahLst/>
              <a:cxnLst>
                <a:cxn ang="0">
                  <a:pos x="connsiteX0" y="connsiteY0"/>
                </a:cxn>
                <a:cxn ang="0">
                  <a:pos x="connsiteX1" y="connsiteY1"/>
                </a:cxn>
              </a:cxnLst>
              <a:rect l="l" t="t" r="r" b="b"/>
              <a:pathLst>
                <a:path w="292417" h="158115">
                  <a:moveTo>
                    <a:pt x="292418" y="0"/>
                  </a:moveTo>
                  <a:lnTo>
                    <a:pt x="0" y="158115"/>
                  </a:lnTo>
                </a:path>
              </a:pathLst>
            </a:custGeom>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296" name="Freihandform: Form 178">
              <a:extLst>
                <a:ext uri="{FF2B5EF4-FFF2-40B4-BE49-F238E27FC236}">
                  <a16:creationId xmlns:a16="http://schemas.microsoft.com/office/drawing/2014/main" id="{37453D76-4D36-48B7-B748-D52017A5F06D}"/>
                </a:ext>
              </a:extLst>
            </p:cNvPr>
            <p:cNvSpPr/>
            <p:nvPr/>
          </p:nvSpPr>
          <p:spPr>
            <a:xfrm>
              <a:off x="8381592" y="3962944"/>
              <a:ext cx="38100" cy="76200"/>
            </a:xfrm>
            <a:custGeom>
              <a:avLst/>
              <a:gdLst>
                <a:gd name="connsiteX0" fmla="*/ 38100 w 38100"/>
                <a:gd name="connsiteY0" fmla="*/ 0 h 76200"/>
                <a:gd name="connsiteX1" fmla="*/ 0 w 38100"/>
                <a:gd name="connsiteY1" fmla="*/ 38100 h 76200"/>
                <a:gd name="connsiteX2" fmla="*/ 38100 w 38100"/>
                <a:gd name="connsiteY2" fmla="*/ 76200 h 76200"/>
              </a:gdLst>
              <a:ahLst/>
              <a:cxnLst>
                <a:cxn ang="0">
                  <a:pos x="connsiteX0" y="connsiteY0"/>
                </a:cxn>
                <a:cxn ang="0">
                  <a:pos x="connsiteX1" y="connsiteY1"/>
                </a:cxn>
                <a:cxn ang="0">
                  <a:pos x="connsiteX2" y="connsiteY2"/>
                </a:cxn>
              </a:cxnLst>
              <a:rect l="l" t="t" r="r" b="b"/>
              <a:pathLst>
                <a:path w="38100" h="76200">
                  <a:moveTo>
                    <a:pt x="38100" y="0"/>
                  </a:moveTo>
                  <a:lnTo>
                    <a:pt x="0" y="38100"/>
                  </a:lnTo>
                  <a:lnTo>
                    <a:pt x="38100" y="7620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97" name="Freihandform: Form 179">
              <a:extLst>
                <a:ext uri="{FF2B5EF4-FFF2-40B4-BE49-F238E27FC236}">
                  <a16:creationId xmlns:a16="http://schemas.microsoft.com/office/drawing/2014/main" id="{D7A79755-367E-41B0-AAD8-8891C319E1A0}"/>
                </a:ext>
              </a:extLst>
            </p:cNvPr>
            <p:cNvSpPr/>
            <p:nvPr/>
          </p:nvSpPr>
          <p:spPr>
            <a:xfrm>
              <a:off x="8572092" y="3962944"/>
              <a:ext cx="38100" cy="76200"/>
            </a:xfrm>
            <a:custGeom>
              <a:avLst/>
              <a:gdLst>
                <a:gd name="connsiteX0" fmla="*/ 0 w 38100"/>
                <a:gd name="connsiteY0" fmla="*/ 0 h 76200"/>
                <a:gd name="connsiteX1" fmla="*/ 38100 w 38100"/>
                <a:gd name="connsiteY1" fmla="*/ 38100 h 76200"/>
                <a:gd name="connsiteX2" fmla="*/ 0 w 38100"/>
                <a:gd name="connsiteY2" fmla="*/ 76200 h 76200"/>
              </a:gdLst>
              <a:ahLst/>
              <a:cxnLst>
                <a:cxn ang="0">
                  <a:pos x="connsiteX0" y="connsiteY0"/>
                </a:cxn>
                <a:cxn ang="0">
                  <a:pos x="connsiteX1" y="connsiteY1"/>
                </a:cxn>
                <a:cxn ang="0">
                  <a:pos x="connsiteX2" y="connsiteY2"/>
                </a:cxn>
              </a:cxnLst>
              <a:rect l="l" t="t" r="r" b="b"/>
              <a:pathLst>
                <a:path w="38100" h="76200">
                  <a:moveTo>
                    <a:pt x="0" y="0"/>
                  </a:moveTo>
                  <a:lnTo>
                    <a:pt x="38100" y="38100"/>
                  </a:lnTo>
                  <a:lnTo>
                    <a:pt x="0" y="7620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298" name="Freihandform: Form 180">
              <a:extLst>
                <a:ext uri="{FF2B5EF4-FFF2-40B4-BE49-F238E27FC236}">
                  <a16:creationId xmlns:a16="http://schemas.microsoft.com/office/drawing/2014/main" id="{DCC62216-0E39-4B11-AB36-253558DA0805}"/>
                </a:ext>
              </a:extLst>
            </p:cNvPr>
            <p:cNvSpPr/>
            <p:nvPr/>
          </p:nvSpPr>
          <p:spPr>
            <a:xfrm>
              <a:off x="8457792" y="3924844"/>
              <a:ext cx="76200" cy="152400"/>
            </a:xfrm>
            <a:custGeom>
              <a:avLst/>
              <a:gdLst>
                <a:gd name="connsiteX0" fmla="*/ 0 w 76200"/>
                <a:gd name="connsiteY0" fmla="*/ 152400 h 152400"/>
                <a:gd name="connsiteX1" fmla="*/ 76200 w 76200"/>
                <a:gd name="connsiteY1" fmla="*/ 0 h 152400"/>
              </a:gdLst>
              <a:ahLst/>
              <a:cxnLst>
                <a:cxn ang="0">
                  <a:pos x="connsiteX0" y="connsiteY0"/>
                </a:cxn>
                <a:cxn ang="0">
                  <a:pos x="connsiteX1" y="connsiteY1"/>
                </a:cxn>
              </a:cxnLst>
              <a:rect l="l" t="t" r="r" b="b"/>
              <a:pathLst>
                <a:path w="76200" h="152400">
                  <a:moveTo>
                    <a:pt x="0" y="152400"/>
                  </a:moveTo>
                  <a:lnTo>
                    <a:pt x="762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299" name="Textfeld 298">
            <a:extLst>
              <a:ext uri="{FF2B5EF4-FFF2-40B4-BE49-F238E27FC236}">
                <a16:creationId xmlns:a16="http://schemas.microsoft.com/office/drawing/2014/main" id="{EC07F89E-9675-42B0-8E37-F4C76F66C795}"/>
              </a:ext>
            </a:extLst>
          </p:cNvPr>
          <p:cNvSpPr txBox="1">
            <a:spLocks/>
          </p:cNvSpPr>
          <p:nvPr/>
        </p:nvSpPr>
        <p:spPr>
          <a:xfrm>
            <a:off x="6281389"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latin typeface="+mn-lt"/>
              </a:rPr>
              <a:t>Online </a:t>
            </a:r>
          </a:p>
          <a:p>
            <a:pPr algn="ctr" fontAlgn="base">
              <a:spcBef>
                <a:spcPct val="0"/>
              </a:spcBef>
              <a:spcAft>
                <a:spcPct val="0"/>
              </a:spcAft>
            </a:pPr>
            <a:r>
              <a:rPr lang="de-DE" sz="800" dirty="0">
                <a:latin typeface="+mn-lt"/>
              </a:rPr>
              <a:t>absenden</a:t>
            </a:r>
          </a:p>
        </p:txBody>
      </p:sp>
      <p:grpSp>
        <p:nvGrpSpPr>
          <p:cNvPr id="300" name="Grafik 88">
            <a:extLst>
              <a:ext uri="{FF2B5EF4-FFF2-40B4-BE49-F238E27FC236}">
                <a16:creationId xmlns:a16="http://schemas.microsoft.com/office/drawing/2014/main" id="{4B3F4908-6C58-469A-9B45-44243300EF10}"/>
              </a:ext>
            </a:extLst>
          </p:cNvPr>
          <p:cNvGrpSpPr>
            <a:grpSpLocks noChangeAspect="1"/>
          </p:cNvGrpSpPr>
          <p:nvPr/>
        </p:nvGrpSpPr>
        <p:grpSpPr>
          <a:xfrm>
            <a:off x="1739810" y="4021920"/>
            <a:ext cx="224694" cy="194383"/>
            <a:chOff x="5536629" y="3865615"/>
            <a:chExt cx="548434" cy="587686"/>
          </a:xfrm>
          <a:solidFill>
            <a:schemeClr val="accent1"/>
          </a:solidFill>
        </p:grpSpPr>
        <p:sp>
          <p:nvSpPr>
            <p:cNvPr id="301" name="Freihandform: Form 337">
              <a:extLst>
                <a:ext uri="{FF2B5EF4-FFF2-40B4-BE49-F238E27FC236}">
                  <a16:creationId xmlns:a16="http://schemas.microsoft.com/office/drawing/2014/main" id="{862600AA-545F-4712-9F88-47289DB93F06}"/>
                </a:ext>
              </a:extLst>
            </p:cNvPr>
            <p:cNvSpPr/>
            <p:nvPr/>
          </p:nvSpPr>
          <p:spPr>
            <a:xfrm>
              <a:off x="5928853" y="4297091"/>
              <a:ext cx="156210" cy="156210"/>
            </a:xfrm>
            <a:custGeom>
              <a:avLst/>
              <a:gdLst>
                <a:gd name="connsiteX0" fmla="*/ 153353 w 156210"/>
                <a:gd name="connsiteY0" fmla="*/ 113348 h 156210"/>
                <a:gd name="connsiteX1" fmla="*/ 40005 w 156210"/>
                <a:gd name="connsiteY1" fmla="*/ 0 h 156210"/>
                <a:gd name="connsiteX2" fmla="*/ 0 w 156210"/>
                <a:gd name="connsiteY2" fmla="*/ 40005 h 156210"/>
                <a:gd name="connsiteX3" fmla="*/ 113348 w 156210"/>
                <a:gd name="connsiteY3" fmla="*/ 153353 h 156210"/>
                <a:gd name="connsiteX4" fmla="*/ 126682 w 156210"/>
                <a:gd name="connsiteY4" fmla="*/ 153353 h 156210"/>
                <a:gd name="connsiteX5" fmla="*/ 153353 w 156210"/>
                <a:gd name="connsiteY5" fmla="*/ 126682 h 156210"/>
                <a:gd name="connsiteX6" fmla="*/ 153353 w 156210"/>
                <a:gd name="connsiteY6" fmla="*/ 113348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10" h="156210">
                  <a:moveTo>
                    <a:pt x="153353" y="113348"/>
                  </a:moveTo>
                  <a:lnTo>
                    <a:pt x="40005" y="0"/>
                  </a:lnTo>
                  <a:cubicBezTo>
                    <a:pt x="27623" y="15240"/>
                    <a:pt x="14288" y="28575"/>
                    <a:pt x="0" y="40005"/>
                  </a:cubicBezTo>
                  <a:lnTo>
                    <a:pt x="113348" y="153353"/>
                  </a:lnTo>
                  <a:cubicBezTo>
                    <a:pt x="117157" y="157163"/>
                    <a:pt x="122873" y="157163"/>
                    <a:pt x="126682" y="153353"/>
                  </a:cubicBezTo>
                  <a:lnTo>
                    <a:pt x="153353" y="126682"/>
                  </a:lnTo>
                  <a:cubicBezTo>
                    <a:pt x="157163" y="122873"/>
                    <a:pt x="157163" y="117157"/>
                    <a:pt x="153353" y="113348"/>
                  </a:cubicBezTo>
                  <a:close/>
                </a:path>
              </a:pathLst>
            </a:custGeom>
            <a:solidFill>
              <a:schemeClr val="tx2"/>
            </a:solidFill>
            <a:ln w="9525" cap="flat">
              <a:solidFill>
                <a:schemeClr val="accent5"/>
              </a:solidFill>
              <a:prstDash val="solid"/>
              <a:miter/>
            </a:ln>
          </p:spPr>
          <p:txBody>
            <a:bodyPr lIns="36000" tIns="36000" rIns="36000" bIns="36000" rtlCol="0" anchor="ctr"/>
            <a:lstStyle/>
            <a:p>
              <a:endParaRPr lang="de-DE" sz="800" dirty="0">
                <a:latin typeface="+mn-lt"/>
              </a:endParaRPr>
            </a:p>
          </p:txBody>
        </p:sp>
        <p:sp>
          <p:nvSpPr>
            <p:cNvPr id="302" name="Freihandform: Form 338">
              <a:extLst>
                <a:ext uri="{FF2B5EF4-FFF2-40B4-BE49-F238E27FC236}">
                  <a16:creationId xmlns:a16="http://schemas.microsoft.com/office/drawing/2014/main" id="{A40361CC-5ED3-4ACA-8D28-F7C120EF0292}"/>
                </a:ext>
              </a:extLst>
            </p:cNvPr>
            <p:cNvSpPr/>
            <p:nvPr/>
          </p:nvSpPr>
          <p:spPr>
            <a:xfrm>
              <a:off x="5536629" y="3865615"/>
              <a:ext cx="381577" cy="468014"/>
            </a:xfrm>
            <a:custGeom>
              <a:avLst/>
              <a:gdLst>
                <a:gd name="connsiteX0" fmla="*/ 514350 w 514350"/>
                <a:gd name="connsiteY0" fmla="*/ 257175 h 514350"/>
                <a:gd name="connsiteX1" fmla="*/ 257175 w 514350"/>
                <a:gd name="connsiteY1" fmla="*/ 0 h 514350"/>
                <a:gd name="connsiteX2" fmla="*/ 0 w 514350"/>
                <a:gd name="connsiteY2" fmla="*/ 257175 h 514350"/>
                <a:gd name="connsiteX3" fmla="*/ 257175 w 514350"/>
                <a:gd name="connsiteY3" fmla="*/ 514350 h 514350"/>
                <a:gd name="connsiteX4" fmla="*/ 514350 w 514350"/>
                <a:gd name="connsiteY4" fmla="*/ 257175 h 514350"/>
                <a:gd name="connsiteX5" fmla="*/ 257175 w 514350"/>
                <a:gd name="connsiteY5" fmla="*/ 495300 h 514350"/>
                <a:gd name="connsiteX6" fmla="*/ 19050 w 514350"/>
                <a:gd name="connsiteY6" fmla="*/ 257175 h 514350"/>
                <a:gd name="connsiteX7" fmla="*/ 257175 w 514350"/>
                <a:gd name="connsiteY7" fmla="*/ 19050 h 514350"/>
                <a:gd name="connsiteX8" fmla="*/ 495300 w 514350"/>
                <a:gd name="connsiteY8" fmla="*/ 257175 h 514350"/>
                <a:gd name="connsiteX9" fmla="*/ 257175 w 514350"/>
                <a:gd name="connsiteY9" fmla="*/ 49530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350" h="514350">
                  <a:moveTo>
                    <a:pt x="514350" y="257175"/>
                  </a:moveTo>
                  <a:cubicBezTo>
                    <a:pt x="514350" y="115253"/>
                    <a:pt x="399098" y="0"/>
                    <a:pt x="257175" y="0"/>
                  </a:cubicBezTo>
                  <a:cubicBezTo>
                    <a:pt x="115253" y="0"/>
                    <a:pt x="0" y="115253"/>
                    <a:pt x="0" y="257175"/>
                  </a:cubicBezTo>
                  <a:cubicBezTo>
                    <a:pt x="0" y="399098"/>
                    <a:pt x="115253" y="514350"/>
                    <a:pt x="257175" y="514350"/>
                  </a:cubicBezTo>
                  <a:cubicBezTo>
                    <a:pt x="399098" y="514350"/>
                    <a:pt x="514350" y="399098"/>
                    <a:pt x="514350" y="257175"/>
                  </a:cubicBezTo>
                  <a:close/>
                  <a:moveTo>
                    <a:pt x="257175" y="495300"/>
                  </a:moveTo>
                  <a:cubicBezTo>
                    <a:pt x="125730" y="495300"/>
                    <a:pt x="19050" y="388620"/>
                    <a:pt x="19050" y="257175"/>
                  </a:cubicBezTo>
                  <a:cubicBezTo>
                    <a:pt x="19050" y="125730"/>
                    <a:pt x="125730" y="19050"/>
                    <a:pt x="257175" y="19050"/>
                  </a:cubicBezTo>
                  <a:cubicBezTo>
                    <a:pt x="388620" y="19050"/>
                    <a:pt x="495300" y="125730"/>
                    <a:pt x="495300" y="257175"/>
                  </a:cubicBezTo>
                  <a:cubicBezTo>
                    <a:pt x="495300" y="388620"/>
                    <a:pt x="388620" y="495300"/>
                    <a:pt x="257175" y="495300"/>
                  </a:cubicBezTo>
                  <a:close/>
                </a:path>
              </a:pathLst>
            </a:custGeom>
            <a:grpFill/>
            <a:ln w="9525" cap="flat">
              <a:solidFill>
                <a:schemeClr val="accent5"/>
              </a:solidFill>
              <a:prstDash val="solid"/>
              <a:miter/>
            </a:ln>
          </p:spPr>
          <p:txBody>
            <a:bodyPr lIns="36000" tIns="36000" rIns="36000" bIns="36000" rtlCol="0" anchor="ctr"/>
            <a:lstStyle/>
            <a:p>
              <a:endParaRPr lang="de-DE" sz="800" dirty="0">
                <a:latin typeface="+mn-lt"/>
              </a:endParaRPr>
            </a:p>
          </p:txBody>
        </p:sp>
      </p:grpSp>
      <p:sp>
        <p:nvSpPr>
          <p:cNvPr id="303" name="Textfeld 302">
            <a:extLst>
              <a:ext uri="{FF2B5EF4-FFF2-40B4-BE49-F238E27FC236}">
                <a16:creationId xmlns:a16="http://schemas.microsoft.com/office/drawing/2014/main" id="{3CAA9E4F-8F00-44C6-8B45-832AA7A0E966}"/>
              </a:ext>
            </a:extLst>
          </p:cNvPr>
          <p:cNvSpPr txBox="1"/>
          <p:nvPr/>
        </p:nvSpPr>
        <p:spPr>
          <a:xfrm>
            <a:off x="1952083" y="4128272"/>
            <a:ext cx="1152000" cy="442035"/>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Suchen &amp; Finden anhand Leistungsindikator und Ortsindikator (</a:t>
            </a:r>
            <a:r>
              <a:rPr lang="de-DE" dirty="0" err="1"/>
              <a:t>XZuFi</a:t>
            </a:r>
            <a:r>
              <a:rPr lang="de-DE" dirty="0"/>
              <a:t>)</a:t>
            </a:r>
          </a:p>
        </p:txBody>
      </p:sp>
      <p:grpSp>
        <p:nvGrpSpPr>
          <p:cNvPr id="304" name="Gruppieren 303">
            <a:extLst>
              <a:ext uri="{FF2B5EF4-FFF2-40B4-BE49-F238E27FC236}">
                <a16:creationId xmlns:a16="http://schemas.microsoft.com/office/drawing/2014/main" id="{C0FD68D6-668D-4775-8766-4E9041F27059}"/>
              </a:ext>
            </a:extLst>
          </p:cNvPr>
          <p:cNvGrpSpPr>
            <a:grpSpLocks noChangeAspect="1"/>
          </p:cNvGrpSpPr>
          <p:nvPr/>
        </p:nvGrpSpPr>
        <p:grpSpPr>
          <a:xfrm>
            <a:off x="4388947" y="4219683"/>
            <a:ext cx="291784" cy="243684"/>
            <a:chOff x="6669305" y="468830"/>
            <a:chExt cx="552450" cy="571500"/>
          </a:xfrm>
        </p:grpSpPr>
        <p:sp>
          <p:nvSpPr>
            <p:cNvPr id="305" name="Freihandform: Form 377">
              <a:extLst>
                <a:ext uri="{FF2B5EF4-FFF2-40B4-BE49-F238E27FC236}">
                  <a16:creationId xmlns:a16="http://schemas.microsoft.com/office/drawing/2014/main" id="{8641B591-73B0-4BB2-B259-12C866C1DACF}"/>
                </a:ext>
              </a:extLst>
            </p:cNvPr>
            <p:cNvSpPr/>
            <p:nvPr/>
          </p:nvSpPr>
          <p:spPr>
            <a:xfrm>
              <a:off x="6669305" y="916505"/>
              <a:ext cx="352425" cy="9525"/>
            </a:xfrm>
            <a:custGeom>
              <a:avLst/>
              <a:gdLst>
                <a:gd name="connsiteX0" fmla="*/ 0 w 352425"/>
                <a:gd name="connsiteY0" fmla="*/ 0 h 9525"/>
                <a:gd name="connsiteX1" fmla="*/ 352425 w 352425"/>
                <a:gd name="connsiteY1" fmla="*/ 0 h 9525"/>
              </a:gdLst>
              <a:ahLst/>
              <a:cxnLst>
                <a:cxn ang="0">
                  <a:pos x="connsiteX0" y="connsiteY0"/>
                </a:cxn>
                <a:cxn ang="0">
                  <a:pos x="connsiteX1" y="connsiteY1"/>
                </a:cxn>
              </a:cxnLst>
              <a:rect l="l" t="t" r="r" b="b"/>
              <a:pathLst>
                <a:path w="352425" h="9525">
                  <a:moveTo>
                    <a:pt x="0" y="0"/>
                  </a:moveTo>
                  <a:lnTo>
                    <a:pt x="35242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06" name="Freihandform: Form 378">
              <a:extLst>
                <a:ext uri="{FF2B5EF4-FFF2-40B4-BE49-F238E27FC236}">
                  <a16:creationId xmlns:a16="http://schemas.microsoft.com/office/drawing/2014/main" id="{46E7DDB8-516C-4557-8CDA-494524D5C481}"/>
                </a:ext>
              </a:extLst>
            </p:cNvPr>
            <p:cNvSpPr/>
            <p:nvPr/>
          </p:nvSpPr>
          <p:spPr>
            <a:xfrm>
              <a:off x="6669305" y="602180"/>
              <a:ext cx="209550" cy="9525"/>
            </a:xfrm>
            <a:custGeom>
              <a:avLst/>
              <a:gdLst>
                <a:gd name="connsiteX0" fmla="*/ 0 w 209550"/>
                <a:gd name="connsiteY0" fmla="*/ 0 h 9525"/>
                <a:gd name="connsiteX1" fmla="*/ 209550 w 209550"/>
                <a:gd name="connsiteY1" fmla="*/ 0 h 9525"/>
              </a:gdLst>
              <a:ahLst/>
              <a:cxnLst>
                <a:cxn ang="0">
                  <a:pos x="connsiteX0" y="connsiteY0"/>
                </a:cxn>
                <a:cxn ang="0">
                  <a:pos x="connsiteX1" y="connsiteY1"/>
                </a:cxn>
              </a:cxnLst>
              <a:rect l="l" t="t" r="r" b="b"/>
              <a:pathLst>
                <a:path w="209550" h="9525">
                  <a:moveTo>
                    <a:pt x="0" y="0"/>
                  </a:moveTo>
                  <a:lnTo>
                    <a:pt x="20955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07" name="Freihandform: Form 379">
              <a:extLst>
                <a:ext uri="{FF2B5EF4-FFF2-40B4-BE49-F238E27FC236}">
                  <a16:creationId xmlns:a16="http://schemas.microsoft.com/office/drawing/2014/main" id="{2AD6AC5D-9E3F-4AC9-B6F8-CB6C2586C1BC}"/>
                </a:ext>
              </a:extLst>
            </p:cNvPr>
            <p:cNvSpPr/>
            <p:nvPr/>
          </p:nvSpPr>
          <p:spPr>
            <a:xfrm>
              <a:off x="6669305" y="506930"/>
              <a:ext cx="352425" cy="533400"/>
            </a:xfrm>
            <a:custGeom>
              <a:avLst/>
              <a:gdLst>
                <a:gd name="connsiteX0" fmla="*/ 352425 w 352425"/>
                <a:gd name="connsiteY0" fmla="*/ 266700 h 533400"/>
                <a:gd name="connsiteX1" fmla="*/ 352425 w 352425"/>
                <a:gd name="connsiteY1" fmla="*/ 495300 h 533400"/>
                <a:gd name="connsiteX2" fmla="*/ 314325 w 352425"/>
                <a:gd name="connsiteY2" fmla="*/ 533400 h 533400"/>
                <a:gd name="connsiteX3" fmla="*/ 38100 w 352425"/>
                <a:gd name="connsiteY3" fmla="*/ 533400 h 533400"/>
                <a:gd name="connsiteX4" fmla="*/ 0 w 352425"/>
                <a:gd name="connsiteY4" fmla="*/ 495300 h 533400"/>
                <a:gd name="connsiteX5" fmla="*/ 0 w 352425"/>
                <a:gd name="connsiteY5" fmla="*/ 38100 h 533400"/>
                <a:gd name="connsiteX6" fmla="*/ 38100 w 352425"/>
                <a:gd name="connsiteY6" fmla="*/ 0 h 533400"/>
                <a:gd name="connsiteX7" fmla="*/ 209550 w 352425"/>
                <a:gd name="connsiteY7"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533400">
                  <a:moveTo>
                    <a:pt x="352425" y="266700"/>
                  </a:moveTo>
                  <a:lnTo>
                    <a:pt x="352425" y="495300"/>
                  </a:lnTo>
                  <a:cubicBezTo>
                    <a:pt x="352425" y="516255"/>
                    <a:pt x="335280" y="533400"/>
                    <a:pt x="314325" y="533400"/>
                  </a:cubicBezTo>
                  <a:lnTo>
                    <a:pt x="38100" y="533400"/>
                  </a:lnTo>
                  <a:cubicBezTo>
                    <a:pt x="17145" y="533400"/>
                    <a:pt x="0" y="516255"/>
                    <a:pt x="0" y="495300"/>
                  </a:cubicBezTo>
                  <a:lnTo>
                    <a:pt x="0" y="38100"/>
                  </a:lnTo>
                  <a:cubicBezTo>
                    <a:pt x="0" y="17145"/>
                    <a:pt x="17145" y="0"/>
                    <a:pt x="38100" y="0"/>
                  </a:cubicBezTo>
                  <a:lnTo>
                    <a:pt x="209550" y="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08" name="Freihandform: Form 380">
              <a:extLst>
                <a:ext uri="{FF2B5EF4-FFF2-40B4-BE49-F238E27FC236}">
                  <a16:creationId xmlns:a16="http://schemas.microsoft.com/office/drawing/2014/main" id="{4EDDA181-6216-4843-8CEE-F867C5DBE94C}"/>
                </a:ext>
              </a:extLst>
            </p:cNvPr>
            <p:cNvSpPr/>
            <p:nvPr/>
          </p:nvSpPr>
          <p:spPr>
            <a:xfrm>
              <a:off x="6878855" y="468830"/>
              <a:ext cx="342900" cy="238125"/>
            </a:xfrm>
            <a:custGeom>
              <a:avLst/>
              <a:gdLst>
                <a:gd name="connsiteX0" fmla="*/ 0 w 342900"/>
                <a:gd name="connsiteY0" fmla="*/ 0 h 238125"/>
                <a:gd name="connsiteX1" fmla="*/ 342900 w 342900"/>
                <a:gd name="connsiteY1" fmla="*/ 0 h 238125"/>
                <a:gd name="connsiteX2" fmla="*/ 342900 w 342900"/>
                <a:gd name="connsiteY2" fmla="*/ 238125 h 238125"/>
                <a:gd name="connsiteX3" fmla="*/ 0 w 342900"/>
                <a:gd name="connsiteY3" fmla="*/ 238125 h 238125"/>
              </a:gdLst>
              <a:ahLst/>
              <a:cxnLst>
                <a:cxn ang="0">
                  <a:pos x="connsiteX0" y="connsiteY0"/>
                </a:cxn>
                <a:cxn ang="0">
                  <a:pos x="connsiteX1" y="connsiteY1"/>
                </a:cxn>
                <a:cxn ang="0">
                  <a:pos x="connsiteX2" y="connsiteY2"/>
                </a:cxn>
                <a:cxn ang="0">
                  <a:pos x="connsiteX3" y="connsiteY3"/>
                </a:cxn>
              </a:cxnLst>
              <a:rect l="l" t="t" r="r" b="b"/>
              <a:pathLst>
                <a:path w="342900" h="238125">
                  <a:moveTo>
                    <a:pt x="0" y="0"/>
                  </a:moveTo>
                  <a:lnTo>
                    <a:pt x="342900" y="0"/>
                  </a:lnTo>
                  <a:lnTo>
                    <a:pt x="342900" y="238125"/>
                  </a:lnTo>
                  <a:lnTo>
                    <a:pt x="0" y="238125"/>
                  </a:ln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09" name="Freihandform: Form 381">
              <a:extLst>
                <a:ext uri="{FF2B5EF4-FFF2-40B4-BE49-F238E27FC236}">
                  <a16:creationId xmlns:a16="http://schemas.microsoft.com/office/drawing/2014/main" id="{53783627-31D5-46FE-86C2-E33734D63945}"/>
                </a:ext>
              </a:extLst>
            </p:cNvPr>
            <p:cNvSpPr/>
            <p:nvPr/>
          </p:nvSpPr>
          <p:spPr>
            <a:xfrm>
              <a:off x="6878855" y="545030"/>
              <a:ext cx="342900" cy="9525"/>
            </a:xfrm>
            <a:custGeom>
              <a:avLst/>
              <a:gdLst>
                <a:gd name="connsiteX0" fmla="*/ 0 w 342900"/>
                <a:gd name="connsiteY0" fmla="*/ 0 h 9525"/>
                <a:gd name="connsiteX1" fmla="*/ 342900 w 342900"/>
                <a:gd name="connsiteY1" fmla="*/ 0 h 9525"/>
              </a:gdLst>
              <a:ahLst/>
              <a:cxnLst>
                <a:cxn ang="0">
                  <a:pos x="connsiteX0" y="connsiteY0"/>
                </a:cxn>
                <a:cxn ang="0">
                  <a:pos x="connsiteX1" y="connsiteY1"/>
                </a:cxn>
              </a:cxnLst>
              <a:rect l="l" t="t" r="r" b="b"/>
              <a:pathLst>
                <a:path w="342900" h="9525">
                  <a:moveTo>
                    <a:pt x="0" y="0"/>
                  </a:moveTo>
                  <a:lnTo>
                    <a:pt x="3429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10" name="Freihandform: Form 382">
              <a:extLst>
                <a:ext uri="{FF2B5EF4-FFF2-40B4-BE49-F238E27FC236}">
                  <a16:creationId xmlns:a16="http://schemas.microsoft.com/office/drawing/2014/main" id="{7EA48659-163E-4947-A0C1-9EA61983A901}"/>
                </a:ext>
              </a:extLst>
            </p:cNvPr>
            <p:cNvSpPr/>
            <p:nvPr/>
          </p:nvSpPr>
          <p:spPr>
            <a:xfrm>
              <a:off x="6936005" y="630755"/>
              <a:ext cx="66675" cy="9525"/>
            </a:xfrm>
            <a:custGeom>
              <a:avLst/>
              <a:gdLst>
                <a:gd name="connsiteX0" fmla="*/ 66675 w 66675"/>
                <a:gd name="connsiteY0" fmla="*/ 0 h 9525"/>
                <a:gd name="connsiteX1" fmla="*/ 0 w 66675"/>
                <a:gd name="connsiteY1" fmla="*/ 0 h 9525"/>
              </a:gdLst>
              <a:ahLst/>
              <a:cxnLst>
                <a:cxn ang="0">
                  <a:pos x="connsiteX0" y="connsiteY0"/>
                </a:cxn>
                <a:cxn ang="0">
                  <a:pos x="connsiteX1" y="connsiteY1"/>
                </a:cxn>
              </a:cxnLst>
              <a:rect l="l" t="t" r="r" b="b"/>
              <a:pathLst>
                <a:path w="66675" h="9525">
                  <a:moveTo>
                    <a:pt x="66675" y="0"/>
                  </a:moveTo>
                  <a:lnTo>
                    <a:pt x="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grpSp>
      <p:cxnSp>
        <p:nvCxnSpPr>
          <p:cNvPr id="311" name="Gerade Verbindung mit Pfeil 310">
            <a:extLst>
              <a:ext uri="{FF2B5EF4-FFF2-40B4-BE49-F238E27FC236}">
                <a16:creationId xmlns:a16="http://schemas.microsoft.com/office/drawing/2014/main" id="{47B174BC-7BE6-415A-BAAB-629B2F3CE842}"/>
              </a:ext>
            </a:extLst>
          </p:cNvPr>
          <p:cNvCxnSpPr>
            <a:cxnSpLocks/>
          </p:cNvCxnSpPr>
          <p:nvPr/>
        </p:nvCxnSpPr>
        <p:spPr>
          <a:xfrm>
            <a:off x="7295497" y="5119198"/>
            <a:ext cx="1117273"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12" name="Gruppieren 311">
            <a:extLst>
              <a:ext uri="{FF2B5EF4-FFF2-40B4-BE49-F238E27FC236}">
                <a16:creationId xmlns:a16="http://schemas.microsoft.com/office/drawing/2014/main" id="{2E12F230-A2F4-45A5-8C2A-19B8E04748C9}"/>
              </a:ext>
            </a:extLst>
          </p:cNvPr>
          <p:cNvGrpSpPr>
            <a:grpSpLocks noChangeAspect="1"/>
          </p:cNvGrpSpPr>
          <p:nvPr/>
        </p:nvGrpSpPr>
        <p:grpSpPr>
          <a:xfrm>
            <a:off x="7936907" y="5631034"/>
            <a:ext cx="413101" cy="333503"/>
            <a:chOff x="5554840" y="4629504"/>
            <a:chExt cx="571500" cy="571500"/>
          </a:xfrm>
        </p:grpSpPr>
        <p:sp>
          <p:nvSpPr>
            <p:cNvPr id="313" name="Freihandform: Form 353">
              <a:extLst>
                <a:ext uri="{FF2B5EF4-FFF2-40B4-BE49-F238E27FC236}">
                  <a16:creationId xmlns:a16="http://schemas.microsoft.com/office/drawing/2014/main" id="{9D12CC40-2ACE-4A51-972B-EFA91B18F692}"/>
                </a:ext>
              </a:extLst>
            </p:cNvPr>
            <p:cNvSpPr/>
            <p:nvPr/>
          </p:nvSpPr>
          <p:spPr>
            <a:xfrm>
              <a:off x="5554840" y="4629504"/>
              <a:ext cx="571500" cy="419100"/>
            </a:xfrm>
            <a:custGeom>
              <a:avLst/>
              <a:gdLst>
                <a:gd name="connsiteX0" fmla="*/ 285750 w 571500"/>
                <a:gd name="connsiteY0" fmla="*/ 419100 h 419100"/>
                <a:gd name="connsiteX1" fmla="*/ 0 w 571500"/>
                <a:gd name="connsiteY1" fmla="*/ 419100 h 419100"/>
                <a:gd name="connsiteX2" fmla="*/ 0 w 571500"/>
                <a:gd name="connsiteY2" fmla="*/ 0 h 419100"/>
                <a:gd name="connsiteX3" fmla="*/ 571500 w 571500"/>
                <a:gd name="connsiteY3" fmla="*/ 0 h 419100"/>
                <a:gd name="connsiteX4" fmla="*/ 571500 w 571500"/>
                <a:gd name="connsiteY4" fmla="*/ 2667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419100">
                  <a:moveTo>
                    <a:pt x="285750" y="419100"/>
                  </a:moveTo>
                  <a:lnTo>
                    <a:pt x="0" y="419100"/>
                  </a:lnTo>
                  <a:lnTo>
                    <a:pt x="0" y="0"/>
                  </a:lnTo>
                  <a:lnTo>
                    <a:pt x="571500" y="0"/>
                  </a:lnTo>
                  <a:lnTo>
                    <a:pt x="571500" y="26670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14" name="Freihandform: Form 354">
              <a:extLst>
                <a:ext uri="{FF2B5EF4-FFF2-40B4-BE49-F238E27FC236}">
                  <a16:creationId xmlns:a16="http://schemas.microsoft.com/office/drawing/2014/main" id="{731C1982-A1C7-4B50-A2D6-41E73F1874B4}"/>
                </a:ext>
              </a:extLst>
            </p:cNvPr>
            <p:cNvSpPr/>
            <p:nvPr/>
          </p:nvSpPr>
          <p:spPr>
            <a:xfrm>
              <a:off x="5783440" y="4781904"/>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15" name="Freihandform: Form 355">
              <a:extLst>
                <a:ext uri="{FF2B5EF4-FFF2-40B4-BE49-F238E27FC236}">
                  <a16:creationId xmlns:a16="http://schemas.microsoft.com/office/drawing/2014/main" id="{E45F5302-02EF-413D-B0A6-67D1C2B80F36}"/>
                </a:ext>
              </a:extLst>
            </p:cNvPr>
            <p:cNvSpPr/>
            <p:nvPr/>
          </p:nvSpPr>
          <p:spPr>
            <a:xfrm>
              <a:off x="5631040" y="4705704"/>
              <a:ext cx="419100" cy="266700"/>
            </a:xfrm>
            <a:custGeom>
              <a:avLst/>
              <a:gdLst>
                <a:gd name="connsiteX0" fmla="*/ 419100 w 419100"/>
                <a:gd name="connsiteY0" fmla="*/ 171450 h 266700"/>
                <a:gd name="connsiteX1" fmla="*/ 419100 w 419100"/>
                <a:gd name="connsiteY1" fmla="*/ 76200 h 266700"/>
                <a:gd name="connsiteX2" fmla="*/ 342900 w 419100"/>
                <a:gd name="connsiteY2" fmla="*/ 0 h 266700"/>
                <a:gd name="connsiteX3" fmla="*/ 76200 w 419100"/>
                <a:gd name="connsiteY3" fmla="*/ 0 h 266700"/>
                <a:gd name="connsiteX4" fmla="*/ 0 w 419100"/>
                <a:gd name="connsiteY4" fmla="*/ 76200 h 266700"/>
                <a:gd name="connsiteX5" fmla="*/ 0 w 419100"/>
                <a:gd name="connsiteY5" fmla="*/ 190500 h 266700"/>
                <a:gd name="connsiteX6" fmla="*/ 76200 w 419100"/>
                <a:gd name="connsiteY6" fmla="*/ 266700 h 266700"/>
                <a:gd name="connsiteX7" fmla="*/ 209550 w 419100"/>
                <a:gd name="connsiteY7"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100" h="266700">
                  <a:moveTo>
                    <a:pt x="419100" y="171450"/>
                  </a:moveTo>
                  <a:lnTo>
                    <a:pt x="419100" y="76200"/>
                  </a:lnTo>
                  <a:cubicBezTo>
                    <a:pt x="376238" y="76200"/>
                    <a:pt x="342900" y="42863"/>
                    <a:pt x="342900" y="0"/>
                  </a:cubicBezTo>
                  <a:lnTo>
                    <a:pt x="76200" y="0"/>
                  </a:lnTo>
                  <a:cubicBezTo>
                    <a:pt x="76200" y="42863"/>
                    <a:pt x="42863" y="76200"/>
                    <a:pt x="0" y="76200"/>
                  </a:cubicBezTo>
                  <a:lnTo>
                    <a:pt x="0" y="190500"/>
                  </a:lnTo>
                  <a:cubicBezTo>
                    <a:pt x="42863" y="190500"/>
                    <a:pt x="76200" y="223838"/>
                    <a:pt x="76200" y="266700"/>
                  </a:cubicBezTo>
                  <a:lnTo>
                    <a:pt x="209550" y="26670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16" name="Freihandform: Form 356">
              <a:extLst>
                <a:ext uri="{FF2B5EF4-FFF2-40B4-BE49-F238E27FC236}">
                  <a16:creationId xmlns:a16="http://schemas.microsoft.com/office/drawing/2014/main" id="{DDB3BA05-1518-4728-8514-6695857DF505}"/>
                </a:ext>
              </a:extLst>
            </p:cNvPr>
            <p:cNvSpPr/>
            <p:nvPr/>
          </p:nvSpPr>
          <p:spPr>
            <a:xfrm>
              <a:off x="5897740" y="4991454"/>
              <a:ext cx="228600" cy="133350"/>
            </a:xfrm>
            <a:custGeom>
              <a:avLst/>
              <a:gdLst>
                <a:gd name="connsiteX0" fmla="*/ 0 w 228600"/>
                <a:gd name="connsiteY0" fmla="*/ 0 h 133350"/>
                <a:gd name="connsiteX1" fmla="*/ 0 w 228600"/>
                <a:gd name="connsiteY1" fmla="*/ 76200 h 133350"/>
                <a:gd name="connsiteX2" fmla="*/ 114300 w 228600"/>
                <a:gd name="connsiteY2" fmla="*/ 133350 h 133350"/>
                <a:gd name="connsiteX3" fmla="*/ 228600 w 228600"/>
                <a:gd name="connsiteY3" fmla="*/ 76200 h 133350"/>
                <a:gd name="connsiteX4" fmla="*/ 228600 w 228600"/>
                <a:gd name="connsiteY4" fmla="*/ 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0" y="0"/>
                  </a:moveTo>
                  <a:lnTo>
                    <a:pt x="0" y="76200"/>
                  </a:lnTo>
                  <a:cubicBezTo>
                    <a:pt x="0" y="107632"/>
                    <a:pt x="51435" y="133350"/>
                    <a:pt x="114300" y="133350"/>
                  </a:cubicBezTo>
                  <a:cubicBezTo>
                    <a:pt x="177165" y="133350"/>
                    <a:pt x="228600" y="107632"/>
                    <a:pt x="228600" y="76200"/>
                  </a:cubicBezTo>
                  <a:lnTo>
                    <a:pt x="228600" y="0"/>
                  </a:ln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317" name="Freihandform: Form 357">
              <a:extLst>
                <a:ext uri="{FF2B5EF4-FFF2-40B4-BE49-F238E27FC236}">
                  <a16:creationId xmlns:a16="http://schemas.microsoft.com/office/drawing/2014/main" id="{12FD9C29-1FBC-4E45-A7E3-4A9B8AB12814}"/>
                </a:ext>
              </a:extLst>
            </p:cNvPr>
            <p:cNvSpPr/>
            <p:nvPr/>
          </p:nvSpPr>
          <p:spPr>
            <a:xfrm>
              <a:off x="5897740" y="5067654"/>
              <a:ext cx="228600" cy="133350"/>
            </a:xfrm>
            <a:custGeom>
              <a:avLst/>
              <a:gdLst>
                <a:gd name="connsiteX0" fmla="*/ 0 w 228600"/>
                <a:gd name="connsiteY0" fmla="*/ 0 h 133350"/>
                <a:gd name="connsiteX1" fmla="*/ 0 w 228600"/>
                <a:gd name="connsiteY1" fmla="*/ 76200 h 133350"/>
                <a:gd name="connsiteX2" fmla="*/ 114300 w 228600"/>
                <a:gd name="connsiteY2" fmla="*/ 133350 h 133350"/>
                <a:gd name="connsiteX3" fmla="*/ 228600 w 228600"/>
                <a:gd name="connsiteY3" fmla="*/ 76200 h 133350"/>
                <a:gd name="connsiteX4" fmla="*/ 228600 w 228600"/>
                <a:gd name="connsiteY4" fmla="*/ 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0" y="0"/>
                  </a:moveTo>
                  <a:lnTo>
                    <a:pt x="0" y="76200"/>
                  </a:lnTo>
                  <a:cubicBezTo>
                    <a:pt x="0" y="107632"/>
                    <a:pt x="51435" y="133350"/>
                    <a:pt x="114300" y="133350"/>
                  </a:cubicBezTo>
                  <a:cubicBezTo>
                    <a:pt x="177165" y="133350"/>
                    <a:pt x="228600" y="107632"/>
                    <a:pt x="228600" y="76200"/>
                  </a:cubicBezTo>
                  <a:lnTo>
                    <a:pt x="228600" y="0"/>
                  </a:ln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318" name="Freihandform: Form 358">
              <a:extLst>
                <a:ext uri="{FF2B5EF4-FFF2-40B4-BE49-F238E27FC236}">
                  <a16:creationId xmlns:a16="http://schemas.microsoft.com/office/drawing/2014/main" id="{1464398E-EB1C-4BA7-895F-FE89C949D0D5}"/>
                </a:ext>
              </a:extLst>
            </p:cNvPr>
            <p:cNvSpPr/>
            <p:nvPr/>
          </p:nvSpPr>
          <p:spPr>
            <a:xfrm>
              <a:off x="5897740" y="4934304"/>
              <a:ext cx="228600" cy="114300"/>
            </a:xfrm>
            <a:custGeom>
              <a:avLst/>
              <a:gdLst>
                <a:gd name="connsiteX0" fmla="*/ 228600 w 228600"/>
                <a:gd name="connsiteY0" fmla="*/ 57150 h 114300"/>
                <a:gd name="connsiteX1" fmla="*/ 114300 w 228600"/>
                <a:gd name="connsiteY1" fmla="*/ 114300 h 114300"/>
                <a:gd name="connsiteX2" fmla="*/ 0 w 228600"/>
                <a:gd name="connsiteY2" fmla="*/ 57150 h 114300"/>
                <a:gd name="connsiteX3" fmla="*/ 114300 w 228600"/>
                <a:gd name="connsiteY3" fmla="*/ 0 h 114300"/>
                <a:gd name="connsiteX4" fmla="*/ 228600 w 2286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14300">
                  <a:moveTo>
                    <a:pt x="228600" y="57150"/>
                  </a:moveTo>
                  <a:cubicBezTo>
                    <a:pt x="228600" y="88713"/>
                    <a:pt x="177426" y="114300"/>
                    <a:pt x="114300" y="114300"/>
                  </a:cubicBezTo>
                  <a:cubicBezTo>
                    <a:pt x="51174" y="114300"/>
                    <a:pt x="0" y="88713"/>
                    <a:pt x="0" y="57150"/>
                  </a:cubicBezTo>
                  <a:cubicBezTo>
                    <a:pt x="0" y="25587"/>
                    <a:pt x="51174" y="0"/>
                    <a:pt x="114300" y="0"/>
                  </a:cubicBezTo>
                  <a:cubicBezTo>
                    <a:pt x="177426" y="0"/>
                    <a:pt x="228600" y="25587"/>
                    <a:pt x="228600" y="57150"/>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319" name="Textfeld 318">
            <a:extLst>
              <a:ext uri="{FF2B5EF4-FFF2-40B4-BE49-F238E27FC236}">
                <a16:creationId xmlns:a16="http://schemas.microsoft.com/office/drawing/2014/main" id="{EDD5B42F-C415-4EED-9E1A-51D793E84FCE}"/>
              </a:ext>
            </a:extLst>
          </p:cNvPr>
          <p:cNvSpPr txBox="1">
            <a:spLocks/>
          </p:cNvSpPr>
          <p:nvPr/>
        </p:nvSpPr>
        <p:spPr>
          <a:xfrm>
            <a:off x="7712093" y="5969956"/>
            <a:ext cx="864000" cy="180000"/>
          </a:xfrm>
          <a:prstGeom prst="rect">
            <a:avLst/>
          </a:prstGeom>
          <a:noFill/>
        </p:spPr>
        <p:txBody>
          <a:bodyPr wrap="square" lIns="0" tIns="0" rIns="0" bIns="0" rtlCol="0">
            <a:noAutofit/>
          </a:bodyPr>
          <a:lstStyle/>
          <a:p>
            <a:pPr algn="ctr" fontAlgn="base">
              <a:spcBef>
                <a:spcPct val="0"/>
              </a:spcBef>
              <a:spcAft>
                <a:spcPct val="0"/>
              </a:spcAft>
            </a:pPr>
            <a:r>
              <a:rPr lang="de-DE" sz="800" dirty="0">
                <a:latin typeface="+mn-lt"/>
              </a:rPr>
              <a:t>Rechnungswesen</a:t>
            </a:r>
          </a:p>
        </p:txBody>
      </p:sp>
      <p:cxnSp>
        <p:nvCxnSpPr>
          <p:cNvPr id="320" name="Gerade Verbindung mit Pfeil 96">
            <a:extLst>
              <a:ext uri="{FF2B5EF4-FFF2-40B4-BE49-F238E27FC236}">
                <a16:creationId xmlns:a16="http://schemas.microsoft.com/office/drawing/2014/main" id="{504A81C5-49CE-43F0-9329-C9714AFE0C5E}"/>
              </a:ext>
            </a:extLst>
          </p:cNvPr>
          <p:cNvCxnSpPr/>
          <p:nvPr/>
        </p:nvCxnSpPr>
        <p:spPr>
          <a:xfrm>
            <a:off x="6665715" y="5594216"/>
            <a:ext cx="1154520" cy="199654"/>
          </a:xfrm>
          <a:prstGeom prst="bentConnector3">
            <a:avLst>
              <a:gd name="adj1" fmla="val 1081"/>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1" name="Grafik 73">
            <a:extLst>
              <a:ext uri="{FF2B5EF4-FFF2-40B4-BE49-F238E27FC236}">
                <a16:creationId xmlns:a16="http://schemas.microsoft.com/office/drawing/2014/main" id="{EAF85E08-86DD-4318-AC02-C45CC072410D}"/>
              </a:ext>
            </a:extLst>
          </p:cNvPr>
          <p:cNvSpPr>
            <a:spLocks noChangeAspect="1"/>
          </p:cNvSpPr>
          <p:nvPr/>
        </p:nvSpPr>
        <p:spPr>
          <a:xfrm>
            <a:off x="678600" y="1633826"/>
            <a:ext cx="1236829" cy="1069657"/>
          </a:xfrm>
          <a:custGeom>
            <a:avLst/>
            <a:gdLst>
              <a:gd name="connsiteX0" fmla="*/ 478155 w 533400"/>
              <a:gd name="connsiteY0" fmla="*/ 431390 h 571407"/>
              <a:gd name="connsiteX1" fmla="*/ 358140 w 533400"/>
              <a:gd name="connsiteY1" fmla="*/ 397100 h 571407"/>
              <a:gd name="connsiteX2" fmla="*/ 333375 w 533400"/>
              <a:gd name="connsiteY2" fmla="*/ 363762 h 571407"/>
              <a:gd name="connsiteX3" fmla="*/ 358140 w 533400"/>
              <a:gd name="connsiteY3" fmla="*/ 345665 h 571407"/>
              <a:gd name="connsiteX4" fmla="*/ 428625 w 533400"/>
              <a:gd name="connsiteY4" fmla="*/ 351380 h 571407"/>
              <a:gd name="connsiteX5" fmla="*/ 427673 w 533400"/>
              <a:gd name="connsiteY5" fmla="*/ 181835 h 571407"/>
              <a:gd name="connsiteX6" fmla="*/ 322898 w 533400"/>
              <a:gd name="connsiteY6" fmla="*/ 24672 h 571407"/>
              <a:gd name="connsiteX7" fmla="*/ 161925 w 533400"/>
              <a:gd name="connsiteY7" fmla="*/ 36102 h 571407"/>
              <a:gd name="connsiteX8" fmla="*/ 107633 w 533400"/>
              <a:gd name="connsiteY8" fmla="*/ 189455 h 571407"/>
              <a:gd name="connsiteX9" fmla="*/ 85725 w 533400"/>
              <a:gd name="connsiteY9" fmla="*/ 332330 h 571407"/>
              <a:gd name="connsiteX10" fmla="*/ 175260 w 533400"/>
              <a:gd name="connsiteY10" fmla="*/ 344712 h 571407"/>
              <a:gd name="connsiteX11" fmla="*/ 200025 w 533400"/>
              <a:gd name="connsiteY11" fmla="*/ 362810 h 571407"/>
              <a:gd name="connsiteX12" fmla="*/ 175260 w 533400"/>
              <a:gd name="connsiteY12" fmla="*/ 396147 h 571407"/>
              <a:gd name="connsiteX13" fmla="*/ 55245 w 533400"/>
              <a:gd name="connsiteY13" fmla="*/ 431390 h 571407"/>
              <a:gd name="connsiteX14" fmla="*/ 0 w 533400"/>
              <a:gd name="connsiteY14" fmla="*/ 504732 h 571407"/>
              <a:gd name="connsiteX15" fmla="*/ 0 w 533400"/>
              <a:gd name="connsiteY15" fmla="*/ 571407 h 571407"/>
              <a:gd name="connsiteX16" fmla="*/ 533400 w 533400"/>
              <a:gd name="connsiteY16" fmla="*/ 571407 h 571407"/>
              <a:gd name="connsiteX17" fmla="*/ 533400 w 533400"/>
              <a:gd name="connsiteY17" fmla="*/ 504732 h 571407"/>
              <a:gd name="connsiteX18" fmla="*/ 478155 w 533400"/>
              <a:gd name="connsiteY18" fmla="*/ 431390 h 57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3400" h="571407">
                <a:moveTo>
                  <a:pt x="478155" y="431390"/>
                </a:moveTo>
                <a:lnTo>
                  <a:pt x="358140" y="397100"/>
                </a:lnTo>
                <a:cubicBezTo>
                  <a:pt x="342900" y="393290"/>
                  <a:pt x="333375" y="379002"/>
                  <a:pt x="333375" y="363762"/>
                </a:cubicBezTo>
                <a:cubicBezTo>
                  <a:pt x="333375" y="351380"/>
                  <a:pt x="345758" y="341855"/>
                  <a:pt x="358140" y="345665"/>
                </a:cubicBezTo>
                <a:cubicBezTo>
                  <a:pt x="375285" y="351380"/>
                  <a:pt x="398145" y="353285"/>
                  <a:pt x="428625" y="351380"/>
                </a:cubicBezTo>
                <a:cubicBezTo>
                  <a:pt x="388620" y="300897"/>
                  <a:pt x="423863" y="263750"/>
                  <a:pt x="427673" y="181835"/>
                </a:cubicBezTo>
                <a:cubicBezTo>
                  <a:pt x="430530" y="98967"/>
                  <a:pt x="401003" y="13242"/>
                  <a:pt x="322898" y="24672"/>
                </a:cubicBezTo>
                <a:cubicBezTo>
                  <a:pt x="295275" y="-1998"/>
                  <a:pt x="219075" y="-18190"/>
                  <a:pt x="161925" y="36102"/>
                </a:cubicBezTo>
                <a:cubicBezTo>
                  <a:pt x="127635" y="68487"/>
                  <a:pt x="103823" y="124685"/>
                  <a:pt x="107633" y="189455"/>
                </a:cubicBezTo>
                <a:cubicBezTo>
                  <a:pt x="109538" y="231365"/>
                  <a:pt x="120015" y="268512"/>
                  <a:pt x="85725" y="332330"/>
                </a:cubicBezTo>
                <a:cubicBezTo>
                  <a:pt x="113348" y="349475"/>
                  <a:pt x="144780" y="355190"/>
                  <a:pt x="175260" y="344712"/>
                </a:cubicBezTo>
                <a:cubicBezTo>
                  <a:pt x="186690" y="340902"/>
                  <a:pt x="200025" y="348522"/>
                  <a:pt x="200025" y="362810"/>
                </a:cubicBezTo>
                <a:cubicBezTo>
                  <a:pt x="200025" y="378050"/>
                  <a:pt x="189548" y="391385"/>
                  <a:pt x="175260" y="396147"/>
                </a:cubicBezTo>
                <a:lnTo>
                  <a:pt x="55245" y="431390"/>
                </a:lnTo>
                <a:cubicBezTo>
                  <a:pt x="22860" y="440915"/>
                  <a:pt x="0" y="470442"/>
                  <a:pt x="0" y="504732"/>
                </a:cubicBezTo>
                <a:lnTo>
                  <a:pt x="0" y="571407"/>
                </a:lnTo>
                <a:lnTo>
                  <a:pt x="533400" y="571407"/>
                </a:lnTo>
                <a:lnTo>
                  <a:pt x="533400" y="504732"/>
                </a:lnTo>
                <a:cubicBezTo>
                  <a:pt x="533400" y="470442"/>
                  <a:pt x="510540" y="440915"/>
                  <a:pt x="478155" y="431390"/>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22" name="Textfeld 321">
            <a:extLst>
              <a:ext uri="{FF2B5EF4-FFF2-40B4-BE49-F238E27FC236}">
                <a16:creationId xmlns:a16="http://schemas.microsoft.com/office/drawing/2014/main" id="{75D8C930-7CDE-485E-BD9B-E204507CA509}"/>
              </a:ext>
            </a:extLst>
          </p:cNvPr>
          <p:cNvSpPr txBox="1">
            <a:spLocks noChangeAspect="1"/>
          </p:cNvSpPr>
          <p:nvPr/>
        </p:nvSpPr>
        <p:spPr>
          <a:xfrm>
            <a:off x="3546399" y="3854452"/>
            <a:ext cx="1429081" cy="195814"/>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t>Authentifizierung</a:t>
            </a:r>
          </a:p>
        </p:txBody>
      </p:sp>
      <p:cxnSp>
        <p:nvCxnSpPr>
          <p:cNvPr id="323" name="Gerade Verbindung mit Pfeil 322">
            <a:extLst>
              <a:ext uri="{FF2B5EF4-FFF2-40B4-BE49-F238E27FC236}">
                <a16:creationId xmlns:a16="http://schemas.microsoft.com/office/drawing/2014/main" id="{710EB45E-75ED-40E9-8A0F-F14A9A53FCD8}"/>
              </a:ext>
            </a:extLst>
          </p:cNvPr>
          <p:cNvCxnSpPr>
            <a:cxnSpLocks/>
          </p:cNvCxnSpPr>
          <p:nvPr/>
        </p:nvCxnSpPr>
        <p:spPr>
          <a:xfrm flipH="1">
            <a:off x="3613661" y="4085525"/>
            <a:ext cx="423985" cy="583945"/>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4" name="Gerade Verbindung mit Pfeil 323">
            <a:extLst>
              <a:ext uri="{FF2B5EF4-FFF2-40B4-BE49-F238E27FC236}">
                <a16:creationId xmlns:a16="http://schemas.microsoft.com/office/drawing/2014/main" id="{C808B711-A99B-43FB-9EE2-545D450DD8E0}"/>
              </a:ext>
            </a:extLst>
          </p:cNvPr>
          <p:cNvCxnSpPr/>
          <p:nvPr/>
        </p:nvCxnSpPr>
        <p:spPr>
          <a:xfrm>
            <a:off x="4058851" y="3209948"/>
            <a:ext cx="0" cy="28800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5" name="Textfeld 324">
            <a:extLst>
              <a:ext uri="{FF2B5EF4-FFF2-40B4-BE49-F238E27FC236}">
                <a16:creationId xmlns:a16="http://schemas.microsoft.com/office/drawing/2014/main" id="{98C6D478-8C70-4FE1-8559-02C9474470B7}"/>
              </a:ext>
            </a:extLst>
          </p:cNvPr>
          <p:cNvSpPr txBox="1"/>
          <p:nvPr/>
        </p:nvSpPr>
        <p:spPr>
          <a:xfrm>
            <a:off x="6642307" y="5836266"/>
            <a:ext cx="604900"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err="1"/>
              <a:t>ePayment</a:t>
            </a:r>
            <a:endParaRPr lang="de-DE" dirty="0"/>
          </a:p>
          <a:p>
            <a:r>
              <a:rPr lang="de-DE" dirty="0"/>
              <a:t>(vorgelagert)</a:t>
            </a:r>
          </a:p>
        </p:txBody>
      </p:sp>
      <p:sp>
        <p:nvSpPr>
          <p:cNvPr id="326" name="Textfeld 325">
            <a:extLst>
              <a:ext uri="{FF2B5EF4-FFF2-40B4-BE49-F238E27FC236}">
                <a16:creationId xmlns:a16="http://schemas.microsoft.com/office/drawing/2014/main" id="{427776AE-4D96-4539-B66D-4CB132A5AAE5}"/>
              </a:ext>
            </a:extLst>
          </p:cNvPr>
          <p:cNvSpPr txBox="1"/>
          <p:nvPr/>
        </p:nvSpPr>
        <p:spPr>
          <a:xfrm>
            <a:off x="4779377" y="4021038"/>
            <a:ext cx="1805550" cy="565146"/>
          </a:xfrm>
          <a:prstGeom prst="rect">
            <a:avLst/>
          </a:prstGeom>
          <a:noFill/>
        </p:spPr>
        <p:txBody>
          <a:bodyPr wrap="square" lIns="0" tIns="0" rIns="0" bIns="0" rtlCol="0">
            <a:noAutofit/>
          </a:bodyPr>
          <a:lstStyle>
            <a:defPPr>
              <a:defRPr lang="en-US"/>
            </a:defPPr>
            <a:lvl1pPr algn="ctr">
              <a:defRPr sz="800">
                <a:latin typeface="+mn-lt"/>
              </a:defRPr>
            </a:lvl1pPr>
          </a:lstStyle>
          <a:p>
            <a:pPr algn="l"/>
            <a:r>
              <a:rPr lang="de-DE" dirty="0"/>
              <a:t>VN hoch: </a:t>
            </a:r>
            <a:r>
              <a:rPr lang="de-DE" dirty="0" err="1"/>
              <a:t>nPA</a:t>
            </a:r>
            <a:r>
              <a:rPr lang="de-DE" dirty="0"/>
              <a:t> / Smart </a:t>
            </a:r>
            <a:r>
              <a:rPr lang="de-DE" dirty="0" err="1"/>
              <a:t>eID</a:t>
            </a:r>
            <a:r>
              <a:rPr lang="de-DE" dirty="0"/>
              <a:t> </a:t>
            </a:r>
          </a:p>
          <a:p>
            <a:pPr algn="l"/>
            <a:r>
              <a:rPr lang="de-DE" dirty="0"/>
              <a:t>VN substantiell: ELSTER</a:t>
            </a:r>
          </a:p>
          <a:p>
            <a:pPr algn="l"/>
            <a:r>
              <a:rPr lang="de-DE" dirty="0"/>
              <a:t>VN niedrig: NICHT DEFINIERT</a:t>
            </a:r>
          </a:p>
          <a:p>
            <a:pPr algn="l"/>
            <a:r>
              <a:rPr lang="de-DE" dirty="0"/>
              <a:t>Basisregistrierung: Nutzername/Passwort</a:t>
            </a:r>
          </a:p>
        </p:txBody>
      </p:sp>
      <p:grpSp>
        <p:nvGrpSpPr>
          <p:cNvPr id="327" name="Grafik 21">
            <a:extLst>
              <a:ext uri="{FF2B5EF4-FFF2-40B4-BE49-F238E27FC236}">
                <a16:creationId xmlns:a16="http://schemas.microsoft.com/office/drawing/2014/main" id="{0270550E-E032-4847-A7FC-A369C1581567}"/>
              </a:ext>
            </a:extLst>
          </p:cNvPr>
          <p:cNvGrpSpPr>
            <a:grpSpLocks noChangeAspect="1"/>
          </p:cNvGrpSpPr>
          <p:nvPr/>
        </p:nvGrpSpPr>
        <p:grpSpPr>
          <a:xfrm>
            <a:off x="7683577" y="4776695"/>
            <a:ext cx="341112" cy="222085"/>
            <a:chOff x="11250030" y="1161729"/>
            <a:chExt cx="590550" cy="476250"/>
          </a:xfrm>
          <a:solidFill>
            <a:schemeClr val="accent5"/>
          </a:solidFill>
        </p:grpSpPr>
        <p:sp>
          <p:nvSpPr>
            <p:cNvPr id="328" name="Freihandform: Form 155">
              <a:extLst>
                <a:ext uri="{FF2B5EF4-FFF2-40B4-BE49-F238E27FC236}">
                  <a16:creationId xmlns:a16="http://schemas.microsoft.com/office/drawing/2014/main" id="{C7C349D9-947A-40D6-8C37-8A49FC014883}"/>
                </a:ext>
              </a:extLst>
            </p:cNvPr>
            <p:cNvSpPr/>
            <p:nvPr/>
          </p:nvSpPr>
          <p:spPr>
            <a:xfrm>
              <a:off x="11250030" y="1161729"/>
              <a:ext cx="352425" cy="409575"/>
            </a:xfrm>
            <a:custGeom>
              <a:avLst/>
              <a:gdLst>
                <a:gd name="connsiteX0" fmla="*/ 333375 w 352425"/>
                <a:gd name="connsiteY0" fmla="*/ 0 h 409575"/>
                <a:gd name="connsiteX1" fmla="*/ 19050 w 352425"/>
                <a:gd name="connsiteY1" fmla="*/ 0 h 409575"/>
                <a:gd name="connsiteX2" fmla="*/ 0 w 352425"/>
                <a:gd name="connsiteY2" fmla="*/ 19050 h 409575"/>
                <a:gd name="connsiteX3" fmla="*/ 0 w 352425"/>
                <a:gd name="connsiteY3" fmla="*/ 390525 h 409575"/>
                <a:gd name="connsiteX4" fmla="*/ 19050 w 352425"/>
                <a:gd name="connsiteY4" fmla="*/ 409575 h 409575"/>
                <a:gd name="connsiteX5" fmla="*/ 57150 w 352425"/>
                <a:gd name="connsiteY5" fmla="*/ 409575 h 409575"/>
                <a:gd name="connsiteX6" fmla="*/ 142875 w 352425"/>
                <a:gd name="connsiteY6" fmla="*/ 323850 h 409575"/>
                <a:gd name="connsiteX7" fmla="*/ 228600 w 352425"/>
                <a:gd name="connsiteY7" fmla="*/ 409575 h 409575"/>
                <a:gd name="connsiteX8" fmla="*/ 342900 w 352425"/>
                <a:gd name="connsiteY8" fmla="*/ 409575 h 409575"/>
                <a:gd name="connsiteX9" fmla="*/ 352425 w 352425"/>
                <a:gd name="connsiteY9" fmla="*/ 400050 h 409575"/>
                <a:gd name="connsiteX10" fmla="*/ 352425 w 352425"/>
                <a:gd name="connsiteY10" fmla="*/ 19050 h 409575"/>
                <a:gd name="connsiteX11" fmla="*/ 333375 w 352425"/>
                <a:gd name="connsiteY11"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409575">
                  <a:moveTo>
                    <a:pt x="333375" y="0"/>
                  </a:moveTo>
                  <a:lnTo>
                    <a:pt x="19050" y="0"/>
                  </a:lnTo>
                  <a:cubicBezTo>
                    <a:pt x="8573" y="0"/>
                    <a:pt x="0" y="8573"/>
                    <a:pt x="0" y="19050"/>
                  </a:cubicBezTo>
                  <a:lnTo>
                    <a:pt x="0" y="390525"/>
                  </a:lnTo>
                  <a:cubicBezTo>
                    <a:pt x="0" y="401003"/>
                    <a:pt x="8573" y="409575"/>
                    <a:pt x="19050" y="409575"/>
                  </a:cubicBezTo>
                  <a:lnTo>
                    <a:pt x="57150" y="409575"/>
                  </a:lnTo>
                  <a:cubicBezTo>
                    <a:pt x="57150" y="361950"/>
                    <a:pt x="95250" y="323850"/>
                    <a:pt x="142875" y="323850"/>
                  </a:cubicBezTo>
                  <a:cubicBezTo>
                    <a:pt x="190500" y="323850"/>
                    <a:pt x="228600" y="361950"/>
                    <a:pt x="228600" y="409575"/>
                  </a:cubicBezTo>
                  <a:lnTo>
                    <a:pt x="342900" y="409575"/>
                  </a:lnTo>
                  <a:cubicBezTo>
                    <a:pt x="348615" y="409575"/>
                    <a:pt x="352425" y="405765"/>
                    <a:pt x="352425" y="400050"/>
                  </a:cubicBezTo>
                  <a:lnTo>
                    <a:pt x="352425" y="19050"/>
                  </a:lnTo>
                  <a:cubicBezTo>
                    <a:pt x="352425" y="8573"/>
                    <a:pt x="343853" y="0"/>
                    <a:pt x="333375" y="0"/>
                  </a:cubicBezTo>
                  <a:close/>
                </a:path>
              </a:pathLst>
            </a:custGeom>
            <a:grpFill/>
            <a:ln w="9525" cap="flat">
              <a:solidFill>
                <a:schemeClr val="bg1"/>
              </a:solidFill>
              <a:prstDash val="solid"/>
              <a:miter/>
            </a:ln>
          </p:spPr>
          <p:txBody>
            <a:bodyPr lIns="36000" tIns="36000" rIns="36000" bIns="36000" rtlCol="0" anchor="ctr"/>
            <a:lstStyle/>
            <a:p>
              <a:endParaRPr lang="de-DE" sz="800" dirty="0">
                <a:latin typeface="+mn-lt"/>
              </a:endParaRPr>
            </a:p>
          </p:txBody>
        </p:sp>
        <p:sp>
          <p:nvSpPr>
            <p:cNvPr id="329" name="Freihandform: Form 156">
              <a:extLst>
                <a:ext uri="{FF2B5EF4-FFF2-40B4-BE49-F238E27FC236}">
                  <a16:creationId xmlns:a16="http://schemas.microsoft.com/office/drawing/2014/main" id="{91E455BF-B3A2-4237-AFD1-4655175994A8}"/>
                </a:ext>
              </a:extLst>
            </p:cNvPr>
            <p:cNvSpPr/>
            <p:nvPr/>
          </p:nvSpPr>
          <p:spPr>
            <a:xfrm>
              <a:off x="11326230" y="1504629"/>
              <a:ext cx="133350" cy="133350"/>
            </a:xfrm>
            <a:custGeom>
              <a:avLst/>
              <a:gdLst>
                <a:gd name="connsiteX0" fmla="*/ 66675 w 133350"/>
                <a:gd name="connsiteY0" fmla="*/ 133350 h 133350"/>
                <a:gd name="connsiteX1" fmla="*/ 0 w 133350"/>
                <a:gd name="connsiteY1" fmla="*/ 66675 h 133350"/>
                <a:gd name="connsiteX2" fmla="*/ 66675 w 133350"/>
                <a:gd name="connsiteY2" fmla="*/ 0 h 133350"/>
                <a:gd name="connsiteX3" fmla="*/ 133350 w 133350"/>
                <a:gd name="connsiteY3" fmla="*/ 66675 h 133350"/>
                <a:gd name="connsiteX4" fmla="*/ 66675 w 133350"/>
                <a:gd name="connsiteY4" fmla="*/ 133350 h 133350"/>
                <a:gd name="connsiteX5" fmla="*/ 66675 w 133350"/>
                <a:gd name="connsiteY5" fmla="*/ 38100 h 133350"/>
                <a:gd name="connsiteX6" fmla="*/ 38100 w 133350"/>
                <a:gd name="connsiteY6" fmla="*/ 66675 h 133350"/>
                <a:gd name="connsiteX7" fmla="*/ 66675 w 133350"/>
                <a:gd name="connsiteY7" fmla="*/ 95250 h 133350"/>
                <a:gd name="connsiteX8" fmla="*/ 95250 w 133350"/>
                <a:gd name="connsiteY8" fmla="*/ 66675 h 133350"/>
                <a:gd name="connsiteX9" fmla="*/ 66675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133350"/>
                  </a:moveTo>
                  <a:cubicBezTo>
                    <a:pt x="29528" y="133350"/>
                    <a:pt x="0" y="103823"/>
                    <a:pt x="0" y="66675"/>
                  </a:cubicBezTo>
                  <a:cubicBezTo>
                    <a:pt x="0" y="29527"/>
                    <a:pt x="29528" y="0"/>
                    <a:pt x="66675" y="0"/>
                  </a:cubicBezTo>
                  <a:cubicBezTo>
                    <a:pt x="103823" y="0"/>
                    <a:pt x="133350" y="29527"/>
                    <a:pt x="133350" y="66675"/>
                  </a:cubicBezTo>
                  <a:cubicBezTo>
                    <a:pt x="133350" y="103823"/>
                    <a:pt x="103823" y="133350"/>
                    <a:pt x="66675" y="133350"/>
                  </a:cubicBezTo>
                  <a:close/>
                  <a:moveTo>
                    <a:pt x="66675" y="38100"/>
                  </a:moveTo>
                  <a:cubicBezTo>
                    <a:pt x="50483" y="38100"/>
                    <a:pt x="38100" y="50482"/>
                    <a:pt x="38100" y="66675"/>
                  </a:cubicBezTo>
                  <a:cubicBezTo>
                    <a:pt x="38100" y="82868"/>
                    <a:pt x="50483" y="95250"/>
                    <a:pt x="66675" y="95250"/>
                  </a:cubicBezTo>
                  <a:cubicBezTo>
                    <a:pt x="82868" y="95250"/>
                    <a:pt x="95250" y="82868"/>
                    <a:pt x="95250" y="66675"/>
                  </a:cubicBezTo>
                  <a:cubicBezTo>
                    <a:pt x="95250" y="50482"/>
                    <a:pt x="82868" y="38100"/>
                    <a:pt x="66675" y="38100"/>
                  </a:cubicBezTo>
                  <a:close/>
                </a:path>
              </a:pathLst>
            </a:custGeom>
            <a:grpFill/>
            <a:ln w="9525" cap="flat">
              <a:solidFill>
                <a:schemeClr val="bg1"/>
              </a:solidFill>
              <a:prstDash val="solid"/>
              <a:miter/>
            </a:ln>
          </p:spPr>
          <p:txBody>
            <a:bodyPr lIns="36000" tIns="36000" rIns="36000" bIns="36000" rtlCol="0" anchor="ctr"/>
            <a:lstStyle/>
            <a:p>
              <a:endParaRPr lang="de-DE" sz="800" dirty="0">
                <a:latin typeface="+mn-lt"/>
              </a:endParaRPr>
            </a:p>
          </p:txBody>
        </p:sp>
        <p:sp>
          <p:nvSpPr>
            <p:cNvPr id="330" name="Freihandform: Form 157">
              <a:extLst>
                <a:ext uri="{FF2B5EF4-FFF2-40B4-BE49-F238E27FC236}">
                  <a16:creationId xmlns:a16="http://schemas.microsoft.com/office/drawing/2014/main" id="{FEE4B478-15DC-4CC0-9B4B-38EC6034F3D7}"/>
                </a:ext>
              </a:extLst>
            </p:cNvPr>
            <p:cNvSpPr/>
            <p:nvPr/>
          </p:nvSpPr>
          <p:spPr>
            <a:xfrm>
              <a:off x="11631030" y="1504629"/>
              <a:ext cx="133350" cy="133350"/>
            </a:xfrm>
            <a:custGeom>
              <a:avLst/>
              <a:gdLst>
                <a:gd name="connsiteX0" fmla="*/ 66675 w 133350"/>
                <a:gd name="connsiteY0" fmla="*/ 133350 h 133350"/>
                <a:gd name="connsiteX1" fmla="*/ 0 w 133350"/>
                <a:gd name="connsiteY1" fmla="*/ 66675 h 133350"/>
                <a:gd name="connsiteX2" fmla="*/ 66675 w 133350"/>
                <a:gd name="connsiteY2" fmla="*/ 0 h 133350"/>
                <a:gd name="connsiteX3" fmla="*/ 133350 w 133350"/>
                <a:gd name="connsiteY3" fmla="*/ 66675 h 133350"/>
                <a:gd name="connsiteX4" fmla="*/ 66675 w 133350"/>
                <a:gd name="connsiteY4" fmla="*/ 133350 h 133350"/>
                <a:gd name="connsiteX5" fmla="*/ 66675 w 133350"/>
                <a:gd name="connsiteY5" fmla="*/ 38100 h 133350"/>
                <a:gd name="connsiteX6" fmla="*/ 38100 w 133350"/>
                <a:gd name="connsiteY6" fmla="*/ 66675 h 133350"/>
                <a:gd name="connsiteX7" fmla="*/ 66675 w 133350"/>
                <a:gd name="connsiteY7" fmla="*/ 95250 h 133350"/>
                <a:gd name="connsiteX8" fmla="*/ 95250 w 133350"/>
                <a:gd name="connsiteY8" fmla="*/ 66675 h 133350"/>
                <a:gd name="connsiteX9" fmla="*/ 66675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133350"/>
                  </a:moveTo>
                  <a:cubicBezTo>
                    <a:pt x="29527" y="133350"/>
                    <a:pt x="0" y="103823"/>
                    <a:pt x="0" y="66675"/>
                  </a:cubicBezTo>
                  <a:cubicBezTo>
                    <a:pt x="0" y="29527"/>
                    <a:pt x="29527" y="0"/>
                    <a:pt x="66675" y="0"/>
                  </a:cubicBezTo>
                  <a:cubicBezTo>
                    <a:pt x="103823" y="0"/>
                    <a:pt x="133350" y="29527"/>
                    <a:pt x="133350" y="66675"/>
                  </a:cubicBezTo>
                  <a:cubicBezTo>
                    <a:pt x="133350" y="103823"/>
                    <a:pt x="103823" y="133350"/>
                    <a:pt x="66675" y="133350"/>
                  </a:cubicBezTo>
                  <a:close/>
                  <a:moveTo>
                    <a:pt x="66675" y="38100"/>
                  </a:moveTo>
                  <a:cubicBezTo>
                    <a:pt x="50482" y="38100"/>
                    <a:pt x="38100" y="50482"/>
                    <a:pt x="38100" y="66675"/>
                  </a:cubicBezTo>
                  <a:cubicBezTo>
                    <a:pt x="38100" y="82868"/>
                    <a:pt x="50482" y="95250"/>
                    <a:pt x="66675" y="95250"/>
                  </a:cubicBezTo>
                  <a:cubicBezTo>
                    <a:pt x="82868" y="95250"/>
                    <a:pt x="95250" y="82868"/>
                    <a:pt x="95250" y="66675"/>
                  </a:cubicBezTo>
                  <a:cubicBezTo>
                    <a:pt x="95250" y="50482"/>
                    <a:pt x="82868" y="38100"/>
                    <a:pt x="66675" y="38100"/>
                  </a:cubicBezTo>
                  <a:close/>
                </a:path>
              </a:pathLst>
            </a:custGeom>
            <a:grpFill/>
            <a:ln w="9525" cap="flat">
              <a:solidFill>
                <a:schemeClr val="bg1"/>
              </a:solidFill>
              <a:prstDash val="solid"/>
              <a:miter/>
            </a:ln>
          </p:spPr>
          <p:txBody>
            <a:bodyPr lIns="36000" tIns="36000" rIns="36000" bIns="36000" rtlCol="0" anchor="ctr"/>
            <a:lstStyle/>
            <a:p>
              <a:endParaRPr lang="de-DE" sz="800" dirty="0">
                <a:latin typeface="+mn-lt"/>
              </a:endParaRPr>
            </a:p>
          </p:txBody>
        </p:sp>
        <p:sp>
          <p:nvSpPr>
            <p:cNvPr id="331" name="Freihandform: Form 158">
              <a:extLst>
                <a:ext uri="{FF2B5EF4-FFF2-40B4-BE49-F238E27FC236}">
                  <a16:creationId xmlns:a16="http://schemas.microsoft.com/office/drawing/2014/main" id="{31274FE4-5E8C-44BB-9355-E5C37EE831F5}"/>
                </a:ext>
              </a:extLst>
            </p:cNvPr>
            <p:cNvSpPr/>
            <p:nvPr/>
          </p:nvSpPr>
          <p:spPr>
            <a:xfrm>
              <a:off x="11621505" y="1256979"/>
              <a:ext cx="219075" cy="314325"/>
            </a:xfrm>
            <a:custGeom>
              <a:avLst/>
              <a:gdLst>
                <a:gd name="connsiteX0" fmla="*/ 218123 w 219075"/>
                <a:gd name="connsiteY0" fmla="*/ 139065 h 314325"/>
                <a:gd name="connsiteX1" fmla="*/ 151448 w 219075"/>
                <a:gd name="connsiteY1" fmla="*/ 5715 h 314325"/>
                <a:gd name="connsiteX2" fmla="*/ 142875 w 219075"/>
                <a:gd name="connsiteY2" fmla="*/ 0 h 314325"/>
                <a:gd name="connsiteX3" fmla="*/ 9525 w 219075"/>
                <a:gd name="connsiteY3" fmla="*/ 0 h 314325"/>
                <a:gd name="connsiteX4" fmla="*/ 0 w 219075"/>
                <a:gd name="connsiteY4" fmla="*/ 9525 h 314325"/>
                <a:gd name="connsiteX5" fmla="*/ 0 w 219075"/>
                <a:gd name="connsiteY5" fmla="*/ 275273 h 314325"/>
                <a:gd name="connsiteX6" fmla="*/ 115252 w 219075"/>
                <a:gd name="connsiteY6" fmla="*/ 238125 h 314325"/>
                <a:gd name="connsiteX7" fmla="*/ 161925 w 219075"/>
                <a:gd name="connsiteY7" fmla="*/ 314325 h 314325"/>
                <a:gd name="connsiteX8" fmla="*/ 209550 w 219075"/>
                <a:gd name="connsiteY8" fmla="*/ 314325 h 314325"/>
                <a:gd name="connsiteX9" fmla="*/ 219075 w 219075"/>
                <a:gd name="connsiteY9" fmla="*/ 304800 h 314325"/>
                <a:gd name="connsiteX10" fmla="*/ 219075 w 219075"/>
                <a:gd name="connsiteY10" fmla="*/ 142875 h 314325"/>
                <a:gd name="connsiteX11" fmla="*/ 218123 w 219075"/>
                <a:gd name="connsiteY11" fmla="*/ 139065 h 314325"/>
                <a:gd name="connsiteX12" fmla="*/ 28575 w 219075"/>
                <a:gd name="connsiteY12" fmla="*/ 133350 h 314325"/>
                <a:gd name="connsiteX13" fmla="*/ 28575 w 219075"/>
                <a:gd name="connsiteY13" fmla="*/ 28575 h 314325"/>
                <a:gd name="connsiteX14" fmla="*/ 131445 w 219075"/>
                <a:gd name="connsiteY14" fmla="*/ 28575 h 314325"/>
                <a:gd name="connsiteX15" fmla="*/ 183833 w 219075"/>
                <a:gd name="connsiteY15" fmla="*/ 133350 h 314325"/>
                <a:gd name="connsiteX16" fmla="*/ 28575 w 219075"/>
                <a:gd name="connsiteY16" fmla="*/ 13335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075" h="314325">
                  <a:moveTo>
                    <a:pt x="218123" y="139065"/>
                  </a:moveTo>
                  <a:lnTo>
                    <a:pt x="151448" y="5715"/>
                  </a:lnTo>
                  <a:cubicBezTo>
                    <a:pt x="149543" y="1905"/>
                    <a:pt x="146685" y="0"/>
                    <a:pt x="142875" y="0"/>
                  </a:cubicBezTo>
                  <a:lnTo>
                    <a:pt x="9525" y="0"/>
                  </a:lnTo>
                  <a:cubicBezTo>
                    <a:pt x="3810" y="0"/>
                    <a:pt x="0" y="3810"/>
                    <a:pt x="0" y="9525"/>
                  </a:cubicBezTo>
                  <a:lnTo>
                    <a:pt x="0" y="275273"/>
                  </a:lnTo>
                  <a:cubicBezTo>
                    <a:pt x="21907" y="233363"/>
                    <a:pt x="73343" y="216218"/>
                    <a:pt x="115252" y="238125"/>
                  </a:cubicBezTo>
                  <a:cubicBezTo>
                    <a:pt x="143827" y="252413"/>
                    <a:pt x="161925" y="281940"/>
                    <a:pt x="161925" y="314325"/>
                  </a:cubicBezTo>
                  <a:lnTo>
                    <a:pt x="209550" y="314325"/>
                  </a:lnTo>
                  <a:cubicBezTo>
                    <a:pt x="215265" y="314325"/>
                    <a:pt x="219075" y="310515"/>
                    <a:pt x="219075" y="304800"/>
                  </a:cubicBezTo>
                  <a:lnTo>
                    <a:pt x="219075" y="142875"/>
                  </a:lnTo>
                  <a:cubicBezTo>
                    <a:pt x="219075" y="140970"/>
                    <a:pt x="219075" y="140018"/>
                    <a:pt x="218123" y="139065"/>
                  </a:cubicBezTo>
                  <a:close/>
                  <a:moveTo>
                    <a:pt x="28575" y="133350"/>
                  </a:moveTo>
                  <a:lnTo>
                    <a:pt x="28575" y="28575"/>
                  </a:lnTo>
                  <a:lnTo>
                    <a:pt x="131445" y="28575"/>
                  </a:lnTo>
                  <a:lnTo>
                    <a:pt x="183833" y="133350"/>
                  </a:lnTo>
                  <a:lnTo>
                    <a:pt x="28575" y="133350"/>
                  </a:lnTo>
                  <a:close/>
                </a:path>
              </a:pathLst>
            </a:custGeom>
            <a:grpFill/>
            <a:ln w="9525" cap="flat">
              <a:solidFill>
                <a:schemeClr val="bg1"/>
              </a:solidFill>
              <a:prstDash val="solid"/>
              <a:miter/>
            </a:ln>
          </p:spPr>
          <p:txBody>
            <a:bodyPr lIns="36000" tIns="36000" rIns="36000" bIns="36000" rtlCol="0" anchor="ctr"/>
            <a:lstStyle/>
            <a:p>
              <a:endParaRPr lang="de-DE" sz="800" dirty="0">
                <a:latin typeface="+mn-lt"/>
              </a:endParaRPr>
            </a:p>
          </p:txBody>
        </p:sp>
      </p:grpSp>
      <p:sp>
        <p:nvSpPr>
          <p:cNvPr id="332" name="Textfeld 331">
            <a:extLst>
              <a:ext uri="{FF2B5EF4-FFF2-40B4-BE49-F238E27FC236}">
                <a16:creationId xmlns:a16="http://schemas.microsoft.com/office/drawing/2014/main" id="{A3DCF999-D2F3-404C-B4FC-3839D1A943F7}"/>
              </a:ext>
            </a:extLst>
          </p:cNvPr>
          <p:cNvSpPr txBox="1"/>
          <p:nvPr/>
        </p:nvSpPr>
        <p:spPr>
          <a:xfrm>
            <a:off x="7350133" y="4138109"/>
            <a:ext cx="1008000" cy="565146"/>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Routing und</a:t>
            </a:r>
            <a:br>
              <a:rPr lang="de-DE" dirty="0"/>
            </a:br>
            <a:r>
              <a:rPr lang="de-DE" dirty="0"/>
              <a:t>Datenübermittlung via Datencontainer</a:t>
            </a:r>
          </a:p>
          <a:p>
            <a:r>
              <a:rPr lang="de-DE" dirty="0"/>
              <a:t>(bspw. </a:t>
            </a:r>
            <a:r>
              <a:rPr lang="de-DE" dirty="0" err="1"/>
              <a:t>XFall</a:t>
            </a:r>
            <a:r>
              <a:rPr lang="de-DE" dirty="0"/>
              <a:t>)**</a:t>
            </a:r>
          </a:p>
        </p:txBody>
      </p:sp>
      <p:grpSp>
        <p:nvGrpSpPr>
          <p:cNvPr id="333" name="Grafik 10">
            <a:extLst>
              <a:ext uri="{FF2B5EF4-FFF2-40B4-BE49-F238E27FC236}">
                <a16:creationId xmlns:a16="http://schemas.microsoft.com/office/drawing/2014/main" id="{E3765D48-462A-4A21-BE29-BC776B0B8C0F}"/>
              </a:ext>
            </a:extLst>
          </p:cNvPr>
          <p:cNvGrpSpPr>
            <a:grpSpLocks noChangeAspect="1"/>
          </p:cNvGrpSpPr>
          <p:nvPr/>
        </p:nvGrpSpPr>
        <p:grpSpPr>
          <a:xfrm>
            <a:off x="6425449" y="2213386"/>
            <a:ext cx="465030" cy="401387"/>
            <a:chOff x="8036729" y="550242"/>
            <a:chExt cx="516720" cy="552450"/>
          </a:xfrm>
          <a:noFill/>
        </p:grpSpPr>
        <p:sp>
          <p:nvSpPr>
            <p:cNvPr id="334" name="Freihandform: Form 96">
              <a:extLst>
                <a:ext uri="{FF2B5EF4-FFF2-40B4-BE49-F238E27FC236}">
                  <a16:creationId xmlns:a16="http://schemas.microsoft.com/office/drawing/2014/main" id="{B0FD1F3D-7785-45D6-B47C-58DB34A6117A}"/>
                </a:ext>
              </a:extLst>
            </p:cNvPr>
            <p:cNvSpPr/>
            <p:nvPr/>
          </p:nvSpPr>
          <p:spPr>
            <a:xfrm>
              <a:off x="8295089" y="797892"/>
              <a:ext cx="8612" cy="304800"/>
            </a:xfrm>
            <a:custGeom>
              <a:avLst/>
              <a:gdLst>
                <a:gd name="connsiteX0" fmla="*/ 0 w 8612"/>
                <a:gd name="connsiteY0" fmla="*/ 0 h 304800"/>
                <a:gd name="connsiteX1" fmla="*/ 0 w 8612"/>
                <a:gd name="connsiteY1" fmla="*/ 304800 h 304800"/>
              </a:gdLst>
              <a:ahLst/>
              <a:cxnLst>
                <a:cxn ang="0">
                  <a:pos x="connsiteX0" y="connsiteY0"/>
                </a:cxn>
                <a:cxn ang="0">
                  <a:pos x="connsiteX1" y="connsiteY1"/>
                </a:cxn>
              </a:cxnLst>
              <a:rect l="l" t="t" r="r" b="b"/>
              <a:pathLst>
                <a:path w="8612" h="304800">
                  <a:moveTo>
                    <a:pt x="0" y="0"/>
                  </a:moveTo>
                  <a:lnTo>
                    <a:pt x="0" y="304800"/>
                  </a:lnTo>
                </a:path>
              </a:pathLst>
            </a:custGeom>
            <a:ln w="19050" cap="flat">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335" name="Freihandform: Form 97">
              <a:extLst>
                <a:ext uri="{FF2B5EF4-FFF2-40B4-BE49-F238E27FC236}">
                  <a16:creationId xmlns:a16="http://schemas.microsoft.com/office/drawing/2014/main" id="{E545BF21-F762-4224-8F71-36EB9CE0508E}"/>
                </a:ext>
              </a:extLst>
            </p:cNvPr>
            <p:cNvSpPr/>
            <p:nvPr/>
          </p:nvSpPr>
          <p:spPr>
            <a:xfrm>
              <a:off x="8208969" y="1007442"/>
              <a:ext cx="172240" cy="95250"/>
            </a:xfrm>
            <a:custGeom>
              <a:avLst/>
              <a:gdLst>
                <a:gd name="connsiteX0" fmla="*/ 172240 w 172240"/>
                <a:gd name="connsiteY0" fmla="*/ 0 h 95250"/>
                <a:gd name="connsiteX1" fmla="*/ 86120 w 172240"/>
                <a:gd name="connsiteY1" fmla="*/ 95250 h 95250"/>
                <a:gd name="connsiteX2" fmla="*/ 0 w 172240"/>
                <a:gd name="connsiteY2" fmla="*/ 0 h 95250"/>
              </a:gdLst>
              <a:ahLst/>
              <a:cxnLst>
                <a:cxn ang="0">
                  <a:pos x="connsiteX0" y="connsiteY0"/>
                </a:cxn>
                <a:cxn ang="0">
                  <a:pos x="connsiteX1" y="connsiteY1"/>
                </a:cxn>
                <a:cxn ang="0">
                  <a:pos x="connsiteX2" y="connsiteY2"/>
                </a:cxn>
              </a:cxnLst>
              <a:rect l="l" t="t" r="r" b="b"/>
              <a:pathLst>
                <a:path w="172240" h="95250">
                  <a:moveTo>
                    <a:pt x="172240" y="0"/>
                  </a:moveTo>
                  <a:lnTo>
                    <a:pt x="86120" y="95250"/>
                  </a:lnTo>
                  <a:lnTo>
                    <a:pt x="0" y="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sp>
          <p:nvSpPr>
            <p:cNvPr id="336" name="Freihandform: Form 98">
              <a:extLst>
                <a:ext uri="{FF2B5EF4-FFF2-40B4-BE49-F238E27FC236}">
                  <a16:creationId xmlns:a16="http://schemas.microsoft.com/office/drawing/2014/main" id="{4B92F4DE-2387-4F9F-8727-AECD524E9384}"/>
                </a:ext>
              </a:extLst>
            </p:cNvPr>
            <p:cNvSpPr/>
            <p:nvPr/>
          </p:nvSpPr>
          <p:spPr>
            <a:xfrm>
              <a:off x="8036729" y="550242"/>
              <a:ext cx="516720" cy="381000"/>
            </a:xfrm>
            <a:custGeom>
              <a:avLst/>
              <a:gdLst>
                <a:gd name="connsiteX0" fmla="*/ 327256 w 516720"/>
                <a:gd name="connsiteY0" fmla="*/ 381000 h 381000"/>
                <a:gd name="connsiteX1" fmla="*/ 430600 w 516720"/>
                <a:gd name="connsiteY1" fmla="*/ 381000 h 381000"/>
                <a:gd name="connsiteX2" fmla="*/ 516720 w 516720"/>
                <a:gd name="connsiteY2" fmla="*/ 276225 h 381000"/>
                <a:gd name="connsiteX3" fmla="*/ 429739 w 516720"/>
                <a:gd name="connsiteY3" fmla="*/ 171450 h 381000"/>
                <a:gd name="connsiteX4" fmla="*/ 258360 w 516720"/>
                <a:gd name="connsiteY4" fmla="*/ 0 h 381000"/>
                <a:gd name="connsiteX5" fmla="*/ 93871 w 516720"/>
                <a:gd name="connsiteY5" fmla="*/ 135255 h 381000"/>
                <a:gd name="connsiteX6" fmla="*/ 0 w 516720"/>
                <a:gd name="connsiteY6" fmla="*/ 257175 h 381000"/>
                <a:gd name="connsiteX7" fmla="*/ 103344 w 516720"/>
                <a:gd name="connsiteY7" fmla="*/ 381000 h 381000"/>
                <a:gd name="connsiteX8" fmla="*/ 189464 w 516720"/>
                <a:gd name="connsiteY8"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720" h="381000">
                  <a:moveTo>
                    <a:pt x="327256" y="381000"/>
                  </a:moveTo>
                  <a:lnTo>
                    <a:pt x="430600" y="381000"/>
                  </a:lnTo>
                  <a:cubicBezTo>
                    <a:pt x="478827" y="376238"/>
                    <a:pt x="516720" y="330518"/>
                    <a:pt x="516720" y="276225"/>
                  </a:cubicBezTo>
                  <a:cubicBezTo>
                    <a:pt x="516720" y="220980"/>
                    <a:pt x="478827" y="176213"/>
                    <a:pt x="429739" y="171450"/>
                  </a:cubicBezTo>
                  <a:cubicBezTo>
                    <a:pt x="421127" y="75248"/>
                    <a:pt x="347925" y="0"/>
                    <a:pt x="258360" y="0"/>
                  </a:cubicBezTo>
                  <a:cubicBezTo>
                    <a:pt x="180852" y="0"/>
                    <a:pt x="115401" y="57150"/>
                    <a:pt x="93871" y="135255"/>
                  </a:cubicBezTo>
                  <a:cubicBezTo>
                    <a:pt x="40476" y="144780"/>
                    <a:pt x="0" y="195263"/>
                    <a:pt x="0" y="257175"/>
                  </a:cubicBezTo>
                  <a:cubicBezTo>
                    <a:pt x="0" y="321945"/>
                    <a:pt x="45644" y="376238"/>
                    <a:pt x="103344" y="381000"/>
                  </a:cubicBezTo>
                  <a:lnTo>
                    <a:pt x="189464" y="38100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latin typeface="+mn-lt"/>
              </a:endParaRPr>
            </a:p>
          </p:txBody>
        </p:sp>
      </p:grpSp>
      <p:sp>
        <p:nvSpPr>
          <p:cNvPr id="337" name="Textfeld 336">
            <a:extLst>
              <a:ext uri="{FF2B5EF4-FFF2-40B4-BE49-F238E27FC236}">
                <a16:creationId xmlns:a16="http://schemas.microsoft.com/office/drawing/2014/main" id="{251707DE-DC5F-46F1-BAE4-CB915F21A32D}"/>
              </a:ext>
            </a:extLst>
          </p:cNvPr>
          <p:cNvSpPr txBox="1">
            <a:spLocks/>
          </p:cNvSpPr>
          <p:nvPr/>
        </p:nvSpPr>
        <p:spPr>
          <a:xfrm>
            <a:off x="6330217" y="2623062"/>
            <a:ext cx="648000" cy="144000"/>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Cloud-Speicher</a:t>
            </a:r>
          </a:p>
        </p:txBody>
      </p:sp>
      <p:sp>
        <p:nvSpPr>
          <p:cNvPr id="338" name="Textfeld 337">
            <a:extLst>
              <a:ext uri="{FF2B5EF4-FFF2-40B4-BE49-F238E27FC236}">
                <a16:creationId xmlns:a16="http://schemas.microsoft.com/office/drawing/2014/main" id="{3148FA43-120B-46D2-BA5B-E43F941D1434}"/>
              </a:ext>
            </a:extLst>
          </p:cNvPr>
          <p:cNvSpPr txBox="1"/>
          <p:nvPr/>
        </p:nvSpPr>
        <p:spPr>
          <a:xfrm>
            <a:off x="7426576" y="2619997"/>
            <a:ext cx="1234880" cy="422158"/>
          </a:xfrm>
          <a:prstGeom prst="rect">
            <a:avLst/>
          </a:prstGeom>
          <a:noFill/>
        </p:spPr>
        <p:txBody>
          <a:bodyPr wrap="none" lIns="36000" tIns="36000" rIns="36000" bIns="36000" rtlCol="0">
            <a:spAutoFit/>
          </a:bodyPr>
          <a:lstStyle>
            <a:defPPr>
              <a:defRPr lang="en-US"/>
            </a:defPPr>
            <a:lvl1pPr algn="ctr">
              <a:lnSpc>
                <a:spcPct val="150000"/>
              </a:lnSpc>
              <a:defRPr sz="800">
                <a:latin typeface="+mn-lt"/>
                <a:cs typeface="Arial" panose="020B0604020202020204" pitchFamily="34" charset="0"/>
              </a:defRPr>
            </a:lvl1pPr>
          </a:lstStyle>
          <a:p>
            <a:r>
              <a:rPr lang="de-DE" dirty="0"/>
              <a:t>Digitale </a:t>
            </a:r>
            <a:r>
              <a:rPr lang="de-DE" dirty="0" err="1"/>
              <a:t>Bescheidzustellung</a:t>
            </a:r>
            <a:r>
              <a:rPr lang="de-DE" dirty="0"/>
              <a:t> </a:t>
            </a:r>
          </a:p>
          <a:p>
            <a:r>
              <a:rPr lang="de-DE" dirty="0"/>
              <a:t>mit </a:t>
            </a:r>
            <a:r>
              <a:rPr lang="de-DE" dirty="0">
                <a:cs typeface="+mn-cs"/>
              </a:rPr>
              <a:t>Nutzerkonto (§ 9 </a:t>
            </a:r>
            <a:r>
              <a:rPr lang="de-DE" dirty="0"/>
              <a:t>OZG)</a:t>
            </a:r>
          </a:p>
        </p:txBody>
      </p:sp>
      <p:sp>
        <p:nvSpPr>
          <p:cNvPr id="339" name="Textfeld 338">
            <a:extLst>
              <a:ext uri="{FF2B5EF4-FFF2-40B4-BE49-F238E27FC236}">
                <a16:creationId xmlns:a16="http://schemas.microsoft.com/office/drawing/2014/main" id="{7785ADD1-51AA-4E52-AE66-DA9E7C30A9E6}"/>
              </a:ext>
            </a:extLst>
          </p:cNvPr>
          <p:cNvSpPr txBox="1"/>
          <p:nvPr/>
        </p:nvSpPr>
        <p:spPr>
          <a:xfrm>
            <a:off x="7180516" y="2185844"/>
            <a:ext cx="1727002" cy="422992"/>
          </a:xfrm>
          <a:prstGeom prst="rect">
            <a:avLst/>
          </a:prstGeom>
          <a:noFill/>
        </p:spPr>
        <p:txBody>
          <a:bodyPr wrap="none" lIns="36000" tIns="36000" rIns="36000" bIns="36000" rtlCol="0">
            <a:spAutoFit/>
          </a:bodyPr>
          <a:lstStyle/>
          <a:p>
            <a:pPr algn="ctr">
              <a:lnSpc>
                <a:spcPct val="150000"/>
              </a:lnSpc>
            </a:pPr>
            <a:r>
              <a:rPr lang="de-DE" sz="800" dirty="0">
                <a:cs typeface="Arial" panose="020B0604020202020204" pitchFamily="34" charset="0"/>
              </a:rPr>
              <a:t>Digitale </a:t>
            </a:r>
            <a:r>
              <a:rPr lang="de-DE" sz="800" dirty="0" err="1">
                <a:cs typeface="Arial" panose="020B0604020202020204" pitchFamily="34" charset="0"/>
              </a:rPr>
              <a:t>Bescheidzustellung</a:t>
            </a:r>
            <a:r>
              <a:rPr lang="de-DE" sz="800" dirty="0">
                <a:cs typeface="Arial" panose="020B0604020202020204" pitchFamily="34" charset="0"/>
              </a:rPr>
              <a:t> </a:t>
            </a:r>
          </a:p>
          <a:p>
            <a:pPr algn="ctr">
              <a:lnSpc>
                <a:spcPct val="150000"/>
              </a:lnSpc>
            </a:pPr>
            <a:r>
              <a:rPr lang="de-DE" sz="800" dirty="0">
                <a:cs typeface="Arial" panose="020B0604020202020204" pitchFamily="34" charset="0"/>
              </a:rPr>
              <a:t>ohne </a:t>
            </a:r>
            <a:r>
              <a:rPr lang="de-DE" sz="800" dirty="0"/>
              <a:t>Nutzerkonto (§ 41 Abs. </a:t>
            </a:r>
            <a:r>
              <a:rPr lang="de-DE" sz="800" dirty="0">
                <a:cs typeface="Arial" panose="020B0604020202020204" pitchFamily="34" charset="0"/>
              </a:rPr>
              <a:t>2a VwVfG)</a:t>
            </a:r>
          </a:p>
        </p:txBody>
      </p:sp>
      <p:sp>
        <p:nvSpPr>
          <p:cNvPr id="340" name="Textfeld 339">
            <a:extLst>
              <a:ext uri="{FF2B5EF4-FFF2-40B4-BE49-F238E27FC236}">
                <a16:creationId xmlns:a16="http://schemas.microsoft.com/office/drawing/2014/main" id="{25534C80-FF68-4093-93C9-9A91456750FD}"/>
              </a:ext>
            </a:extLst>
          </p:cNvPr>
          <p:cNvSpPr txBox="1"/>
          <p:nvPr/>
        </p:nvSpPr>
        <p:spPr>
          <a:xfrm>
            <a:off x="2613175" y="1943732"/>
            <a:ext cx="6494894"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Bescheidzustellung per Post (falls keine Zustimmung zur elektronischen Bescheidung oder digitale Bescheidung über § 41 Abs. 2a VwVfG nicht erfolgreich)</a:t>
            </a:r>
          </a:p>
        </p:txBody>
      </p:sp>
      <p:sp>
        <p:nvSpPr>
          <p:cNvPr id="341" name="Textfeld 340">
            <a:extLst>
              <a:ext uri="{FF2B5EF4-FFF2-40B4-BE49-F238E27FC236}">
                <a16:creationId xmlns:a16="http://schemas.microsoft.com/office/drawing/2014/main" id="{DCA6CD1C-E641-4F7C-94CD-1024EAD2F57F}"/>
              </a:ext>
            </a:extLst>
          </p:cNvPr>
          <p:cNvSpPr txBox="1">
            <a:spLocks/>
          </p:cNvSpPr>
          <p:nvPr/>
        </p:nvSpPr>
        <p:spPr>
          <a:xfrm>
            <a:off x="3044445"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latin typeface="+mn-lt"/>
              </a:rPr>
              <a:t>Nutzer-</a:t>
            </a:r>
          </a:p>
          <a:p>
            <a:pPr algn="ctr" fontAlgn="base">
              <a:spcBef>
                <a:spcPct val="0"/>
              </a:spcBef>
              <a:spcAft>
                <a:spcPct val="0"/>
              </a:spcAft>
            </a:pPr>
            <a:r>
              <a:rPr lang="de-DE" sz="800" dirty="0" err="1">
                <a:latin typeface="+mn-lt"/>
              </a:rPr>
              <a:t>identifikation</a:t>
            </a:r>
            <a:endParaRPr lang="de-DE" sz="800" dirty="0">
              <a:latin typeface="+mn-lt"/>
            </a:endParaRPr>
          </a:p>
        </p:txBody>
      </p:sp>
      <p:grpSp>
        <p:nvGrpSpPr>
          <p:cNvPr id="342" name="Gruppieren 341">
            <a:extLst>
              <a:ext uri="{FF2B5EF4-FFF2-40B4-BE49-F238E27FC236}">
                <a16:creationId xmlns:a16="http://schemas.microsoft.com/office/drawing/2014/main" id="{3560F711-E81B-4260-AEB5-B6737D288442}"/>
              </a:ext>
            </a:extLst>
          </p:cNvPr>
          <p:cNvGrpSpPr/>
          <p:nvPr/>
        </p:nvGrpSpPr>
        <p:grpSpPr>
          <a:xfrm>
            <a:off x="3224486" y="4794795"/>
            <a:ext cx="509529" cy="409822"/>
            <a:chOff x="2306443" y="3955392"/>
            <a:chExt cx="582407" cy="580244"/>
          </a:xfrm>
        </p:grpSpPr>
        <p:grpSp>
          <p:nvGrpSpPr>
            <p:cNvPr id="343" name="Gruppieren 342">
              <a:extLst>
                <a:ext uri="{FF2B5EF4-FFF2-40B4-BE49-F238E27FC236}">
                  <a16:creationId xmlns:a16="http://schemas.microsoft.com/office/drawing/2014/main" id="{4924D4F0-487A-42F0-AD2F-79122091A5BD}"/>
                </a:ext>
              </a:extLst>
            </p:cNvPr>
            <p:cNvGrpSpPr>
              <a:grpSpLocks noChangeAspect="1"/>
            </p:cNvGrpSpPr>
            <p:nvPr/>
          </p:nvGrpSpPr>
          <p:grpSpPr>
            <a:xfrm>
              <a:off x="2306443" y="3955392"/>
              <a:ext cx="457445" cy="571806"/>
              <a:chOff x="1384220" y="4721915"/>
              <a:chExt cx="457200" cy="571500"/>
            </a:xfrm>
          </p:grpSpPr>
          <p:sp>
            <p:nvSpPr>
              <p:cNvPr id="347" name="Freihandform: Form 538">
                <a:extLst>
                  <a:ext uri="{FF2B5EF4-FFF2-40B4-BE49-F238E27FC236}">
                    <a16:creationId xmlns:a16="http://schemas.microsoft.com/office/drawing/2014/main" id="{1F486ABD-79DD-43E8-BB01-07A7C62FCC59}"/>
                  </a:ext>
                </a:extLst>
              </p:cNvPr>
              <p:cNvSpPr/>
              <p:nvPr/>
            </p:nvSpPr>
            <p:spPr>
              <a:xfrm>
                <a:off x="1384220" y="4721915"/>
                <a:ext cx="457200" cy="571500"/>
              </a:xfrm>
              <a:custGeom>
                <a:avLst/>
                <a:gdLst>
                  <a:gd name="connsiteX0" fmla="*/ 266700 w 457200"/>
                  <a:gd name="connsiteY0" fmla="*/ 571500 h 571500"/>
                  <a:gd name="connsiteX1" fmla="*/ 0 w 457200"/>
                  <a:gd name="connsiteY1" fmla="*/ 571500 h 571500"/>
                  <a:gd name="connsiteX2" fmla="*/ 0 w 457200"/>
                  <a:gd name="connsiteY2" fmla="*/ 0 h 571500"/>
                  <a:gd name="connsiteX3" fmla="*/ 457200 w 457200"/>
                  <a:gd name="connsiteY3" fmla="*/ 0 h 571500"/>
                  <a:gd name="connsiteX4" fmla="*/ 457200 w 4572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71500">
                    <a:moveTo>
                      <a:pt x="266700" y="571500"/>
                    </a:moveTo>
                    <a:lnTo>
                      <a:pt x="0" y="571500"/>
                    </a:lnTo>
                    <a:lnTo>
                      <a:pt x="0" y="0"/>
                    </a:lnTo>
                    <a:lnTo>
                      <a:pt x="457200" y="0"/>
                    </a:lnTo>
                    <a:lnTo>
                      <a:pt x="457200" y="28575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48" name="Freihandform: Form 539">
                <a:extLst>
                  <a:ext uri="{FF2B5EF4-FFF2-40B4-BE49-F238E27FC236}">
                    <a16:creationId xmlns:a16="http://schemas.microsoft.com/office/drawing/2014/main" id="{870C4CBD-00DE-456B-9051-CF401065AF4F}"/>
                  </a:ext>
                </a:extLst>
              </p:cNvPr>
              <p:cNvSpPr/>
              <p:nvPr/>
            </p:nvSpPr>
            <p:spPr>
              <a:xfrm>
                <a:off x="1584245" y="485526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49" name="Freihandform: Form 540">
                <a:extLst>
                  <a:ext uri="{FF2B5EF4-FFF2-40B4-BE49-F238E27FC236}">
                    <a16:creationId xmlns:a16="http://schemas.microsoft.com/office/drawing/2014/main" id="{8268318C-AD14-4F80-8C09-4D00066B833F}"/>
                  </a:ext>
                </a:extLst>
              </p:cNvPr>
              <p:cNvSpPr/>
              <p:nvPr/>
            </p:nvSpPr>
            <p:spPr>
              <a:xfrm>
                <a:off x="1488995" y="5141015"/>
                <a:ext cx="123825" cy="9525"/>
              </a:xfrm>
              <a:custGeom>
                <a:avLst/>
                <a:gdLst>
                  <a:gd name="connsiteX0" fmla="*/ 0 w 123825"/>
                  <a:gd name="connsiteY0" fmla="*/ 0 h 9525"/>
                  <a:gd name="connsiteX1" fmla="*/ 123825 w 123825"/>
                  <a:gd name="connsiteY1" fmla="*/ 0 h 9525"/>
                </a:gdLst>
                <a:ahLst/>
                <a:cxnLst>
                  <a:cxn ang="0">
                    <a:pos x="connsiteX0" y="connsiteY0"/>
                  </a:cxn>
                  <a:cxn ang="0">
                    <a:pos x="connsiteX1" y="connsiteY1"/>
                  </a:cxn>
                </a:cxnLst>
                <a:rect l="l" t="t" r="r" b="b"/>
                <a:pathLst>
                  <a:path w="123825" h="9525">
                    <a:moveTo>
                      <a:pt x="0" y="0"/>
                    </a:moveTo>
                    <a:lnTo>
                      <a:pt x="12382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50" name="Freihandform: Form 541">
                <a:extLst>
                  <a:ext uri="{FF2B5EF4-FFF2-40B4-BE49-F238E27FC236}">
                    <a16:creationId xmlns:a16="http://schemas.microsoft.com/office/drawing/2014/main" id="{5E1E6A81-0C0F-4AFF-9001-4629EFA52C66}"/>
                  </a:ext>
                </a:extLst>
              </p:cNvPr>
              <p:cNvSpPr/>
              <p:nvPr/>
            </p:nvSpPr>
            <p:spPr>
              <a:xfrm>
                <a:off x="1488995" y="48552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51" name="Freihandform: Form 542">
                <a:extLst>
                  <a:ext uri="{FF2B5EF4-FFF2-40B4-BE49-F238E27FC236}">
                    <a16:creationId xmlns:a16="http://schemas.microsoft.com/office/drawing/2014/main" id="{A0F88BB5-C5D1-42F3-BED2-8DFFF3C7FD74}"/>
                  </a:ext>
                </a:extLst>
              </p:cNvPr>
              <p:cNvSpPr/>
              <p:nvPr/>
            </p:nvSpPr>
            <p:spPr>
              <a:xfrm>
                <a:off x="1584245" y="495051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52" name="Freihandform: Form 543">
                <a:extLst>
                  <a:ext uri="{FF2B5EF4-FFF2-40B4-BE49-F238E27FC236}">
                    <a16:creationId xmlns:a16="http://schemas.microsoft.com/office/drawing/2014/main" id="{DDE95113-FC85-44B7-A041-7C7DAD661A76}"/>
                  </a:ext>
                </a:extLst>
              </p:cNvPr>
              <p:cNvSpPr/>
              <p:nvPr/>
            </p:nvSpPr>
            <p:spPr>
              <a:xfrm>
                <a:off x="1488995" y="495051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53" name="Freihandform: Form 544">
                <a:extLst>
                  <a:ext uri="{FF2B5EF4-FFF2-40B4-BE49-F238E27FC236}">
                    <a16:creationId xmlns:a16="http://schemas.microsoft.com/office/drawing/2014/main" id="{C3E698E0-2440-4D47-8733-00914D0D8EF6}"/>
                  </a:ext>
                </a:extLst>
              </p:cNvPr>
              <p:cNvSpPr/>
              <p:nvPr/>
            </p:nvSpPr>
            <p:spPr>
              <a:xfrm>
                <a:off x="1584245" y="5045765"/>
                <a:ext cx="85725" cy="9525"/>
              </a:xfrm>
              <a:custGeom>
                <a:avLst/>
                <a:gdLst>
                  <a:gd name="connsiteX0" fmla="*/ 0 w 85725"/>
                  <a:gd name="connsiteY0" fmla="*/ 0 h 9525"/>
                  <a:gd name="connsiteX1" fmla="*/ 85725 w 85725"/>
                  <a:gd name="connsiteY1" fmla="*/ 0 h 9525"/>
                </a:gdLst>
                <a:ahLst/>
                <a:cxnLst>
                  <a:cxn ang="0">
                    <a:pos x="connsiteX0" y="connsiteY0"/>
                  </a:cxn>
                  <a:cxn ang="0">
                    <a:pos x="connsiteX1" y="connsiteY1"/>
                  </a:cxn>
                </a:cxnLst>
                <a:rect l="l" t="t" r="r" b="b"/>
                <a:pathLst>
                  <a:path w="85725" h="9525">
                    <a:moveTo>
                      <a:pt x="0" y="0"/>
                    </a:moveTo>
                    <a:lnTo>
                      <a:pt x="8572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54" name="Freihandform: Form 545">
                <a:extLst>
                  <a:ext uri="{FF2B5EF4-FFF2-40B4-BE49-F238E27FC236}">
                    <a16:creationId xmlns:a16="http://schemas.microsoft.com/office/drawing/2014/main" id="{641B51CE-7126-4C52-84B2-C9C94F7DD795}"/>
                  </a:ext>
                </a:extLst>
              </p:cNvPr>
              <p:cNvSpPr/>
              <p:nvPr/>
            </p:nvSpPr>
            <p:spPr>
              <a:xfrm>
                <a:off x="1488995" y="50457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grpSp>
        <p:grpSp>
          <p:nvGrpSpPr>
            <p:cNvPr id="344" name="Grafik 43">
              <a:extLst>
                <a:ext uri="{FF2B5EF4-FFF2-40B4-BE49-F238E27FC236}">
                  <a16:creationId xmlns:a16="http://schemas.microsoft.com/office/drawing/2014/main" id="{0C7DAF4B-09A3-4A85-BCA8-F1CE391DF6A3}"/>
                </a:ext>
              </a:extLst>
            </p:cNvPr>
            <p:cNvGrpSpPr>
              <a:grpSpLocks noChangeAspect="1"/>
            </p:cNvGrpSpPr>
            <p:nvPr/>
          </p:nvGrpSpPr>
          <p:grpSpPr>
            <a:xfrm>
              <a:off x="2606957" y="4316339"/>
              <a:ext cx="281893" cy="219297"/>
              <a:chOff x="11059342" y="398073"/>
              <a:chExt cx="419100" cy="362293"/>
            </a:xfrm>
            <a:noFill/>
          </p:grpSpPr>
          <p:sp>
            <p:nvSpPr>
              <p:cNvPr id="345" name="Freihandform: Form 223">
                <a:extLst>
                  <a:ext uri="{FF2B5EF4-FFF2-40B4-BE49-F238E27FC236}">
                    <a16:creationId xmlns:a16="http://schemas.microsoft.com/office/drawing/2014/main" id="{CDC3531C-18A0-4C9D-A82F-1B5D50B00CAE}"/>
                  </a:ext>
                </a:extLst>
              </p:cNvPr>
              <p:cNvSpPr/>
              <p:nvPr/>
            </p:nvSpPr>
            <p:spPr>
              <a:xfrm>
                <a:off x="11059342" y="445861"/>
                <a:ext cx="266700" cy="314505"/>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905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sp>
            <p:nvSpPr>
              <p:cNvPr id="346" name="Freihandform: Form 224">
                <a:extLst>
                  <a:ext uri="{FF2B5EF4-FFF2-40B4-BE49-F238E27FC236}">
                    <a16:creationId xmlns:a16="http://schemas.microsoft.com/office/drawing/2014/main" id="{F7050A8A-3C4E-41A7-A600-B3B601B75A89}"/>
                  </a:ext>
                </a:extLst>
              </p:cNvPr>
              <p:cNvSpPr/>
              <p:nvPr/>
            </p:nvSpPr>
            <p:spPr>
              <a:xfrm>
                <a:off x="11282226" y="398073"/>
                <a:ext cx="196215" cy="362293"/>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905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grpSp>
      </p:grpSp>
      <p:cxnSp>
        <p:nvCxnSpPr>
          <p:cNvPr id="355" name="Gerade Verbindung mit Pfeil 354">
            <a:extLst>
              <a:ext uri="{FF2B5EF4-FFF2-40B4-BE49-F238E27FC236}">
                <a16:creationId xmlns:a16="http://schemas.microsoft.com/office/drawing/2014/main" id="{7B108AA7-CF10-422B-900A-8F8AD1C0D66B}"/>
              </a:ext>
            </a:extLst>
          </p:cNvPr>
          <p:cNvCxnSpPr/>
          <p:nvPr/>
        </p:nvCxnSpPr>
        <p:spPr>
          <a:xfrm>
            <a:off x="2010069" y="5119198"/>
            <a:ext cx="900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Gerade Verbindung mit Pfeil 355">
            <a:extLst>
              <a:ext uri="{FF2B5EF4-FFF2-40B4-BE49-F238E27FC236}">
                <a16:creationId xmlns:a16="http://schemas.microsoft.com/office/drawing/2014/main" id="{B2324294-942D-4C26-A53C-FF6E7C932AA7}"/>
              </a:ext>
            </a:extLst>
          </p:cNvPr>
          <p:cNvCxnSpPr/>
          <p:nvPr/>
        </p:nvCxnSpPr>
        <p:spPr>
          <a:xfrm>
            <a:off x="5978417" y="5119198"/>
            <a:ext cx="360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Gewinkelter Verbinder 70">
            <a:extLst>
              <a:ext uri="{FF2B5EF4-FFF2-40B4-BE49-F238E27FC236}">
                <a16:creationId xmlns:a16="http://schemas.microsoft.com/office/drawing/2014/main" id="{3C56AF19-DBD9-4DBF-AF69-7A8CD0CC1CF6}"/>
              </a:ext>
            </a:extLst>
          </p:cNvPr>
          <p:cNvCxnSpPr>
            <a:cxnSpLocks/>
          </p:cNvCxnSpPr>
          <p:nvPr/>
        </p:nvCxnSpPr>
        <p:spPr>
          <a:xfrm rot="5400000" flipH="1" flipV="1">
            <a:off x="2452702" y="3635585"/>
            <a:ext cx="1789524" cy="212519"/>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58" name="Grafik 34">
            <a:extLst>
              <a:ext uri="{FF2B5EF4-FFF2-40B4-BE49-F238E27FC236}">
                <a16:creationId xmlns:a16="http://schemas.microsoft.com/office/drawing/2014/main" id="{0AA03E89-9DBA-4015-BB14-0EE8CB96EF18}"/>
              </a:ext>
            </a:extLst>
          </p:cNvPr>
          <p:cNvGrpSpPr>
            <a:grpSpLocks noChangeAspect="1"/>
          </p:cNvGrpSpPr>
          <p:nvPr/>
        </p:nvGrpSpPr>
        <p:grpSpPr>
          <a:xfrm>
            <a:off x="8822134" y="4952245"/>
            <a:ext cx="487004" cy="364656"/>
            <a:chOff x="9429212" y="2483439"/>
            <a:chExt cx="564832" cy="523875"/>
          </a:xfrm>
          <a:noFill/>
        </p:grpSpPr>
        <p:sp>
          <p:nvSpPr>
            <p:cNvPr id="359" name="Freihandform: Form 204">
              <a:extLst>
                <a:ext uri="{FF2B5EF4-FFF2-40B4-BE49-F238E27FC236}">
                  <a16:creationId xmlns:a16="http://schemas.microsoft.com/office/drawing/2014/main" id="{5A75CC14-20D9-4CA7-AF8B-361278D778B0}"/>
                </a:ext>
              </a:extLst>
            </p:cNvPr>
            <p:cNvSpPr/>
            <p:nvPr/>
          </p:nvSpPr>
          <p:spPr>
            <a:xfrm>
              <a:off x="9486362" y="2483439"/>
              <a:ext cx="457200" cy="304800"/>
            </a:xfrm>
            <a:custGeom>
              <a:avLst/>
              <a:gdLst>
                <a:gd name="connsiteX0" fmla="*/ 0 w 457200"/>
                <a:gd name="connsiteY0" fmla="*/ 304800 h 304800"/>
                <a:gd name="connsiteX1" fmla="*/ 0 w 457200"/>
                <a:gd name="connsiteY1" fmla="*/ 38100 h 304800"/>
                <a:gd name="connsiteX2" fmla="*/ 38100 w 457200"/>
                <a:gd name="connsiteY2" fmla="*/ 0 h 304800"/>
                <a:gd name="connsiteX3" fmla="*/ 419100 w 457200"/>
                <a:gd name="connsiteY3" fmla="*/ 0 h 304800"/>
                <a:gd name="connsiteX4" fmla="*/ 457200 w 457200"/>
                <a:gd name="connsiteY4" fmla="*/ 38100 h 304800"/>
                <a:gd name="connsiteX5" fmla="*/ 457200 w 457200"/>
                <a:gd name="connsiteY5" fmla="*/ 2190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304800">
                  <a:moveTo>
                    <a:pt x="0" y="304800"/>
                  </a:moveTo>
                  <a:lnTo>
                    <a:pt x="0" y="38100"/>
                  </a:lnTo>
                  <a:cubicBezTo>
                    <a:pt x="0" y="17145"/>
                    <a:pt x="17145" y="0"/>
                    <a:pt x="38100" y="0"/>
                  </a:cubicBezTo>
                  <a:lnTo>
                    <a:pt x="419100" y="0"/>
                  </a:lnTo>
                  <a:cubicBezTo>
                    <a:pt x="440055" y="0"/>
                    <a:pt x="457200" y="17145"/>
                    <a:pt x="457200" y="38100"/>
                  </a:cubicBezTo>
                  <a:lnTo>
                    <a:pt x="457200" y="219075"/>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60" name="Freihandform: Form 205">
              <a:extLst>
                <a:ext uri="{FF2B5EF4-FFF2-40B4-BE49-F238E27FC236}">
                  <a16:creationId xmlns:a16="http://schemas.microsoft.com/office/drawing/2014/main" id="{461F4F3B-3DD3-46A1-9975-5747D1361449}"/>
                </a:ext>
              </a:extLst>
            </p:cNvPr>
            <p:cNvSpPr/>
            <p:nvPr/>
          </p:nvSpPr>
          <p:spPr>
            <a:xfrm>
              <a:off x="9695912" y="2540589"/>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61" name="Freihandform: Form 206">
              <a:extLst>
                <a:ext uri="{FF2B5EF4-FFF2-40B4-BE49-F238E27FC236}">
                  <a16:creationId xmlns:a16="http://schemas.microsoft.com/office/drawing/2014/main" id="{DF70A71F-5A3C-4F8D-BB11-AE9CD1CB0FDF}"/>
                </a:ext>
              </a:extLst>
            </p:cNvPr>
            <p:cNvSpPr/>
            <p:nvPr/>
          </p:nvSpPr>
          <p:spPr>
            <a:xfrm>
              <a:off x="9429212" y="2845389"/>
              <a:ext cx="266700" cy="76200"/>
            </a:xfrm>
            <a:custGeom>
              <a:avLst/>
              <a:gdLst>
                <a:gd name="connsiteX0" fmla="*/ 266700 w 266700"/>
                <a:gd name="connsiteY0" fmla="*/ 0 h 76200"/>
                <a:gd name="connsiteX1" fmla="*/ 0 w 266700"/>
                <a:gd name="connsiteY1" fmla="*/ 0 h 76200"/>
                <a:gd name="connsiteX2" fmla="*/ 76200 w 266700"/>
                <a:gd name="connsiteY2" fmla="*/ 76200 h 76200"/>
                <a:gd name="connsiteX3" fmla="*/ 266700 w 26670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266700" h="76200">
                  <a:moveTo>
                    <a:pt x="266700" y="0"/>
                  </a:moveTo>
                  <a:lnTo>
                    <a:pt x="0" y="0"/>
                  </a:lnTo>
                  <a:cubicBezTo>
                    <a:pt x="0" y="41910"/>
                    <a:pt x="34290" y="76200"/>
                    <a:pt x="76200" y="76200"/>
                  </a:cubicBezTo>
                  <a:lnTo>
                    <a:pt x="266700" y="7620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62" name="Freihandform: Form 207">
              <a:extLst>
                <a:ext uri="{FF2B5EF4-FFF2-40B4-BE49-F238E27FC236}">
                  <a16:creationId xmlns:a16="http://schemas.microsoft.com/office/drawing/2014/main" id="{67FE174E-EF1B-41F8-80E4-2602E8A30543}"/>
                </a:ext>
              </a:extLst>
            </p:cNvPr>
            <p:cNvSpPr/>
            <p:nvPr/>
          </p:nvSpPr>
          <p:spPr>
            <a:xfrm>
              <a:off x="9848312" y="2854914"/>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63" name="Freihandform: Form 208">
              <a:extLst>
                <a:ext uri="{FF2B5EF4-FFF2-40B4-BE49-F238E27FC236}">
                  <a16:creationId xmlns:a16="http://schemas.microsoft.com/office/drawing/2014/main" id="{19764318-DF6B-4595-AC7A-104C8FF02F23}"/>
                </a:ext>
              </a:extLst>
            </p:cNvPr>
            <p:cNvSpPr/>
            <p:nvPr/>
          </p:nvSpPr>
          <p:spPr>
            <a:xfrm>
              <a:off x="9759729" y="2759664"/>
              <a:ext cx="234314" cy="247650"/>
            </a:xfrm>
            <a:custGeom>
              <a:avLst/>
              <a:gdLst>
                <a:gd name="connsiteX0" fmla="*/ 202883 w 234314"/>
                <a:gd name="connsiteY0" fmla="*/ 123825 h 247650"/>
                <a:gd name="connsiteX1" fmla="*/ 201930 w 234314"/>
                <a:gd name="connsiteY1" fmla="*/ 111443 h 247650"/>
                <a:gd name="connsiteX2" fmla="*/ 234315 w 234314"/>
                <a:gd name="connsiteY2" fmla="*/ 78105 h 247650"/>
                <a:gd name="connsiteX3" fmla="*/ 215265 w 234314"/>
                <a:gd name="connsiteY3" fmla="*/ 44768 h 247650"/>
                <a:gd name="connsiteX4" fmla="*/ 170497 w 234314"/>
                <a:gd name="connsiteY4" fmla="*/ 56198 h 247650"/>
                <a:gd name="connsiteX5" fmla="*/ 149543 w 234314"/>
                <a:gd name="connsiteY5" fmla="*/ 43815 h 247650"/>
                <a:gd name="connsiteX6" fmla="*/ 136208 w 234314"/>
                <a:gd name="connsiteY6" fmla="*/ 0 h 247650"/>
                <a:gd name="connsiteX7" fmla="*/ 98107 w 234314"/>
                <a:gd name="connsiteY7" fmla="*/ 0 h 247650"/>
                <a:gd name="connsiteX8" fmla="*/ 85725 w 234314"/>
                <a:gd name="connsiteY8" fmla="*/ 43815 h 247650"/>
                <a:gd name="connsiteX9" fmla="*/ 64770 w 234314"/>
                <a:gd name="connsiteY9" fmla="*/ 56198 h 247650"/>
                <a:gd name="connsiteX10" fmla="*/ 20002 w 234314"/>
                <a:gd name="connsiteY10" fmla="*/ 44768 h 247650"/>
                <a:gd name="connsiteX11" fmla="*/ 952 w 234314"/>
                <a:gd name="connsiteY11" fmla="*/ 78105 h 247650"/>
                <a:gd name="connsiteX12" fmla="*/ 33338 w 234314"/>
                <a:gd name="connsiteY12" fmla="*/ 111443 h 247650"/>
                <a:gd name="connsiteX13" fmla="*/ 31432 w 234314"/>
                <a:gd name="connsiteY13" fmla="*/ 123825 h 247650"/>
                <a:gd name="connsiteX14" fmla="*/ 32385 w 234314"/>
                <a:gd name="connsiteY14" fmla="*/ 136208 h 247650"/>
                <a:gd name="connsiteX15" fmla="*/ 0 w 234314"/>
                <a:gd name="connsiteY15" fmla="*/ 169545 h 247650"/>
                <a:gd name="connsiteX16" fmla="*/ 19050 w 234314"/>
                <a:gd name="connsiteY16" fmla="*/ 202883 h 247650"/>
                <a:gd name="connsiteX17" fmla="*/ 63818 w 234314"/>
                <a:gd name="connsiteY17" fmla="*/ 191452 h 247650"/>
                <a:gd name="connsiteX18" fmla="*/ 84772 w 234314"/>
                <a:gd name="connsiteY18" fmla="*/ 203835 h 247650"/>
                <a:gd name="connsiteX19" fmla="*/ 98107 w 234314"/>
                <a:gd name="connsiteY19" fmla="*/ 247650 h 247650"/>
                <a:gd name="connsiteX20" fmla="*/ 136208 w 234314"/>
                <a:gd name="connsiteY20" fmla="*/ 247650 h 247650"/>
                <a:gd name="connsiteX21" fmla="*/ 148590 w 234314"/>
                <a:gd name="connsiteY21" fmla="*/ 203835 h 247650"/>
                <a:gd name="connsiteX22" fmla="*/ 169545 w 234314"/>
                <a:gd name="connsiteY22" fmla="*/ 191452 h 247650"/>
                <a:gd name="connsiteX23" fmla="*/ 214313 w 234314"/>
                <a:gd name="connsiteY23" fmla="*/ 202883 h 247650"/>
                <a:gd name="connsiteX24" fmla="*/ 233363 w 234314"/>
                <a:gd name="connsiteY24" fmla="*/ 169545 h 247650"/>
                <a:gd name="connsiteX25" fmla="*/ 200977 w 234314"/>
                <a:gd name="connsiteY25" fmla="*/ 136208 h 247650"/>
                <a:gd name="connsiteX26" fmla="*/ 202883 w 234314"/>
                <a:gd name="connsiteY26" fmla="*/ 12382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4314" h="247650">
                  <a:moveTo>
                    <a:pt x="202883" y="123825"/>
                  </a:moveTo>
                  <a:cubicBezTo>
                    <a:pt x="202883" y="120015"/>
                    <a:pt x="202883" y="115252"/>
                    <a:pt x="201930" y="111443"/>
                  </a:cubicBezTo>
                  <a:lnTo>
                    <a:pt x="234315" y="78105"/>
                  </a:lnTo>
                  <a:lnTo>
                    <a:pt x="215265" y="44768"/>
                  </a:lnTo>
                  <a:lnTo>
                    <a:pt x="170497" y="56198"/>
                  </a:lnTo>
                  <a:cubicBezTo>
                    <a:pt x="163830" y="51435"/>
                    <a:pt x="157163" y="46673"/>
                    <a:pt x="149543" y="43815"/>
                  </a:cubicBezTo>
                  <a:lnTo>
                    <a:pt x="136208" y="0"/>
                  </a:lnTo>
                  <a:lnTo>
                    <a:pt x="98107" y="0"/>
                  </a:lnTo>
                  <a:lnTo>
                    <a:pt x="85725" y="43815"/>
                  </a:lnTo>
                  <a:cubicBezTo>
                    <a:pt x="78105" y="46673"/>
                    <a:pt x="70485" y="51435"/>
                    <a:pt x="64770" y="56198"/>
                  </a:cubicBezTo>
                  <a:lnTo>
                    <a:pt x="20002" y="44768"/>
                  </a:lnTo>
                  <a:lnTo>
                    <a:pt x="952" y="78105"/>
                  </a:lnTo>
                  <a:lnTo>
                    <a:pt x="33338" y="111443"/>
                  </a:lnTo>
                  <a:cubicBezTo>
                    <a:pt x="31432" y="115252"/>
                    <a:pt x="31432" y="120015"/>
                    <a:pt x="31432" y="123825"/>
                  </a:cubicBezTo>
                  <a:cubicBezTo>
                    <a:pt x="31432" y="127635"/>
                    <a:pt x="31432" y="132398"/>
                    <a:pt x="32385" y="136208"/>
                  </a:cubicBezTo>
                  <a:lnTo>
                    <a:pt x="0" y="169545"/>
                  </a:lnTo>
                  <a:lnTo>
                    <a:pt x="19050" y="202883"/>
                  </a:lnTo>
                  <a:lnTo>
                    <a:pt x="63818" y="191452"/>
                  </a:lnTo>
                  <a:cubicBezTo>
                    <a:pt x="70485" y="196215"/>
                    <a:pt x="77152" y="200977"/>
                    <a:pt x="84772" y="203835"/>
                  </a:cubicBezTo>
                  <a:lnTo>
                    <a:pt x="98107" y="247650"/>
                  </a:lnTo>
                  <a:lnTo>
                    <a:pt x="136208" y="247650"/>
                  </a:lnTo>
                  <a:lnTo>
                    <a:pt x="148590" y="203835"/>
                  </a:lnTo>
                  <a:cubicBezTo>
                    <a:pt x="156210" y="200977"/>
                    <a:pt x="163830" y="196215"/>
                    <a:pt x="169545" y="191452"/>
                  </a:cubicBezTo>
                  <a:lnTo>
                    <a:pt x="214313" y="202883"/>
                  </a:lnTo>
                  <a:lnTo>
                    <a:pt x="233363" y="169545"/>
                  </a:lnTo>
                  <a:lnTo>
                    <a:pt x="200977" y="136208"/>
                  </a:lnTo>
                  <a:cubicBezTo>
                    <a:pt x="202883" y="132398"/>
                    <a:pt x="202883" y="127635"/>
                    <a:pt x="202883" y="123825"/>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grpSp>
      <p:cxnSp>
        <p:nvCxnSpPr>
          <p:cNvPr id="364" name="Gerade Verbindung mit Pfeil 158">
            <a:extLst>
              <a:ext uri="{FF2B5EF4-FFF2-40B4-BE49-F238E27FC236}">
                <a16:creationId xmlns:a16="http://schemas.microsoft.com/office/drawing/2014/main" id="{B09D4445-6495-4805-8877-32FB294F2EAC}"/>
              </a:ext>
            </a:extLst>
          </p:cNvPr>
          <p:cNvCxnSpPr>
            <a:stCxn id="416" idx="2"/>
          </p:cNvCxnSpPr>
          <p:nvPr/>
        </p:nvCxnSpPr>
        <p:spPr>
          <a:xfrm rot="5400000">
            <a:off x="8890512" y="5189537"/>
            <a:ext cx="199652" cy="1009013"/>
          </a:xfrm>
          <a:prstGeom prst="bentConnector2">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365" name="Grafik 22">
            <a:extLst>
              <a:ext uri="{FF2B5EF4-FFF2-40B4-BE49-F238E27FC236}">
                <a16:creationId xmlns:a16="http://schemas.microsoft.com/office/drawing/2014/main" id="{52298DEA-FF27-47AA-A5ED-E006D8171337}"/>
              </a:ext>
            </a:extLst>
          </p:cNvPr>
          <p:cNvGrpSpPr>
            <a:grpSpLocks noChangeAspect="1"/>
          </p:cNvGrpSpPr>
          <p:nvPr/>
        </p:nvGrpSpPr>
        <p:grpSpPr>
          <a:xfrm rot="5400000">
            <a:off x="8715368" y="5742294"/>
            <a:ext cx="202850" cy="395393"/>
            <a:chOff x="4545058" y="2924175"/>
            <a:chExt cx="403556" cy="571500"/>
          </a:xfrm>
          <a:noFill/>
        </p:grpSpPr>
        <p:sp>
          <p:nvSpPr>
            <p:cNvPr id="366" name="Freihandform: Form 116">
              <a:extLst>
                <a:ext uri="{FF2B5EF4-FFF2-40B4-BE49-F238E27FC236}">
                  <a16:creationId xmlns:a16="http://schemas.microsoft.com/office/drawing/2014/main" id="{097D0D26-C73B-4C54-837C-1935A62BB219}"/>
                </a:ext>
              </a:extLst>
            </p:cNvPr>
            <p:cNvSpPr/>
            <p:nvPr/>
          </p:nvSpPr>
          <p:spPr>
            <a:xfrm>
              <a:off x="4726033" y="3438525"/>
              <a:ext cx="209550" cy="57150"/>
            </a:xfrm>
            <a:custGeom>
              <a:avLst/>
              <a:gdLst>
                <a:gd name="connsiteX0" fmla="*/ 0 w 209550"/>
                <a:gd name="connsiteY0" fmla="*/ 0 h 57150"/>
                <a:gd name="connsiteX1" fmla="*/ 209550 w 209550"/>
                <a:gd name="connsiteY1" fmla="*/ 0 h 57150"/>
                <a:gd name="connsiteX2" fmla="*/ 209550 w 209550"/>
                <a:gd name="connsiteY2" fmla="*/ 57150 h 57150"/>
                <a:gd name="connsiteX3" fmla="*/ 0 w 20955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209550" h="57150">
                  <a:moveTo>
                    <a:pt x="0" y="0"/>
                  </a:moveTo>
                  <a:lnTo>
                    <a:pt x="209550" y="0"/>
                  </a:lnTo>
                  <a:lnTo>
                    <a:pt x="209550" y="57150"/>
                  </a:lnTo>
                  <a:lnTo>
                    <a:pt x="0" y="57150"/>
                  </a:lnTo>
                  <a:close/>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sp>
          <p:nvSpPr>
            <p:cNvPr id="367" name="Freihandform: Form 117">
              <a:extLst>
                <a:ext uri="{FF2B5EF4-FFF2-40B4-BE49-F238E27FC236}">
                  <a16:creationId xmlns:a16="http://schemas.microsoft.com/office/drawing/2014/main" id="{75E9AA7C-B10A-4776-A845-D31BEF3C6592}"/>
                </a:ext>
              </a:extLst>
            </p:cNvPr>
            <p:cNvSpPr/>
            <p:nvPr/>
          </p:nvSpPr>
          <p:spPr>
            <a:xfrm>
              <a:off x="4830808" y="3019425"/>
              <a:ext cx="117806" cy="419100"/>
            </a:xfrm>
            <a:custGeom>
              <a:avLst/>
              <a:gdLst>
                <a:gd name="connsiteX0" fmla="*/ 76200 w 117806"/>
                <a:gd name="connsiteY0" fmla="*/ 419100 h 419100"/>
                <a:gd name="connsiteX1" fmla="*/ 113348 w 117806"/>
                <a:gd name="connsiteY1" fmla="*/ 292418 h 419100"/>
                <a:gd name="connsiteX2" fmla="*/ 111443 w 117806"/>
                <a:gd name="connsiteY2" fmla="*/ 222885 h 419100"/>
                <a:gd name="connsiteX3" fmla="*/ 50482 w 117806"/>
                <a:gd name="connsiteY3" fmla="*/ 46672 h 419100"/>
                <a:gd name="connsiteX4" fmla="*/ 0 w 117806"/>
                <a:gd name="connsiteY4" fmla="*/ 0 h 419100"/>
                <a:gd name="connsiteX5" fmla="*/ 0 w 117806"/>
                <a:gd name="connsiteY5"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806" h="419100">
                  <a:moveTo>
                    <a:pt x="76200" y="419100"/>
                  </a:moveTo>
                  <a:lnTo>
                    <a:pt x="113348" y="292418"/>
                  </a:lnTo>
                  <a:cubicBezTo>
                    <a:pt x="120015" y="269558"/>
                    <a:pt x="119063" y="244793"/>
                    <a:pt x="111443" y="222885"/>
                  </a:cubicBezTo>
                  <a:lnTo>
                    <a:pt x="50482" y="46672"/>
                  </a:lnTo>
                  <a:cubicBezTo>
                    <a:pt x="42863" y="23813"/>
                    <a:pt x="22860" y="5715"/>
                    <a:pt x="0" y="0"/>
                  </a:cubicBezTo>
                  <a:lnTo>
                    <a:pt x="0" y="0"/>
                  </a:ln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sp>
          <p:nvSpPr>
            <p:cNvPr id="368" name="Freihandform: Form 118">
              <a:extLst>
                <a:ext uri="{FF2B5EF4-FFF2-40B4-BE49-F238E27FC236}">
                  <a16:creationId xmlns:a16="http://schemas.microsoft.com/office/drawing/2014/main" id="{B0C5507C-DE9C-4C30-B3C3-D6A5711918C0}"/>
                </a:ext>
              </a:extLst>
            </p:cNvPr>
            <p:cNvSpPr/>
            <p:nvPr/>
          </p:nvSpPr>
          <p:spPr>
            <a:xfrm>
              <a:off x="4716508" y="3181350"/>
              <a:ext cx="76200" cy="257175"/>
            </a:xfrm>
            <a:custGeom>
              <a:avLst/>
              <a:gdLst>
                <a:gd name="connsiteX0" fmla="*/ 76200 w 76200"/>
                <a:gd name="connsiteY0" fmla="*/ 133350 h 257175"/>
                <a:gd name="connsiteX1" fmla="*/ 76200 w 76200"/>
                <a:gd name="connsiteY1" fmla="*/ 38100 h 257175"/>
                <a:gd name="connsiteX2" fmla="*/ 38100 w 76200"/>
                <a:gd name="connsiteY2" fmla="*/ 0 h 257175"/>
                <a:gd name="connsiteX3" fmla="*/ 38100 w 76200"/>
                <a:gd name="connsiteY3" fmla="*/ 0 h 257175"/>
                <a:gd name="connsiteX4" fmla="*/ 0 w 76200"/>
                <a:gd name="connsiteY4" fmla="*/ 38100 h 257175"/>
                <a:gd name="connsiteX5" fmla="*/ 0 w 76200"/>
                <a:gd name="connsiteY5" fmla="*/ 161925 h 257175"/>
                <a:gd name="connsiteX6" fmla="*/ 57150 w 76200"/>
                <a:gd name="connsiteY6"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57175">
                  <a:moveTo>
                    <a:pt x="76200" y="133350"/>
                  </a:moveTo>
                  <a:lnTo>
                    <a:pt x="76200" y="38100"/>
                  </a:lnTo>
                  <a:cubicBezTo>
                    <a:pt x="76200" y="17145"/>
                    <a:pt x="59055" y="0"/>
                    <a:pt x="38100" y="0"/>
                  </a:cubicBezTo>
                  <a:lnTo>
                    <a:pt x="38100" y="0"/>
                  </a:lnTo>
                  <a:cubicBezTo>
                    <a:pt x="17145" y="0"/>
                    <a:pt x="0" y="17145"/>
                    <a:pt x="0" y="38100"/>
                  </a:cubicBezTo>
                  <a:lnTo>
                    <a:pt x="0" y="161925"/>
                  </a:lnTo>
                  <a:cubicBezTo>
                    <a:pt x="0" y="219075"/>
                    <a:pt x="57150" y="257175"/>
                    <a:pt x="57150" y="257175"/>
                  </a:cubicBez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sp>
          <p:nvSpPr>
            <p:cNvPr id="369" name="Freihandform: Form 119">
              <a:extLst>
                <a:ext uri="{FF2B5EF4-FFF2-40B4-BE49-F238E27FC236}">
                  <a16:creationId xmlns:a16="http://schemas.microsoft.com/office/drawing/2014/main" id="{2963C74D-6229-4C25-A9AF-B0B0CD038446}"/>
                </a:ext>
              </a:extLst>
            </p:cNvPr>
            <p:cNvSpPr/>
            <p:nvPr/>
          </p:nvSpPr>
          <p:spPr>
            <a:xfrm>
              <a:off x="4545058" y="2924175"/>
              <a:ext cx="285750" cy="381000"/>
            </a:xfrm>
            <a:custGeom>
              <a:avLst/>
              <a:gdLst>
                <a:gd name="connsiteX0" fmla="*/ 285750 w 285750"/>
                <a:gd name="connsiteY0" fmla="*/ 247650 h 381000"/>
                <a:gd name="connsiteX1" fmla="*/ 285750 w 285750"/>
                <a:gd name="connsiteY1" fmla="*/ 0 h 381000"/>
                <a:gd name="connsiteX2" fmla="*/ 0 w 285750"/>
                <a:gd name="connsiteY2" fmla="*/ 0 h 381000"/>
                <a:gd name="connsiteX3" fmla="*/ 0 w 285750"/>
                <a:gd name="connsiteY3" fmla="*/ 381000 h 381000"/>
                <a:gd name="connsiteX4" fmla="*/ 114300 w 285750"/>
                <a:gd name="connsiteY4" fmla="*/ 38100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381000">
                  <a:moveTo>
                    <a:pt x="285750" y="247650"/>
                  </a:moveTo>
                  <a:lnTo>
                    <a:pt x="285750" y="0"/>
                  </a:lnTo>
                  <a:lnTo>
                    <a:pt x="0" y="0"/>
                  </a:lnTo>
                  <a:lnTo>
                    <a:pt x="0" y="381000"/>
                  </a:lnTo>
                  <a:lnTo>
                    <a:pt x="114300" y="381000"/>
                  </a:lnTo>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latin typeface="+mn-lt"/>
                <a:ea typeface="+mn-ea"/>
                <a:cs typeface="+mn-cs"/>
              </a:endParaRPr>
            </a:p>
          </p:txBody>
        </p:sp>
      </p:grpSp>
      <p:sp>
        <p:nvSpPr>
          <p:cNvPr id="370" name="Textfeld 369">
            <a:extLst>
              <a:ext uri="{FF2B5EF4-FFF2-40B4-BE49-F238E27FC236}">
                <a16:creationId xmlns:a16="http://schemas.microsoft.com/office/drawing/2014/main" id="{257A5AD0-0B07-49E6-8FA9-5F9A9E7A5843}"/>
              </a:ext>
            </a:extLst>
          </p:cNvPr>
          <p:cNvSpPr txBox="1"/>
          <p:nvPr/>
        </p:nvSpPr>
        <p:spPr>
          <a:xfrm>
            <a:off x="9022727" y="5836266"/>
            <a:ext cx="669020"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err="1"/>
              <a:t>ePayment</a:t>
            </a:r>
            <a:endParaRPr lang="de-DE" dirty="0"/>
          </a:p>
          <a:p>
            <a:r>
              <a:rPr lang="de-DE" dirty="0"/>
              <a:t>(nachgelagert)</a:t>
            </a:r>
          </a:p>
        </p:txBody>
      </p:sp>
      <p:grpSp>
        <p:nvGrpSpPr>
          <p:cNvPr id="371" name="Grafik 42">
            <a:extLst>
              <a:ext uri="{FF2B5EF4-FFF2-40B4-BE49-F238E27FC236}">
                <a16:creationId xmlns:a16="http://schemas.microsoft.com/office/drawing/2014/main" id="{60F1FB0D-204A-40C0-82CB-63434B451EC8}"/>
              </a:ext>
            </a:extLst>
          </p:cNvPr>
          <p:cNvGrpSpPr>
            <a:grpSpLocks noChangeAspect="1"/>
          </p:cNvGrpSpPr>
          <p:nvPr/>
        </p:nvGrpSpPr>
        <p:grpSpPr>
          <a:xfrm>
            <a:off x="11014588" y="4740588"/>
            <a:ext cx="387786" cy="428198"/>
            <a:chOff x="10387519" y="2890680"/>
            <a:chExt cx="476250" cy="571500"/>
          </a:xfrm>
          <a:noFill/>
        </p:grpSpPr>
        <p:sp>
          <p:nvSpPr>
            <p:cNvPr id="372" name="Freihandform: Form 79">
              <a:extLst>
                <a:ext uri="{FF2B5EF4-FFF2-40B4-BE49-F238E27FC236}">
                  <a16:creationId xmlns:a16="http://schemas.microsoft.com/office/drawing/2014/main" id="{A69C95E3-7E06-42A2-9FC6-5B5D90D3DB83}"/>
                </a:ext>
              </a:extLst>
            </p:cNvPr>
            <p:cNvSpPr/>
            <p:nvPr/>
          </p:nvSpPr>
          <p:spPr>
            <a:xfrm>
              <a:off x="10635169" y="2890680"/>
              <a:ext cx="152400" cy="200025"/>
            </a:xfrm>
            <a:custGeom>
              <a:avLst/>
              <a:gdLst>
                <a:gd name="connsiteX0" fmla="*/ 152400 w 152400"/>
                <a:gd name="connsiteY0" fmla="*/ 0 h 200025"/>
                <a:gd name="connsiteX1" fmla="*/ 152400 w 152400"/>
                <a:gd name="connsiteY1" fmla="*/ 200025 h 200025"/>
                <a:gd name="connsiteX2" fmla="*/ 76200 w 152400"/>
                <a:gd name="connsiteY2" fmla="*/ 152400 h 200025"/>
                <a:gd name="connsiteX3" fmla="*/ 0 w 152400"/>
                <a:gd name="connsiteY3" fmla="*/ 200025 h 200025"/>
                <a:gd name="connsiteX4" fmla="*/ 0 w 152400"/>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200025">
                  <a:moveTo>
                    <a:pt x="152400" y="0"/>
                  </a:moveTo>
                  <a:lnTo>
                    <a:pt x="152400" y="200025"/>
                  </a:lnTo>
                  <a:lnTo>
                    <a:pt x="76200" y="152400"/>
                  </a:lnTo>
                  <a:lnTo>
                    <a:pt x="0" y="200025"/>
                  </a:lnTo>
                  <a:lnTo>
                    <a:pt x="0" y="0"/>
                  </a:ln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373" name="Freihandform: Form 80">
              <a:extLst>
                <a:ext uri="{FF2B5EF4-FFF2-40B4-BE49-F238E27FC236}">
                  <a16:creationId xmlns:a16="http://schemas.microsoft.com/office/drawing/2014/main" id="{321B8802-6E3B-4437-A836-192D233BE577}"/>
                </a:ext>
              </a:extLst>
            </p:cNvPr>
            <p:cNvSpPr/>
            <p:nvPr/>
          </p:nvSpPr>
          <p:spPr>
            <a:xfrm>
              <a:off x="10463719" y="3405030"/>
              <a:ext cx="400050" cy="9525"/>
            </a:xfrm>
            <a:custGeom>
              <a:avLst/>
              <a:gdLst>
                <a:gd name="connsiteX0" fmla="*/ 400050 w 400050"/>
                <a:gd name="connsiteY0" fmla="*/ 0 h 9525"/>
                <a:gd name="connsiteX1" fmla="*/ 0 w 400050"/>
                <a:gd name="connsiteY1" fmla="*/ 0 h 9525"/>
              </a:gdLst>
              <a:ahLst/>
              <a:cxnLst>
                <a:cxn ang="0">
                  <a:pos x="connsiteX0" y="connsiteY0"/>
                </a:cxn>
                <a:cxn ang="0">
                  <a:pos x="connsiteX1" y="connsiteY1"/>
                </a:cxn>
              </a:cxnLst>
              <a:rect l="l" t="t" r="r" b="b"/>
              <a:pathLst>
                <a:path w="400050" h="9525">
                  <a:moveTo>
                    <a:pt x="400050" y="0"/>
                  </a:moveTo>
                  <a:lnTo>
                    <a:pt x="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74" name="Freihandform: Form 81">
              <a:extLst>
                <a:ext uri="{FF2B5EF4-FFF2-40B4-BE49-F238E27FC236}">
                  <a16:creationId xmlns:a16="http://schemas.microsoft.com/office/drawing/2014/main" id="{BC051EEE-7F71-4E7A-86C2-5A1457AF7812}"/>
                </a:ext>
              </a:extLst>
            </p:cNvPr>
            <p:cNvSpPr/>
            <p:nvPr/>
          </p:nvSpPr>
          <p:spPr>
            <a:xfrm>
              <a:off x="10387519" y="2890680"/>
              <a:ext cx="476250" cy="514350"/>
            </a:xfrm>
            <a:custGeom>
              <a:avLst/>
              <a:gdLst>
                <a:gd name="connsiteX0" fmla="*/ 476250 w 476250"/>
                <a:gd name="connsiteY0" fmla="*/ 457200 h 514350"/>
                <a:gd name="connsiteX1" fmla="*/ 476250 w 476250"/>
                <a:gd name="connsiteY1" fmla="*/ 0 h 514350"/>
                <a:gd name="connsiteX2" fmla="*/ 57150 w 476250"/>
                <a:gd name="connsiteY2" fmla="*/ 0 h 514350"/>
                <a:gd name="connsiteX3" fmla="*/ 0 w 476250"/>
                <a:gd name="connsiteY3" fmla="*/ 57150 h 514350"/>
                <a:gd name="connsiteX4" fmla="*/ 0 w 476250"/>
                <a:gd name="connsiteY4" fmla="*/ 51435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514350">
                  <a:moveTo>
                    <a:pt x="476250" y="457200"/>
                  </a:moveTo>
                  <a:lnTo>
                    <a:pt x="476250" y="0"/>
                  </a:lnTo>
                  <a:lnTo>
                    <a:pt x="57150" y="0"/>
                  </a:lnTo>
                  <a:cubicBezTo>
                    <a:pt x="25718" y="0"/>
                    <a:pt x="0" y="25718"/>
                    <a:pt x="0" y="57150"/>
                  </a:cubicBezTo>
                  <a:lnTo>
                    <a:pt x="0" y="514350"/>
                  </a:lnTo>
                </a:path>
              </a:pathLst>
            </a:custGeom>
            <a:noFill/>
            <a:ln w="19050" cap="flat">
              <a:solidFill>
                <a:schemeClr val="accent5"/>
              </a:solidFill>
              <a:prstDash val="solid"/>
              <a:miter/>
            </a:ln>
          </p:spPr>
          <p:txBody>
            <a:bodyPr lIns="36000" tIns="36000" rIns="36000" bIns="36000" rtlCol="0" anchor="ctr"/>
            <a:lstStyle/>
            <a:p>
              <a:endParaRPr lang="de-DE" sz="800" dirty="0">
                <a:latin typeface="+mn-lt"/>
              </a:endParaRPr>
            </a:p>
          </p:txBody>
        </p:sp>
        <p:sp>
          <p:nvSpPr>
            <p:cNvPr id="375" name="Freihandform: Form 82">
              <a:extLst>
                <a:ext uri="{FF2B5EF4-FFF2-40B4-BE49-F238E27FC236}">
                  <a16:creationId xmlns:a16="http://schemas.microsoft.com/office/drawing/2014/main" id="{6D3864B4-1305-4E8B-9D2A-86001DAD853C}"/>
                </a:ext>
              </a:extLst>
            </p:cNvPr>
            <p:cNvSpPr/>
            <p:nvPr/>
          </p:nvSpPr>
          <p:spPr>
            <a:xfrm>
              <a:off x="10387519" y="3347880"/>
              <a:ext cx="476250" cy="114300"/>
            </a:xfrm>
            <a:custGeom>
              <a:avLst/>
              <a:gdLst>
                <a:gd name="connsiteX0" fmla="*/ 476250 w 476250"/>
                <a:gd name="connsiteY0" fmla="*/ 114300 h 114300"/>
                <a:gd name="connsiteX1" fmla="*/ 476250 w 476250"/>
                <a:gd name="connsiteY1" fmla="*/ 0 h 114300"/>
                <a:gd name="connsiteX2" fmla="*/ 57150 w 476250"/>
                <a:gd name="connsiteY2" fmla="*/ 0 h 114300"/>
                <a:gd name="connsiteX3" fmla="*/ 0 w 476250"/>
                <a:gd name="connsiteY3" fmla="*/ 57150 h 114300"/>
                <a:gd name="connsiteX4" fmla="*/ 0 w 476250"/>
                <a:gd name="connsiteY4" fmla="*/ 57150 h 114300"/>
                <a:gd name="connsiteX5" fmla="*/ 57150 w 476250"/>
                <a:gd name="connsiteY5" fmla="*/ 114300 h 114300"/>
                <a:gd name="connsiteX6" fmla="*/ 476250 w 476250"/>
                <a:gd name="connsiteY6"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0" h="114300">
                  <a:moveTo>
                    <a:pt x="476250" y="114300"/>
                  </a:moveTo>
                  <a:lnTo>
                    <a:pt x="476250" y="0"/>
                  </a:lnTo>
                  <a:lnTo>
                    <a:pt x="57150" y="0"/>
                  </a:lnTo>
                  <a:cubicBezTo>
                    <a:pt x="25718" y="0"/>
                    <a:pt x="0" y="25718"/>
                    <a:pt x="0" y="57150"/>
                  </a:cubicBezTo>
                  <a:lnTo>
                    <a:pt x="0" y="57150"/>
                  </a:lnTo>
                  <a:cubicBezTo>
                    <a:pt x="0" y="88582"/>
                    <a:pt x="25718" y="114300"/>
                    <a:pt x="57150" y="114300"/>
                  </a:cubicBezTo>
                  <a:lnTo>
                    <a:pt x="476250" y="114300"/>
                  </a:ln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76" name="Freihandform: Form 83">
              <a:extLst>
                <a:ext uri="{FF2B5EF4-FFF2-40B4-BE49-F238E27FC236}">
                  <a16:creationId xmlns:a16="http://schemas.microsoft.com/office/drawing/2014/main" id="{CFEE844A-F44D-4EEB-8003-137F2D2DA112}"/>
                </a:ext>
              </a:extLst>
            </p:cNvPr>
            <p:cNvSpPr/>
            <p:nvPr/>
          </p:nvSpPr>
          <p:spPr>
            <a:xfrm>
              <a:off x="10463719" y="2966880"/>
              <a:ext cx="9525" cy="381000"/>
            </a:xfrm>
            <a:custGeom>
              <a:avLst/>
              <a:gdLst>
                <a:gd name="connsiteX0" fmla="*/ 0 w 9525"/>
                <a:gd name="connsiteY0" fmla="*/ 381000 h 381000"/>
                <a:gd name="connsiteX1" fmla="*/ 0 w 9525"/>
                <a:gd name="connsiteY1" fmla="*/ 0 h 381000"/>
              </a:gdLst>
              <a:ahLst/>
              <a:cxnLst>
                <a:cxn ang="0">
                  <a:pos x="connsiteX0" y="connsiteY0"/>
                </a:cxn>
                <a:cxn ang="0">
                  <a:pos x="connsiteX1" y="connsiteY1"/>
                </a:cxn>
              </a:cxnLst>
              <a:rect l="l" t="t" r="r" b="b"/>
              <a:pathLst>
                <a:path w="9525" h="381000">
                  <a:moveTo>
                    <a:pt x="0" y="381000"/>
                  </a:moveTo>
                  <a:lnTo>
                    <a:pt x="0" y="0"/>
                  </a:lnTo>
                </a:path>
              </a:pathLst>
            </a:custGeom>
            <a:ln w="1905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377" name="Textfeld 376">
            <a:extLst>
              <a:ext uri="{FF2B5EF4-FFF2-40B4-BE49-F238E27FC236}">
                <a16:creationId xmlns:a16="http://schemas.microsoft.com/office/drawing/2014/main" id="{A89AA882-1BAC-40ED-9B66-213BB26D9FD0}"/>
              </a:ext>
            </a:extLst>
          </p:cNvPr>
          <p:cNvSpPr txBox="1"/>
          <p:nvPr/>
        </p:nvSpPr>
        <p:spPr>
          <a:xfrm>
            <a:off x="10920481" y="5176585"/>
            <a:ext cx="57600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Archivsystem</a:t>
            </a:r>
          </a:p>
        </p:txBody>
      </p:sp>
      <p:cxnSp>
        <p:nvCxnSpPr>
          <p:cNvPr id="378" name="Gerade Verbindung mit Pfeil 377">
            <a:extLst>
              <a:ext uri="{FF2B5EF4-FFF2-40B4-BE49-F238E27FC236}">
                <a16:creationId xmlns:a16="http://schemas.microsoft.com/office/drawing/2014/main" id="{15A2AC61-1CBB-4B2B-BC63-0843DE316C4F}"/>
              </a:ext>
            </a:extLst>
          </p:cNvPr>
          <p:cNvCxnSpPr>
            <a:cxnSpLocks/>
          </p:cNvCxnSpPr>
          <p:nvPr/>
        </p:nvCxnSpPr>
        <p:spPr>
          <a:xfrm flipH="1" flipV="1">
            <a:off x="10399579" y="5119198"/>
            <a:ext cx="53097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79" name="Grafik 16">
            <a:extLst>
              <a:ext uri="{FF2B5EF4-FFF2-40B4-BE49-F238E27FC236}">
                <a16:creationId xmlns:a16="http://schemas.microsoft.com/office/drawing/2014/main" id="{7BBA8651-9C07-4292-B36F-3CB1DCDBD205}"/>
              </a:ext>
            </a:extLst>
          </p:cNvPr>
          <p:cNvGrpSpPr/>
          <p:nvPr/>
        </p:nvGrpSpPr>
        <p:grpSpPr>
          <a:xfrm>
            <a:off x="8684685" y="3322259"/>
            <a:ext cx="326674" cy="260091"/>
            <a:chOff x="2514166" y="366749"/>
            <a:chExt cx="552450" cy="495300"/>
          </a:xfrm>
          <a:noFill/>
        </p:grpSpPr>
        <p:sp>
          <p:nvSpPr>
            <p:cNvPr id="380" name="Freihandform: Form 147">
              <a:extLst>
                <a:ext uri="{FF2B5EF4-FFF2-40B4-BE49-F238E27FC236}">
                  <a16:creationId xmlns:a16="http://schemas.microsoft.com/office/drawing/2014/main" id="{12A82EE7-3A8D-40CB-B47D-1FA1338B4B6E}"/>
                </a:ext>
              </a:extLst>
            </p:cNvPr>
            <p:cNvSpPr/>
            <p:nvPr/>
          </p:nvSpPr>
          <p:spPr>
            <a:xfrm>
              <a:off x="2514166" y="366749"/>
              <a:ext cx="552450" cy="495300"/>
            </a:xfrm>
            <a:custGeom>
              <a:avLst/>
              <a:gdLst>
                <a:gd name="connsiteX0" fmla="*/ 504825 w 552450"/>
                <a:gd name="connsiteY0" fmla="*/ 495300 h 495300"/>
                <a:gd name="connsiteX1" fmla="*/ 47625 w 552450"/>
                <a:gd name="connsiteY1" fmla="*/ 495300 h 495300"/>
                <a:gd name="connsiteX2" fmla="*/ 0 w 552450"/>
                <a:gd name="connsiteY2" fmla="*/ 447675 h 495300"/>
                <a:gd name="connsiteX3" fmla="*/ 0 w 552450"/>
                <a:gd name="connsiteY3" fmla="*/ 0 h 495300"/>
                <a:gd name="connsiteX4" fmla="*/ 200025 w 552450"/>
                <a:gd name="connsiteY4" fmla="*/ 0 h 495300"/>
                <a:gd name="connsiteX5" fmla="*/ 257175 w 552450"/>
                <a:gd name="connsiteY5" fmla="*/ 95250 h 495300"/>
                <a:gd name="connsiteX6" fmla="*/ 552450 w 552450"/>
                <a:gd name="connsiteY6" fmla="*/ 95250 h 495300"/>
                <a:gd name="connsiteX7" fmla="*/ 552450 w 552450"/>
                <a:gd name="connsiteY7" fmla="*/ 447675 h 495300"/>
                <a:gd name="connsiteX8" fmla="*/ 504825 w 552450"/>
                <a:gd name="connsiteY8"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495300">
                  <a:moveTo>
                    <a:pt x="504825" y="495300"/>
                  </a:moveTo>
                  <a:lnTo>
                    <a:pt x="47625" y="495300"/>
                  </a:lnTo>
                  <a:cubicBezTo>
                    <a:pt x="20955" y="495300"/>
                    <a:pt x="0" y="474345"/>
                    <a:pt x="0" y="447675"/>
                  </a:cubicBezTo>
                  <a:lnTo>
                    <a:pt x="0" y="0"/>
                  </a:lnTo>
                  <a:lnTo>
                    <a:pt x="200025" y="0"/>
                  </a:lnTo>
                  <a:lnTo>
                    <a:pt x="257175" y="95250"/>
                  </a:lnTo>
                  <a:lnTo>
                    <a:pt x="552450" y="95250"/>
                  </a:lnTo>
                  <a:lnTo>
                    <a:pt x="552450" y="447675"/>
                  </a:lnTo>
                  <a:cubicBezTo>
                    <a:pt x="552450" y="474345"/>
                    <a:pt x="531495" y="495300"/>
                    <a:pt x="504825" y="495300"/>
                  </a:cubicBezTo>
                  <a:close/>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sp>
          <p:nvSpPr>
            <p:cNvPr id="381" name="Freihandform: Form 148">
              <a:extLst>
                <a:ext uri="{FF2B5EF4-FFF2-40B4-BE49-F238E27FC236}">
                  <a16:creationId xmlns:a16="http://schemas.microsoft.com/office/drawing/2014/main" id="{534CAD2F-FB95-44E5-9D47-EE21AF4F4B0E}"/>
                </a:ext>
              </a:extLst>
            </p:cNvPr>
            <p:cNvSpPr/>
            <p:nvPr/>
          </p:nvSpPr>
          <p:spPr>
            <a:xfrm>
              <a:off x="2838016" y="519149"/>
              <a:ext cx="152400" cy="171450"/>
            </a:xfrm>
            <a:custGeom>
              <a:avLst/>
              <a:gdLst>
                <a:gd name="connsiteX0" fmla="*/ 152400 w 152400"/>
                <a:gd name="connsiteY0" fmla="*/ 0 h 171450"/>
                <a:gd name="connsiteX1" fmla="*/ 152400 w 152400"/>
                <a:gd name="connsiteY1" fmla="*/ 171450 h 171450"/>
                <a:gd name="connsiteX2" fmla="*/ 76200 w 152400"/>
                <a:gd name="connsiteY2" fmla="*/ 114300 h 171450"/>
                <a:gd name="connsiteX3" fmla="*/ 0 w 152400"/>
                <a:gd name="connsiteY3" fmla="*/ 171450 h 171450"/>
                <a:gd name="connsiteX4" fmla="*/ 0 w 152400"/>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71450">
                  <a:moveTo>
                    <a:pt x="152400" y="0"/>
                  </a:moveTo>
                  <a:lnTo>
                    <a:pt x="152400" y="171450"/>
                  </a:lnTo>
                  <a:lnTo>
                    <a:pt x="76200" y="114300"/>
                  </a:lnTo>
                  <a:lnTo>
                    <a:pt x="0" y="171450"/>
                  </a:lnTo>
                  <a:lnTo>
                    <a:pt x="0" y="0"/>
                  </a:lnTo>
                </a:path>
              </a:pathLst>
            </a:custGeom>
            <a:noFill/>
            <a:ln w="1905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382" name="Textfeld 381">
            <a:extLst>
              <a:ext uri="{FF2B5EF4-FFF2-40B4-BE49-F238E27FC236}">
                <a16:creationId xmlns:a16="http://schemas.microsoft.com/office/drawing/2014/main" id="{6E9273DD-F30E-4839-A5D2-C03F3FCEDA5E}"/>
              </a:ext>
            </a:extLst>
          </p:cNvPr>
          <p:cNvSpPr txBox="1"/>
          <p:nvPr/>
        </p:nvSpPr>
        <p:spPr>
          <a:xfrm>
            <a:off x="8505722" y="3624149"/>
            <a:ext cx="648000" cy="288000"/>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Zustellung </a:t>
            </a:r>
            <a:br>
              <a:rPr lang="de-DE" dirty="0"/>
            </a:br>
            <a:r>
              <a:rPr lang="de-DE" dirty="0"/>
              <a:t>Bescheid*</a:t>
            </a:r>
          </a:p>
        </p:txBody>
      </p:sp>
      <p:cxnSp>
        <p:nvCxnSpPr>
          <p:cNvPr id="383" name="Verbinder: gewinkelt 610">
            <a:extLst>
              <a:ext uri="{FF2B5EF4-FFF2-40B4-BE49-F238E27FC236}">
                <a16:creationId xmlns:a16="http://schemas.microsoft.com/office/drawing/2014/main" id="{FF846D85-92CD-48D7-9970-BFB64D1F6830}"/>
              </a:ext>
            </a:extLst>
          </p:cNvPr>
          <p:cNvCxnSpPr>
            <a:cxnSpLocks/>
            <a:stCxn id="793" idx="0"/>
          </p:cNvCxnSpPr>
          <p:nvPr/>
        </p:nvCxnSpPr>
        <p:spPr>
          <a:xfrm rot="16200000" flipV="1">
            <a:off x="4221916" y="-304093"/>
            <a:ext cx="2543224" cy="7353320"/>
          </a:xfrm>
          <a:prstGeom prst="bentConnector2">
            <a:avLst/>
          </a:prstGeom>
          <a:ln w="38100" cap="flat" cmpd="sng" algn="ctr">
            <a:solidFill>
              <a:schemeClr val="tx2"/>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4" name="Gerade Verbindung mit Pfeil 185">
            <a:extLst>
              <a:ext uri="{FF2B5EF4-FFF2-40B4-BE49-F238E27FC236}">
                <a16:creationId xmlns:a16="http://schemas.microsoft.com/office/drawing/2014/main" id="{84C9DF2E-3487-439E-9475-F36466B49FA4}"/>
              </a:ext>
            </a:extLst>
          </p:cNvPr>
          <p:cNvCxnSpPr>
            <a:cxnSpLocks/>
            <a:stCxn id="793" idx="0"/>
          </p:cNvCxnSpPr>
          <p:nvPr/>
        </p:nvCxnSpPr>
        <p:spPr>
          <a:xfrm rot="16200000" flipV="1">
            <a:off x="6814036" y="2288027"/>
            <a:ext cx="1798554" cy="2913750"/>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Gerade Verbindung mit Pfeil 186">
            <a:extLst>
              <a:ext uri="{FF2B5EF4-FFF2-40B4-BE49-F238E27FC236}">
                <a16:creationId xmlns:a16="http://schemas.microsoft.com/office/drawing/2014/main" id="{38CCF6C6-B561-4B0B-B480-6DDDEAC2F644}"/>
              </a:ext>
            </a:extLst>
          </p:cNvPr>
          <p:cNvCxnSpPr>
            <a:cxnSpLocks/>
            <a:stCxn id="793" idx="0"/>
            <a:endCxn id="795" idx="3"/>
          </p:cNvCxnSpPr>
          <p:nvPr/>
        </p:nvCxnSpPr>
        <p:spPr>
          <a:xfrm rot="16200000" flipV="1">
            <a:off x="6996564" y="2470554"/>
            <a:ext cx="2230100" cy="2117149"/>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pic>
        <p:nvPicPr>
          <p:cNvPr id="397" name="Grafik 396">
            <a:extLst>
              <a:ext uri="{FF2B5EF4-FFF2-40B4-BE49-F238E27FC236}">
                <a16:creationId xmlns:a16="http://schemas.microsoft.com/office/drawing/2014/main" id="{9F671485-B2C2-4C5F-8D64-E67F8FAFAE34}"/>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3504002" y="2296766"/>
            <a:ext cx="639642" cy="172896"/>
          </a:xfrm>
          <a:prstGeom prst="rect">
            <a:avLst/>
          </a:prstGeom>
        </p:spPr>
      </p:pic>
      <p:sp>
        <p:nvSpPr>
          <p:cNvPr id="398" name="Abgerundetes Rechteck 12">
            <a:extLst>
              <a:ext uri="{FF2B5EF4-FFF2-40B4-BE49-F238E27FC236}">
                <a16:creationId xmlns:a16="http://schemas.microsoft.com/office/drawing/2014/main" id="{28C8435C-4B00-4C49-A3E8-A83D16B6FA2C}"/>
              </a:ext>
            </a:extLst>
          </p:cNvPr>
          <p:cNvSpPr/>
          <p:nvPr/>
        </p:nvSpPr>
        <p:spPr>
          <a:xfrm>
            <a:off x="4482532" y="2510615"/>
            <a:ext cx="659789" cy="411998"/>
          </a:xfrm>
          <a:prstGeom prst="roundRect">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sp>
        <p:nvSpPr>
          <p:cNvPr id="399" name="Freihandform: Form 223">
            <a:extLst>
              <a:ext uri="{FF2B5EF4-FFF2-40B4-BE49-F238E27FC236}">
                <a16:creationId xmlns:a16="http://schemas.microsoft.com/office/drawing/2014/main" id="{0D9BE5F3-9095-4A9F-9D1F-F95B64B71807}"/>
              </a:ext>
            </a:extLst>
          </p:cNvPr>
          <p:cNvSpPr/>
          <p:nvPr/>
        </p:nvSpPr>
        <p:spPr>
          <a:xfrm>
            <a:off x="4594801" y="2678028"/>
            <a:ext cx="120714" cy="132377"/>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270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sp>
        <p:nvSpPr>
          <p:cNvPr id="400" name="Freihandform: Form 224">
            <a:extLst>
              <a:ext uri="{FF2B5EF4-FFF2-40B4-BE49-F238E27FC236}">
                <a16:creationId xmlns:a16="http://schemas.microsoft.com/office/drawing/2014/main" id="{65D57BD9-A0E7-4A82-8AB8-B269CCB3EE76}"/>
              </a:ext>
            </a:extLst>
          </p:cNvPr>
          <p:cNvSpPr/>
          <p:nvPr/>
        </p:nvSpPr>
        <p:spPr>
          <a:xfrm>
            <a:off x="4695683" y="2657914"/>
            <a:ext cx="88811" cy="152491"/>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270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sp>
        <p:nvSpPr>
          <p:cNvPr id="401" name="TextBox 312">
            <a:extLst>
              <a:ext uri="{FF2B5EF4-FFF2-40B4-BE49-F238E27FC236}">
                <a16:creationId xmlns:a16="http://schemas.microsoft.com/office/drawing/2014/main" id="{869140CF-C120-455F-BA84-7701D23C547E}"/>
              </a:ext>
            </a:extLst>
          </p:cNvPr>
          <p:cNvSpPr txBox="1"/>
          <p:nvPr/>
        </p:nvSpPr>
        <p:spPr>
          <a:xfrm>
            <a:off x="4458369" y="2356310"/>
            <a:ext cx="683953" cy="138499"/>
          </a:xfrm>
          <a:prstGeom prst="rect">
            <a:avLst/>
          </a:prstGeom>
          <a:noFill/>
        </p:spPr>
        <p:txBody>
          <a:bodyPr wrap="square" lIns="0" tIns="0" rIns="0" bIns="0" rtlCol="0">
            <a:spAutoFit/>
          </a:bodyPr>
          <a:lstStyle/>
          <a:p>
            <a:pPr algn="ctr"/>
            <a:r>
              <a:rPr lang="de-DE" sz="900" dirty="0">
                <a:latin typeface="+mn-lt"/>
              </a:rPr>
              <a:t>Landeskonten</a:t>
            </a:r>
          </a:p>
        </p:txBody>
      </p:sp>
      <p:cxnSp>
        <p:nvCxnSpPr>
          <p:cNvPr id="407" name="Gerader Verbinder 578">
            <a:extLst>
              <a:ext uri="{FF2B5EF4-FFF2-40B4-BE49-F238E27FC236}">
                <a16:creationId xmlns:a16="http://schemas.microsoft.com/office/drawing/2014/main" id="{FABFCCD5-F18D-43AD-AFBE-808EB2131FF2}"/>
              </a:ext>
            </a:extLst>
          </p:cNvPr>
          <p:cNvCxnSpPr>
            <a:cxnSpLocks/>
            <a:stCxn id="1191" idx="0"/>
            <a:endCxn id="1189" idx="0"/>
          </p:cNvCxnSpPr>
          <p:nvPr/>
        </p:nvCxnSpPr>
        <p:spPr>
          <a:xfrm rot="16200000" flipV="1">
            <a:off x="4339897" y="1656765"/>
            <a:ext cx="12700" cy="1262181"/>
          </a:xfrm>
          <a:prstGeom prst="bentConnector3">
            <a:avLst>
              <a:gd name="adj1" fmla="val 741165"/>
            </a:avLst>
          </a:prstGeom>
          <a:ln w="28575">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415" name="Gerade Verbindung mit Pfeil 414">
            <a:extLst>
              <a:ext uri="{FF2B5EF4-FFF2-40B4-BE49-F238E27FC236}">
                <a16:creationId xmlns:a16="http://schemas.microsoft.com/office/drawing/2014/main" id="{B2324294-942D-4C26-A53C-FF6E7C932AA7}"/>
              </a:ext>
            </a:extLst>
          </p:cNvPr>
          <p:cNvCxnSpPr/>
          <p:nvPr/>
        </p:nvCxnSpPr>
        <p:spPr>
          <a:xfrm>
            <a:off x="4933572" y="5119198"/>
            <a:ext cx="360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6" name="Abgerundetes Rechteck 13">
            <a:extLst>
              <a:ext uri="{FF2B5EF4-FFF2-40B4-BE49-F238E27FC236}">
                <a16:creationId xmlns:a16="http://schemas.microsoft.com/office/drawing/2014/main" id="{5CD60640-289D-4D30-8AE0-0F7EB7900213}"/>
              </a:ext>
            </a:extLst>
          </p:cNvPr>
          <p:cNvSpPr/>
          <p:nvPr/>
        </p:nvSpPr>
        <p:spPr>
          <a:xfrm>
            <a:off x="8671357" y="4644179"/>
            <a:ext cx="1646974" cy="950038"/>
          </a:xfrm>
          <a:prstGeom prst="roundRect">
            <a:avLst>
              <a:gd name="adj" fmla="val 7688"/>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36000" rIns="36000" bIns="36000" rtlCol="0" anchor="ctr"/>
          <a:lstStyle/>
          <a:p>
            <a:pPr algn="ctr"/>
            <a:r>
              <a:rPr lang="de-DE" sz="800" dirty="0">
                <a:solidFill>
                  <a:schemeClr val="tx1"/>
                </a:solidFill>
              </a:rPr>
              <a:t>Antrag bearbeiten</a:t>
            </a:r>
            <a:br>
              <a:rPr lang="de-DE" sz="800" dirty="0">
                <a:solidFill>
                  <a:schemeClr val="tx1"/>
                </a:solidFill>
              </a:rPr>
            </a:br>
            <a:r>
              <a:rPr lang="de-DE" sz="800" dirty="0">
                <a:solidFill>
                  <a:schemeClr val="tx1"/>
                </a:solidFill>
              </a:rPr>
              <a:t>(im Fachverfahren</a:t>
            </a:r>
            <a:br>
              <a:rPr lang="de-DE" sz="800" dirty="0">
                <a:solidFill>
                  <a:schemeClr val="tx1"/>
                </a:solidFill>
              </a:rPr>
            </a:br>
            <a:r>
              <a:rPr lang="de-DE" sz="800" dirty="0">
                <a:solidFill>
                  <a:schemeClr val="tx1"/>
                </a:solidFill>
              </a:rPr>
              <a:t>der Behörde)</a:t>
            </a:r>
          </a:p>
        </p:txBody>
      </p:sp>
      <p:grpSp>
        <p:nvGrpSpPr>
          <p:cNvPr id="417" name="Gruppieren 416"/>
          <p:cNvGrpSpPr/>
          <p:nvPr/>
        </p:nvGrpSpPr>
        <p:grpSpPr>
          <a:xfrm>
            <a:off x="10918791" y="5571097"/>
            <a:ext cx="579380" cy="555688"/>
            <a:chOff x="10918791" y="5571097"/>
            <a:chExt cx="579380" cy="555688"/>
          </a:xfrm>
        </p:grpSpPr>
        <p:sp>
          <p:nvSpPr>
            <p:cNvPr id="418" name="Rectangle 324"/>
            <p:cNvSpPr>
              <a:spLocks noChangeArrowheads="1"/>
            </p:cNvSpPr>
            <p:nvPr/>
          </p:nvSpPr>
          <p:spPr bwMode="auto">
            <a:xfrm>
              <a:off x="10918791" y="5571097"/>
              <a:ext cx="579380" cy="555688"/>
            </a:xfrm>
            <a:prstGeom prst="rect">
              <a:avLst/>
            </a:prstGeom>
            <a:noFill/>
            <a:ln>
              <a:noFill/>
            </a:ln>
            <a:extLst>
              <a:ext uri="{909E8E84-426E-40DD-AFC4-6F175D3DCCD1}">
                <a14:hiddenFill xmlns:a14="http://schemas.microsoft.com/office/drawing/2010/main">
                  <a:solidFill>
                    <a:srgbClr val="797979"/>
                  </a:solidFill>
                </a14:hiddenFill>
              </a:ext>
              <a:ext uri="{91240B29-F687-4F45-9708-019B960494DF}">
                <a14:hiddenLine xmlns:a14="http://schemas.microsoft.com/office/drawing/2010/main" w="0">
                  <a:solidFill>
                    <a:schemeClr val="accent2"/>
                  </a:solidFill>
                  <a:miter lim="800000"/>
                  <a:headEnd/>
                  <a:tailEnd/>
                </a14:hiddenLine>
              </a:ext>
            </a:extLst>
          </p:spPr>
          <p:txBody>
            <a:bodyPr/>
            <a:lstStyle/>
            <a:p>
              <a:endParaRPr lang="de-DE" dirty="0"/>
            </a:p>
          </p:txBody>
        </p:sp>
        <p:sp>
          <p:nvSpPr>
            <p:cNvPr id="419" name="Freeform 325"/>
            <p:cNvSpPr>
              <a:spLocks noEditPoints="1"/>
            </p:cNvSpPr>
            <p:nvPr/>
          </p:nvSpPr>
          <p:spPr bwMode="auto">
            <a:xfrm>
              <a:off x="10921966" y="5577448"/>
              <a:ext cx="574618" cy="544574"/>
            </a:xfrm>
            <a:custGeom>
              <a:avLst/>
              <a:gdLst>
                <a:gd name="T0" fmla="*/ 2944 w 3617"/>
                <a:gd name="T1" fmla="*/ 184 h 3429"/>
                <a:gd name="T2" fmla="*/ 2182 w 3617"/>
                <a:gd name="T3" fmla="*/ 189 h 3429"/>
                <a:gd name="T4" fmla="*/ 1620 w 3617"/>
                <a:gd name="T5" fmla="*/ 170 h 3429"/>
                <a:gd name="T6" fmla="*/ 1050 w 3617"/>
                <a:gd name="T7" fmla="*/ 170 h 3429"/>
                <a:gd name="T8" fmla="*/ 484 w 3617"/>
                <a:gd name="T9" fmla="*/ 190 h 3429"/>
                <a:gd name="T10" fmla="*/ 196 w 3617"/>
                <a:gd name="T11" fmla="*/ 290 h 3429"/>
                <a:gd name="T12" fmla="*/ 198 w 3617"/>
                <a:gd name="T13" fmla="*/ 859 h 3429"/>
                <a:gd name="T14" fmla="*/ 177 w 3617"/>
                <a:gd name="T15" fmla="*/ 1431 h 3429"/>
                <a:gd name="T16" fmla="*/ 203 w 3617"/>
                <a:gd name="T17" fmla="*/ 1999 h 3429"/>
                <a:gd name="T18" fmla="*/ 201 w 3617"/>
                <a:gd name="T19" fmla="*/ 2566 h 3429"/>
                <a:gd name="T20" fmla="*/ 176 w 3617"/>
                <a:gd name="T21" fmla="*/ 3141 h 3429"/>
                <a:gd name="T22" fmla="*/ 484 w 3617"/>
                <a:gd name="T23" fmla="*/ 3240 h 3429"/>
                <a:gd name="T24" fmla="*/ 1058 w 3617"/>
                <a:gd name="T25" fmla="*/ 3245 h 3429"/>
                <a:gd name="T26" fmla="*/ 1620 w 3617"/>
                <a:gd name="T27" fmla="*/ 3225 h 3429"/>
                <a:gd name="T28" fmla="*/ 2189 w 3617"/>
                <a:gd name="T29" fmla="*/ 3257 h 3429"/>
                <a:gd name="T30" fmla="*/ 2756 w 3617"/>
                <a:gd name="T31" fmla="*/ 3234 h 3429"/>
                <a:gd name="T32" fmla="*/ 3324 w 3617"/>
                <a:gd name="T33" fmla="*/ 3237 h 3429"/>
                <a:gd name="T34" fmla="*/ 3424 w 3617"/>
                <a:gd name="T35" fmla="*/ 2938 h 3429"/>
                <a:gd name="T36" fmla="*/ 3422 w 3617"/>
                <a:gd name="T37" fmla="*/ 2376 h 3429"/>
                <a:gd name="T38" fmla="*/ 3420 w 3617"/>
                <a:gd name="T39" fmla="*/ 1810 h 3429"/>
                <a:gd name="T40" fmla="*/ 3445 w 3617"/>
                <a:gd name="T41" fmla="*/ 1242 h 3429"/>
                <a:gd name="T42" fmla="*/ 3419 w 3617"/>
                <a:gd name="T43" fmla="*/ 856 h 3429"/>
                <a:gd name="T44" fmla="*/ 3447 w 3617"/>
                <a:gd name="T45" fmla="*/ 285 h 3429"/>
                <a:gd name="T46" fmla="*/ 3325 w 3617"/>
                <a:gd name="T47" fmla="*/ 0 h 3429"/>
                <a:gd name="T48" fmla="*/ 3586 w 3617"/>
                <a:gd name="T49" fmla="*/ 484 h 3429"/>
                <a:gd name="T50" fmla="*/ 3595 w 3617"/>
                <a:gd name="T51" fmla="*/ 1044 h 3429"/>
                <a:gd name="T52" fmla="*/ 3584 w 3617"/>
                <a:gd name="T53" fmla="*/ 1623 h 3429"/>
                <a:gd name="T54" fmla="*/ 3593 w 3617"/>
                <a:gd name="T55" fmla="*/ 2191 h 3429"/>
                <a:gd name="T56" fmla="*/ 3614 w 3617"/>
                <a:gd name="T57" fmla="*/ 2755 h 3429"/>
                <a:gd name="T58" fmla="*/ 3596 w 3617"/>
                <a:gd name="T59" fmla="*/ 3403 h 3429"/>
                <a:gd name="T60" fmla="*/ 2942 w 3617"/>
                <a:gd name="T61" fmla="*/ 3425 h 3429"/>
                <a:gd name="T62" fmla="*/ 2378 w 3617"/>
                <a:gd name="T63" fmla="*/ 3403 h 3429"/>
                <a:gd name="T64" fmla="*/ 1808 w 3617"/>
                <a:gd name="T65" fmla="*/ 3394 h 3429"/>
                <a:gd name="T66" fmla="*/ 1242 w 3617"/>
                <a:gd name="T67" fmla="*/ 3421 h 3429"/>
                <a:gd name="T68" fmla="*/ 676 w 3617"/>
                <a:gd name="T69" fmla="*/ 3413 h 3429"/>
                <a:gd name="T70" fmla="*/ 21 w 3617"/>
                <a:gd name="T71" fmla="*/ 3416 h 3429"/>
                <a:gd name="T72" fmla="*/ 17 w 3617"/>
                <a:gd name="T73" fmla="*/ 2759 h 3429"/>
                <a:gd name="T74" fmla="*/ 16 w 3617"/>
                <a:gd name="T75" fmla="*/ 2180 h 3429"/>
                <a:gd name="T76" fmla="*/ 6 w 3617"/>
                <a:gd name="T77" fmla="*/ 1621 h 3429"/>
                <a:gd name="T78" fmla="*/ 15 w 3617"/>
                <a:gd name="T79" fmla="*/ 1044 h 3429"/>
                <a:gd name="T80" fmla="*/ 10 w 3617"/>
                <a:gd name="T81" fmla="*/ 477 h 3429"/>
                <a:gd name="T82" fmla="*/ 299 w 3617"/>
                <a:gd name="T83" fmla="*/ 9 h 3429"/>
                <a:gd name="T84" fmla="*/ 861 w 3617"/>
                <a:gd name="T85" fmla="*/ 4 h 3429"/>
                <a:gd name="T86" fmla="*/ 1428 w 3617"/>
                <a:gd name="T87" fmla="*/ 12 h 3429"/>
                <a:gd name="T88" fmla="*/ 2001 w 3617"/>
                <a:gd name="T89" fmla="*/ 5 h 3429"/>
                <a:gd name="T90" fmla="*/ 2754 w 3617"/>
                <a:gd name="T91" fmla="*/ 0 h 3429"/>
                <a:gd name="T92" fmla="*/ 3325 w 3617"/>
                <a:gd name="T93" fmla="*/ 0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17" h="3429">
                  <a:moveTo>
                    <a:pt x="3325" y="169"/>
                  </a:moveTo>
                  <a:lnTo>
                    <a:pt x="3140" y="179"/>
                  </a:lnTo>
                  <a:lnTo>
                    <a:pt x="2944" y="184"/>
                  </a:lnTo>
                  <a:lnTo>
                    <a:pt x="2759" y="170"/>
                  </a:lnTo>
                  <a:lnTo>
                    <a:pt x="2572" y="193"/>
                  </a:lnTo>
                  <a:lnTo>
                    <a:pt x="2182" y="189"/>
                  </a:lnTo>
                  <a:lnTo>
                    <a:pt x="1997" y="174"/>
                  </a:lnTo>
                  <a:lnTo>
                    <a:pt x="1808" y="181"/>
                  </a:lnTo>
                  <a:lnTo>
                    <a:pt x="1620" y="170"/>
                  </a:lnTo>
                  <a:lnTo>
                    <a:pt x="1433" y="181"/>
                  </a:lnTo>
                  <a:lnTo>
                    <a:pt x="1236" y="180"/>
                  </a:lnTo>
                  <a:lnTo>
                    <a:pt x="1050" y="170"/>
                  </a:lnTo>
                  <a:lnTo>
                    <a:pt x="863" y="173"/>
                  </a:lnTo>
                  <a:lnTo>
                    <a:pt x="676" y="174"/>
                  </a:lnTo>
                  <a:lnTo>
                    <a:pt x="484" y="190"/>
                  </a:lnTo>
                  <a:lnTo>
                    <a:pt x="290" y="178"/>
                  </a:lnTo>
                  <a:lnTo>
                    <a:pt x="186" y="175"/>
                  </a:lnTo>
                  <a:lnTo>
                    <a:pt x="196" y="290"/>
                  </a:lnTo>
                  <a:lnTo>
                    <a:pt x="180" y="483"/>
                  </a:lnTo>
                  <a:lnTo>
                    <a:pt x="184" y="666"/>
                  </a:lnTo>
                  <a:lnTo>
                    <a:pt x="198" y="859"/>
                  </a:lnTo>
                  <a:lnTo>
                    <a:pt x="184" y="1052"/>
                  </a:lnTo>
                  <a:lnTo>
                    <a:pt x="182" y="1240"/>
                  </a:lnTo>
                  <a:lnTo>
                    <a:pt x="177" y="1431"/>
                  </a:lnTo>
                  <a:lnTo>
                    <a:pt x="175" y="1617"/>
                  </a:lnTo>
                  <a:lnTo>
                    <a:pt x="187" y="1803"/>
                  </a:lnTo>
                  <a:lnTo>
                    <a:pt x="203" y="1999"/>
                  </a:lnTo>
                  <a:lnTo>
                    <a:pt x="185" y="2193"/>
                  </a:lnTo>
                  <a:lnTo>
                    <a:pt x="180" y="2374"/>
                  </a:lnTo>
                  <a:lnTo>
                    <a:pt x="201" y="2566"/>
                  </a:lnTo>
                  <a:lnTo>
                    <a:pt x="187" y="2755"/>
                  </a:lnTo>
                  <a:lnTo>
                    <a:pt x="206" y="2950"/>
                  </a:lnTo>
                  <a:lnTo>
                    <a:pt x="176" y="3141"/>
                  </a:lnTo>
                  <a:lnTo>
                    <a:pt x="182" y="3243"/>
                  </a:lnTo>
                  <a:lnTo>
                    <a:pt x="292" y="3240"/>
                  </a:lnTo>
                  <a:lnTo>
                    <a:pt x="484" y="3240"/>
                  </a:lnTo>
                  <a:lnTo>
                    <a:pt x="670" y="3243"/>
                  </a:lnTo>
                  <a:lnTo>
                    <a:pt x="863" y="3226"/>
                  </a:lnTo>
                  <a:lnTo>
                    <a:pt x="1058" y="3245"/>
                  </a:lnTo>
                  <a:lnTo>
                    <a:pt x="1242" y="3251"/>
                  </a:lnTo>
                  <a:lnTo>
                    <a:pt x="1425" y="3247"/>
                  </a:lnTo>
                  <a:lnTo>
                    <a:pt x="1620" y="3225"/>
                  </a:lnTo>
                  <a:lnTo>
                    <a:pt x="1812" y="3225"/>
                  </a:lnTo>
                  <a:lnTo>
                    <a:pt x="2011" y="3233"/>
                  </a:lnTo>
                  <a:lnTo>
                    <a:pt x="2189" y="3257"/>
                  </a:lnTo>
                  <a:lnTo>
                    <a:pt x="2379" y="3231"/>
                  </a:lnTo>
                  <a:lnTo>
                    <a:pt x="2568" y="3258"/>
                  </a:lnTo>
                  <a:lnTo>
                    <a:pt x="2756" y="3234"/>
                  </a:lnTo>
                  <a:lnTo>
                    <a:pt x="2951" y="3256"/>
                  </a:lnTo>
                  <a:lnTo>
                    <a:pt x="3131" y="3254"/>
                  </a:lnTo>
                  <a:lnTo>
                    <a:pt x="3324" y="3237"/>
                  </a:lnTo>
                  <a:lnTo>
                    <a:pt x="3419" y="3236"/>
                  </a:lnTo>
                  <a:lnTo>
                    <a:pt x="3416" y="3137"/>
                  </a:lnTo>
                  <a:lnTo>
                    <a:pt x="3424" y="2938"/>
                  </a:lnTo>
                  <a:lnTo>
                    <a:pt x="3442" y="2758"/>
                  </a:lnTo>
                  <a:lnTo>
                    <a:pt x="3418" y="2571"/>
                  </a:lnTo>
                  <a:lnTo>
                    <a:pt x="3422" y="2376"/>
                  </a:lnTo>
                  <a:lnTo>
                    <a:pt x="3424" y="2180"/>
                  </a:lnTo>
                  <a:lnTo>
                    <a:pt x="3440" y="1998"/>
                  </a:lnTo>
                  <a:lnTo>
                    <a:pt x="3420" y="1810"/>
                  </a:lnTo>
                  <a:lnTo>
                    <a:pt x="3415" y="1612"/>
                  </a:lnTo>
                  <a:lnTo>
                    <a:pt x="3445" y="1421"/>
                  </a:lnTo>
                  <a:lnTo>
                    <a:pt x="3445" y="1242"/>
                  </a:lnTo>
                  <a:lnTo>
                    <a:pt x="3425" y="1051"/>
                  </a:lnTo>
                  <a:lnTo>
                    <a:pt x="3419" y="858"/>
                  </a:lnTo>
                  <a:lnTo>
                    <a:pt x="3419" y="856"/>
                  </a:lnTo>
                  <a:lnTo>
                    <a:pt x="3427" y="670"/>
                  </a:lnTo>
                  <a:lnTo>
                    <a:pt x="3416" y="475"/>
                  </a:lnTo>
                  <a:lnTo>
                    <a:pt x="3447" y="285"/>
                  </a:lnTo>
                  <a:lnTo>
                    <a:pt x="3441" y="174"/>
                  </a:lnTo>
                  <a:lnTo>
                    <a:pt x="3325" y="169"/>
                  </a:lnTo>
                  <a:close/>
                  <a:moveTo>
                    <a:pt x="3325" y="0"/>
                  </a:moveTo>
                  <a:lnTo>
                    <a:pt x="3603" y="12"/>
                  </a:lnTo>
                  <a:lnTo>
                    <a:pt x="3617" y="295"/>
                  </a:lnTo>
                  <a:lnTo>
                    <a:pt x="3586" y="484"/>
                  </a:lnTo>
                  <a:lnTo>
                    <a:pt x="3597" y="668"/>
                  </a:lnTo>
                  <a:lnTo>
                    <a:pt x="3589" y="859"/>
                  </a:lnTo>
                  <a:lnTo>
                    <a:pt x="3595" y="1044"/>
                  </a:lnTo>
                  <a:lnTo>
                    <a:pt x="3614" y="1239"/>
                  </a:lnTo>
                  <a:lnTo>
                    <a:pt x="3613" y="1441"/>
                  </a:lnTo>
                  <a:lnTo>
                    <a:pt x="3584" y="1623"/>
                  </a:lnTo>
                  <a:lnTo>
                    <a:pt x="3591" y="1802"/>
                  </a:lnTo>
                  <a:lnTo>
                    <a:pt x="3611" y="1997"/>
                  </a:lnTo>
                  <a:lnTo>
                    <a:pt x="3593" y="2191"/>
                  </a:lnTo>
                  <a:lnTo>
                    <a:pt x="3592" y="2378"/>
                  </a:lnTo>
                  <a:lnTo>
                    <a:pt x="3588" y="2562"/>
                  </a:lnTo>
                  <a:lnTo>
                    <a:pt x="3614" y="2755"/>
                  </a:lnTo>
                  <a:lnTo>
                    <a:pt x="3592" y="2952"/>
                  </a:lnTo>
                  <a:lnTo>
                    <a:pt x="3586" y="3137"/>
                  </a:lnTo>
                  <a:lnTo>
                    <a:pt x="3596" y="3403"/>
                  </a:lnTo>
                  <a:lnTo>
                    <a:pt x="3329" y="3406"/>
                  </a:lnTo>
                  <a:lnTo>
                    <a:pt x="3137" y="3423"/>
                  </a:lnTo>
                  <a:lnTo>
                    <a:pt x="2942" y="3425"/>
                  </a:lnTo>
                  <a:lnTo>
                    <a:pt x="2757" y="3404"/>
                  </a:lnTo>
                  <a:lnTo>
                    <a:pt x="2567" y="3429"/>
                  </a:lnTo>
                  <a:lnTo>
                    <a:pt x="2378" y="3403"/>
                  </a:lnTo>
                  <a:lnTo>
                    <a:pt x="2189" y="3427"/>
                  </a:lnTo>
                  <a:lnTo>
                    <a:pt x="1992" y="3402"/>
                  </a:lnTo>
                  <a:lnTo>
                    <a:pt x="1808" y="3394"/>
                  </a:lnTo>
                  <a:lnTo>
                    <a:pt x="1626" y="3395"/>
                  </a:lnTo>
                  <a:lnTo>
                    <a:pt x="1433" y="3416"/>
                  </a:lnTo>
                  <a:lnTo>
                    <a:pt x="1242" y="3421"/>
                  </a:lnTo>
                  <a:lnTo>
                    <a:pt x="1044" y="3414"/>
                  </a:lnTo>
                  <a:lnTo>
                    <a:pt x="862" y="3396"/>
                  </a:lnTo>
                  <a:lnTo>
                    <a:pt x="676" y="3413"/>
                  </a:lnTo>
                  <a:lnTo>
                    <a:pt x="483" y="3409"/>
                  </a:lnTo>
                  <a:lnTo>
                    <a:pt x="295" y="3409"/>
                  </a:lnTo>
                  <a:lnTo>
                    <a:pt x="21" y="3416"/>
                  </a:lnTo>
                  <a:lnTo>
                    <a:pt x="6" y="3132"/>
                  </a:lnTo>
                  <a:lnTo>
                    <a:pt x="36" y="2944"/>
                  </a:lnTo>
                  <a:lnTo>
                    <a:pt x="17" y="2759"/>
                  </a:lnTo>
                  <a:lnTo>
                    <a:pt x="30" y="2569"/>
                  </a:lnTo>
                  <a:lnTo>
                    <a:pt x="9" y="2381"/>
                  </a:lnTo>
                  <a:lnTo>
                    <a:pt x="16" y="2180"/>
                  </a:lnTo>
                  <a:lnTo>
                    <a:pt x="32" y="1998"/>
                  </a:lnTo>
                  <a:lnTo>
                    <a:pt x="18" y="1816"/>
                  </a:lnTo>
                  <a:lnTo>
                    <a:pt x="6" y="1621"/>
                  </a:lnTo>
                  <a:lnTo>
                    <a:pt x="8" y="1428"/>
                  </a:lnTo>
                  <a:lnTo>
                    <a:pt x="13" y="1237"/>
                  </a:lnTo>
                  <a:lnTo>
                    <a:pt x="15" y="1044"/>
                  </a:lnTo>
                  <a:lnTo>
                    <a:pt x="28" y="859"/>
                  </a:lnTo>
                  <a:lnTo>
                    <a:pt x="14" y="671"/>
                  </a:lnTo>
                  <a:lnTo>
                    <a:pt x="10" y="477"/>
                  </a:lnTo>
                  <a:lnTo>
                    <a:pt x="26" y="290"/>
                  </a:lnTo>
                  <a:lnTo>
                    <a:pt x="0" y="2"/>
                  </a:lnTo>
                  <a:lnTo>
                    <a:pt x="299" y="9"/>
                  </a:lnTo>
                  <a:lnTo>
                    <a:pt x="483" y="20"/>
                  </a:lnTo>
                  <a:lnTo>
                    <a:pt x="672" y="5"/>
                  </a:lnTo>
                  <a:lnTo>
                    <a:pt x="861" y="4"/>
                  </a:lnTo>
                  <a:lnTo>
                    <a:pt x="1053" y="0"/>
                  </a:lnTo>
                  <a:lnTo>
                    <a:pt x="1244" y="11"/>
                  </a:lnTo>
                  <a:lnTo>
                    <a:pt x="1428" y="12"/>
                  </a:lnTo>
                  <a:lnTo>
                    <a:pt x="1620" y="1"/>
                  </a:lnTo>
                  <a:lnTo>
                    <a:pt x="1810" y="12"/>
                  </a:lnTo>
                  <a:lnTo>
                    <a:pt x="2001" y="5"/>
                  </a:lnTo>
                  <a:lnTo>
                    <a:pt x="2192" y="20"/>
                  </a:lnTo>
                  <a:lnTo>
                    <a:pt x="2563" y="23"/>
                  </a:lnTo>
                  <a:lnTo>
                    <a:pt x="2754" y="0"/>
                  </a:lnTo>
                  <a:lnTo>
                    <a:pt x="2948" y="15"/>
                  </a:lnTo>
                  <a:lnTo>
                    <a:pt x="3133" y="9"/>
                  </a:lnTo>
                  <a:lnTo>
                    <a:pt x="3325" y="0"/>
                  </a:lnTo>
                  <a:close/>
                </a:path>
              </a:pathLst>
            </a:custGeom>
            <a:solidFill>
              <a:schemeClr val="accent5"/>
            </a:solidFill>
            <a:ln>
              <a:noFill/>
            </a:ln>
          </p:spPr>
          <p:txBody>
            <a:bodyPr/>
            <a:lstStyle/>
            <a:p>
              <a:endParaRPr lang="de-DE" dirty="0"/>
            </a:p>
          </p:txBody>
        </p:sp>
        <p:sp>
          <p:nvSpPr>
            <p:cNvPr id="420" name="Freeform 326"/>
            <p:cNvSpPr>
              <a:spLocks/>
            </p:cNvSpPr>
            <p:nvPr/>
          </p:nvSpPr>
          <p:spPr bwMode="auto">
            <a:xfrm>
              <a:off x="10979110" y="5647306"/>
              <a:ext cx="55557" cy="15877"/>
            </a:xfrm>
            <a:custGeom>
              <a:avLst/>
              <a:gdLst>
                <a:gd name="T0" fmla="*/ 51 w 344"/>
                <a:gd name="T1" fmla="*/ 0 h 101"/>
                <a:gd name="T2" fmla="*/ 293 w 344"/>
                <a:gd name="T3" fmla="*/ 0 h 101"/>
                <a:gd name="T4" fmla="*/ 310 w 344"/>
                <a:gd name="T5" fmla="*/ 2 h 101"/>
                <a:gd name="T6" fmla="*/ 323 w 344"/>
                <a:gd name="T7" fmla="*/ 10 h 101"/>
                <a:gd name="T8" fmla="*/ 334 w 344"/>
                <a:gd name="T9" fmla="*/ 21 h 101"/>
                <a:gd name="T10" fmla="*/ 342 w 344"/>
                <a:gd name="T11" fmla="*/ 34 h 101"/>
                <a:gd name="T12" fmla="*/ 344 w 344"/>
                <a:gd name="T13" fmla="*/ 51 h 101"/>
                <a:gd name="T14" fmla="*/ 342 w 344"/>
                <a:gd name="T15" fmla="*/ 66 h 101"/>
                <a:gd name="T16" fmla="*/ 334 w 344"/>
                <a:gd name="T17" fmla="*/ 81 h 101"/>
                <a:gd name="T18" fmla="*/ 323 w 344"/>
                <a:gd name="T19" fmla="*/ 91 h 101"/>
                <a:gd name="T20" fmla="*/ 310 w 344"/>
                <a:gd name="T21" fmla="*/ 99 h 101"/>
                <a:gd name="T22" fmla="*/ 293 w 344"/>
                <a:gd name="T23" fmla="*/ 101 h 101"/>
                <a:gd name="T24" fmla="*/ 51 w 344"/>
                <a:gd name="T25" fmla="*/ 101 h 101"/>
                <a:gd name="T26" fmla="*/ 34 w 344"/>
                <a:gd name="T27" fmla="*/ 99 h 101"/>
                <a:gd name="T28" fmla="*/ 21 w 344"/>
                <a:gd name="T29" fmla="*/ 91 h 101"/>
                <a:gd name="T30" fmla="*/ 10 w 344"/>
                <a:gd name="T31" fmla="*/ 81 h 101"/>
                <a:gd name="T32" fmla="*/ 3 w 344"/>
                <a:gd name="T33" fmla="*/ 66 h 101"/>
                <a:gd name="T34" fmla="*/ 0 w 344"/>
                <a:gd name="T35" fmla="*/ 51 h 101"/>
                <a:gd name="T36" fmla="*/ 3 w 344"/>
                <a:gd name="T37" fmla="*/ 34 h 101"/>
                <a:gd name="T38" fmla="*/ 10 w 344"/>
                <a:gd name="T39" fmla="*/ 21 h 101"/>
                <a:gd name="T40" fmla="*/ 21 w 344"/>
                <a:gd name="T41" fmla="*/ 10 h 101"/>
                <a:gd name="T42" fmla="*/ 34 w 344"/>
                <a:gd name="T43" fmla="*/ 2 h 101"/>
                <a:gd name="T44" fmla="*/ 51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1" y="0"/>
                  </a:moveTo>
                  <a:lnTo>
                    <a:pt x="293" y="0"/>
                  </a:lnTo>
                  <a:lnTo>
                    <a:pt x="310" y="2"/>
                  </a:lnTo>
                  <a:lnTo>
                    <a:pt x="323" y="10"/>
                  </a:lnTo>
                  <a:lnTo>
                    <a:pt x="334" y="21"/>
                  </a:lnTo>
                  <a:lnTo>
                    <a:pt x="342" y="34"/>
                  </a:lnTo>
                  <a:lnTo>
                    <a:pt x="344" y="51"/>
                  </a:lnTo>
                  <a:lnTo>
                    <a:pt x="342" y="66"/>
                  </a:lnTo>
                  <a:lnTo>
                    <a:pt x="334" y="81"/>
                  </a:lnTo>
                  <a:lnTo>
                    <a:pt x="323" y="91"/>
                  </a:lnTo>
                  <a:lnTo>
                    <a:pt x="310" y="99"/>
                  </a:lnTo>
                  <a:lnTo>
                    <a:pt x="293" y="101"/>
                  </a:lnTo>
                  <a:lnTo>
                    <a:pt x="51" y="101"/>
                  </a:lnTo>
                  <a:lnTo>
                    <a:pt x="34" y="99"/>
                  </a:lnTo>
                  <a:lnTo>
                    <a:pt x="21" y="91"/>
                  </a:lnTo>
                  <a:lnTo>
                    <a:pt x="10" y="81"/>
                  </a:lnTo>
                  <a:lnTo>
                    <a:pt x="3" y="66"/>
                  </a:lnTo>
                  <a:lnTo>
                    <a:pt x="0" y="51"/>
                  </a:lnTo>
                  <a:lnTo>
                    <a:pt x="3"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421" name="Freeform 327"/>
            <p:cNvSpPr>
              <a:spLocks/>
            </p:cNvSpPr>
            <p:nvPr/>
          </p:nvSpPr>
          <p:spPr bwMode="auto">
            <a:xfrm>
              <a:off x="11037842" y="5652069"/>
              <a:ext cx="55557" cy="17464"/>
            </a:xfrm>
            <a:custGeom>
              <a:avLst/>
              <a:gdLst>
                <a:gd name="T0" fmla="*/ 51 w 347"/>
                <a:gd name="T1" fmla="*/ 0 h 101"/>
                <a:gd name="T2" fmla="*/ 298 w 347"/>
                <a:gd name="T3" fmla="*/ 0 h 101"/>
                <a:gd name="T4" fmla="*/ 313 w 347"/>
                <a:gd name="T5" fmla="*/ 3 h 101"/>
                <a:gd name="T6" fmla="*/ 328 w 347"/>
                <a:gd name="T7" fmla="*/ 10 h 101"/>
                <a:gd name="T8" fmla="*/ 339 w 347"/>
                <a:gd name="T9" fmla="*/ 21 h 101"/>
                <a:gd name="T10" fmla="*/ 345 w 347"/>
                <a:gd name="T11" fmla="*/ 35 h 101"/>
                <a:gd name="T12" fmla="*/ 347 w 347"/>
                <a:gd name="T13" fmla="*/ 50 h 101"/>
                <a:gd name="T14" fmla="*/ 345 w 347"/>
                <a:gd name="T15" fmla="*/ 67 h 101"/>
                <a:gd name="T16" fmla="*/ 339 w 347"/>
                <a:gd name="T17" fmla="*/ 80 h 101"/>
                <a:gd name="T18" fmla="*/ 328 w 347"/>
                <a:gd name="T19" fmla="*/ 91 h 101"/>
                <a:gd name="T20" fmla="*/ 313 w 347"/>
                <a:gd name="T21" fmla="*/ 98 h 101"/>
                <a:gd name="T22" fmla="*/ 298 w 347"/>
                <a:gd name="T23" fmla="*/ 101 h 101"/>
                <a:gd name="T24" fmla="*/ 51 w 347"/>
                <a:gd name="T25" fmla="*/ 101 h 101"/>
                <a:gd name="T26" fmla="*/ 35 w 347"/>
                <a:gd name="T27" fmla="*/ 98 h 101"/>
                <a:gd name="T28" fmla="*/ 21 w 347"/>
                <a:gd name="T29" fmla="*/ 91 h 101"/>
                <a:gd name="T30" fmla="*/ 10 w 347"/>
                <a:gd name="T31" fmla="*/ 80 h 101"/>
                <a:gd name="T32" fmla="*/ 3 w 347"/>
                <a:gd name="T33" fmla="*/ 67 h 101"/>
                <a:gd name="T34" fmla="*/ 0 w 347"/>
                <a:gd name="T35" fmla="*/ 50 h 101"/>
                <a:gd name="T36" fmla="*/ 3 w 347"/>
                <a:gd name="T37" fmla="*/ 35 h 101"/>
                <a:gd name="T38" fmla="*/ 10 w 347"/>
                <a:gd name="T39" fmla="*/ 21 h 101"/>
                <a:gd name="T40" fmla="*/ 21 w 347"/>
                <a:gd name="T41" fmla="*/ 10 h 101"/>
                <a:gd name="T42" fmla="*/ 35 w 347"/>
                <a:gd name="T43" fmla="*/ 3 h 101"/>
                <a:gd name="T44" fmla="*/ 51 w 347"/>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7" h="101">
                  <a:moveTo>
                    <a:pt x="51" y="0"/>
                  </a:moveTo>
                  <a:lnTo>
                    <a:pt x="298" y="0"/>
                  </a:lnTo>
                  <a:lnTo>
                    <a:pt x="313" y="3"/>
                  </a:lnTo>
                  <a:lnTo>
                    <a:pt x="328" y="10"/>
                  </a:lnTo>
                  <a:lnTo>
                    <a:pt x="339" y="21"/>
                  </a:lnTo>
                  <a:lnTo>
                    <a:pt x="345" y="35"/>
                  </a:lnTo>
                  <a:lnTo>
                    <a:pt x="347" y="50"/>
                  </a:lnTo>
                  <a:lnTo>
                    <a:pt x="345" y="67"/>
                  </a:lnTo>
                  <a:lnTo>
                    <a:pt x="339" y="80"/>
                  </a:lnTo>
                  <a:lnTo>
                    <a:pt x="328" y="91"/>
                  </a:lnTo>
                  <a:lnTo>
                    <a:pt x="313" y="98"/>
                  </a:lnTo>
                  <a:lnTo>
                    <a:pt x="298" y="101"/>
                  </a:lnTo>
                  <a:lnTo>
                    <a:pt x="51" y="101"/>
                  </a:lnTo>
                  <a:lnTo>
                    <a:pt x="35" y="98"/>
                  </a:lnTo>
                  <a:lnTo>
                    <a:pt x="21" y="91"/>
                  </a:lnTo>
                  <a:lnTo>
                    <a:pt x="10" y="80"/>
                  </a:lnTo>
                  <a:lnTo>
                    <a:pt x="3" y="67"/>
                  </a:lnTo>
                  <a:lnTo>
                    <a:pt x="0" y="50"/>
                  </a:lnTo>
                  <a:lnTo>
                    <a:pt x="3" y="35"/>
                  </a:lnTo>
                  <a:lnTo>
                    <a:pt x="10" y="21"/>
                  </a:lnTo>
                  <a:lnTo>
                    <a:pt x="21" y="10"/>
                  </a:lnTo>
                  <a:lnTo>
                    <a:pt x="35" y="3"/>
                  </a:lnTo>
                  <a:lnTo>
                    <a:pt x="51" y="0"/>
                  </a:lnTo>
                  <a:close/>
                </a:path>
              </a:pathLst>
            </a:custGeom>
            <a:solidFill>
              <a:schemeClr val="accent5"/>
            </a:solidFill>
            <a:ln>
              <a:noFill/>
            </a:ln>
          </p:spPr>
          <p:txBody>
            <a:bodyPr/>
            <a:lstStyle/>
            <a:p>
              <a:endParaRPr lang="de-DE" dirty="0"/>
            </a:p>
          </p:txBody>
        </p:sp>
        <p:sp>
          <p:nvSpPr>
            <p:cNvPr id="422" name="Freeform 328"/>
            <p:cNvSpPr>
              <a:spLocks/>
            </p:cNvSpPr>
            <p:nvPr/>
          </p:nvSpPr>
          <p:spPr bwMode="auto">
            <a:xfrm>
              <a:off x="11114034" y="5648893"/>
              <a:ext cx="52382" cy="15877"/>
            </a:xfrm>
            <a:custGeom>
              <a:avLst/>
              <a:gdLst>
                <a:gd name="T0" fmla="*/ 48 w 325"/>
                <a:gd name="T1" fmla="*/ 0 h 98"/>
                <a:gd name="T2" fmla="*/ 276 w 325"/>
                <a:gd name="T3" fmla="*/ 0 h 98"/>
                <a:gd name="T4" fmla="*/ 292 w 325"/>
                <a:gd name="T5" fmla="*/ 3 h 98"/>
                <a:gd name="T6" fmla="*/ 305 w 325"/>
                <a:gd name="T7" fmla="*/ 9 h 98"/>
                <a:gd name="T8" fmla="*/ 315 w 325"/>
                <a:gd name="T9" fmla="*/ 20 h 98"/>
                <a:gd name="T10" fmla="*/ 323 w 325"/>
                <a:gd name="T11" fmla="*/ 34 h 98"/>
                <a:gd name="T12" fmla="*/ 325 w 325"/>
                <a:gd name="T13" fmla="*/ 49 h 98"/>
                <a:gd name="T14" fmla="*/ 323 w 325"/>
                <a:gd name="T15" fmla="*/ 64 h 98"/>
                <a:gd name="T16" fmla="*/ 315 w 325"/>
                <a:gd name="T17" fmla="*/ 78 h 98"/>
                <a:gd name="T18" fmla="*/ 305 w 325"/>
                <a:gd name="T19" fmla="*/ 89 h 98"/>
                <a:gd name="T20" fmla="*/ 292 w 325"/>
                <a:gd name="T21" fmla="*/ 95 h 98"/>
                <a:gd name="T22" fmla="*/ 276 w 325"/>
                <a:gd name="T23" fmla="*/ 98 h 98"/>
                <a:gd name="T24" fmla="*/ 48 w 325"/>
                <a:gd name="T25" fmla="*/ 98 h 98"/>
                <a:gd name="T26" fmla="*/ 33 w 325"/>
                <a:gd name="T27" fmla="*/ 95 h 98"/>
                <a:gd name="T28" fmla="*/ 19 w 325"/>
                <a:gd name="T29" fmla="*/ 89 h 98"/>
                <a:gd name="T30" fmla="*/ 8 w 325"/>
                <a:gd name="T31" fmla="*/ 78 h 98"/>
                <a:gd name="T32" fmla="*/ 2 w 325"/>
                <a:gd name="T33" fmla="*/ 64 h 98"/>
                <a:gd name="T34" fmla="*/ 0 w 325"/>
                <a:gd name="T35" fmla="*/ 49 h 98"/>
                <a:gd name="T36" fmla="*/ 2 w 325"/>
                <a:gd name="T37" fmla="*/ 34 h 98"/>
                <a:gd name="T38" fmla="*/ 8 w 325"/>
                <a:gd name="T39" fmla="*/ 20 h 98"/>
                <a:gd name="T40" fmla="*/ 19 w 325"/>
                <a:gd name="T41" fmla="*/ 9 h 98"/>
                <a:gd name="T42" fmla="*/ 33 w 325"/>
                <a:gd name="T43" fmla="*/ 3 h 98"/>
                <a:gd name="T44" fmla="*/ 48 w 325"/>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5" h="98">
                  <a:moveTo>
                    <a:pt x="48" y="0"/>
                  </a:moveTo>
                  <a:lnTo>
                    <a:pt x="276" y="0"/>
                  </a:lnTo>
                  <a:lnTo>
                    <a:pt x="292" y="3"/>
                  </a:lnTo>
                  <a:lnTo>
                    <a:pt x="305" y="9"/>
                  </a:lnTo>
                  <a:lnTo>
                    <a:pt x="315" y="20"/>
                  </a:lnTo>
                  <a:lnTo>
                    <a:pt x="323" y="34"/>
                  </a:lnTo>
                  <a:lnTo>
                    <a:pt x="325" y="49"/>
                  </a:lnTo>
                  <a:lnTo>
                    <a:pt x="323" y="64"/>
                  </a:lnTo>
                  <a:lnTo>
                    <a:pt x="315" y="78"/>
                  </a:lnTo>
                  <a:lnTo>
                    <a:pt x="305" y="89"/>
                  </a:lnTo>
                  <a:lnTo>
                    <a:pt x="292" y="95"/>
                  </a:lnTo>
                  <a:lnTo>
                    <a:pt x="276" y="98"/>
                  </a:lnTo>
                  <a:lnTo>
                    <a:pt x="48" y="98"/>
                  </a:lnTo>
                  <a:lnTo>
                    <a:pt x="33" y="95"/>
                  </a:lnTo>
                  <a:lnTo>
                    <a:pt x="19" y="89"/>
                  </a:lnTo>
                  <a:lnTo>
                    <a:pt x="8" y="78"/>
                  </a:lnTo>
                  <a:lnTo>
                    <a:pt x="2" y="64"/>
                  </a:lnTo>
                  <a:lnTo>
                    <a:pt x="0" y="49"/>
                  </a:lnTo>
                  <a:lnTo>
                    <a:pt x="2" y="34"/>
                  </a:lnTo>
                  <a:lnTo>
                    <a:pt x="8" y="20"/>
                  </a:lnTo>
                  <a:lnTo>
                    <a:pt x="19" y="9"/>
                  </a:lnTo>
                  <a:lnTo>
                    <a:pt x="33" y="3"/>
                  </a:lnTo>
                  <a:lnTo>
                    <a:pt x="48" y="0"/>
                  </a:lnTo>
                  <a:close/>
                </a:path>
              </a:pathLst>
            </a:custGeom>
            <a:solidFill>
              <a:schemeClr val="accent5"/>
            </a:solidFill>
            <a:ln>
              <a:noFill/>
            </a:ln>
          </p:spPr>
          <p:txBody>
            <a:bodyPr/>
            <a:lstStyle/>
            <a:p>
              <a:endParaRPr lang="de-DE" dirty="0"/>
            </a:p>
          </p:txBody>
        </p:sp>
        <p:sp>
          <p:nvSpPr>
            <p:cNvPr id="423" name="Freeform 329"/>
            <p:cNvSpPr>
              <a:spLocks/>
            </p:cNvSpPr>
            <p:nvPr/>
          </p:nvSpPr>
          <p:spPr bwMode="auto">
            <a:xfrm>
              <a:off x="11188639" y="5648893"/>
              <a:ext cx="41271" cy="12701"/>
            </a:xfrm>
            <a:custGeom>
              <a:avLst/>
              <a:gdLst>
                <a:gd name="T0" fmla="*/ 43 w 266"/>
                <a:gd name="T1" fmla="*/ 0 h 86"/>
                <a:gd name="T2" fmla="*/ 221 w 266"/>
                <a:gd name="T3" fmla="*/ 0 h 86"/>
                <a:gd name="T4" fmla="*/ 236 w 266"/>
                <a:gd name="T5" fmla="*/ 2 h 86"/>
                <a:gd name="T6" fmla="*/ 248 w 266"/>
                <a:gd name="T7" fmla="*/ 9 h 86"/>
                <a:gd name="T8" fmla="*/ 257 w 266"/>
                <a:gd name="T9" fmla="*/ 18 h 86"/>
                <a:gd name="T10" fmla="*/ 264 w 266"/>
                <a:gd name="T11" fmla="*/ 30 h 86"/>
                <a:gd name="T12" fmla="*/ 266 w 266"/>
                <a:gd name="T13" fmla="*/ 43 h 86"/>
                <a:gd name="T14" fmla="*/ 264 w 266"/>
                <a:gd name="T15" fmla="*/ 57 h 86"/>
                <a:gd name="T16" fmla="*/ 257 w 266"/>
                <a:gd name="T17" fmla="*/ 70 h 86"/>
                <a:gd name="T18" fmla="*/ 248 w 266"/>
                <a:gd name="T19" fmla="*/ 78 h 86"/>
                <a:gd name="T20" fmla="*/ 236 w 266"/>
                <a:gd name="T21" fmla="*/ 85 h 86"/>
                <a:gd name="T22" fmla="*/ 221 w 266"/>
                <a:gd name="T23" fmla="*/ 86 h 86"/>
                <a:gd name="T24" fmla="*/ 43 w 266"/>
                <a:gd name="T25" fmla="*/ 86 h 86"/>
                <a:gd name="T26" fmla="*/ 29 w 266"/>
                <a:gd name="T27" fmla="*/ 85 h 86"/>
                <a:gd name="T28" fmla="*/ 18 w 266"/>
                <a:gd name="T29" fmla="*/ 78 h 86"/>
                <a:gd name="T30" fmla="*/ 8 w 266"/>
                <a:gd name="T31" fmla="*/ 70 h 86"/>
                <a:gd name="T32" fmla="*/ 2 w 266"/>
                <a:gd name="T33" fmla="*/ 57 h 86"/>
                <a:gd name="T34" fmla="*/ 0 w 266"/>
                <a:gd name="T35" fmla="*/ 43 h 86"/>
                <a:gd name="T36" fmla="*/ 2 w 266"/>
                <a:gd name="T37" fmla="*/ 30 h 86"/>
                <a:gd name="T38" fmla="*/ 8 w 266"/>
                <a:gd name="T39" fmla="*/ 18 h 86"/>
                <a:gd name="T40" fmla="*/ 18 w 266"/>
                <a:gd name="T41" fmla="*/ 9 h 86"/>
                <a:gd name="T42" fmla="*/ 29 w 266"/>
                <a:gd name="T43" fmla="*/ 2 h 86"/>
                <a:gd name="T44" fmla="*/ 43 w 266"/>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86">
                  <a:moveTo>
                    <a:pt x="43" y="0"/>
                  </a:moveTo>
                  <a:lnTo>
                    <a:pt x="221" y="0"/>
                  </a:lnTo>
                  <a:lnTo>
                    <a:pt x="236" y="2"/>
                  </a:lnTo>
                  <a:lnTo>
                    <a:pt x="248" y="9"/>
                  </a:lnTo>
                  <a:lnTo>
                    <a:pt x="257" y="18"/>
                  </a:lnTo>
                  <a:lnTo>
                    <a:pt x="264" y="30"/>
                  </a:lnTo>
                  <a:lnTo>
                    <a:pt x="266" y="43"/>
                  </a:lnTo>
                  <a:lnTo>
                    <a:pt x="264" y="57"/>
                  </a:lnTo>
                  <a:lnTo>
                    <a:pt x="257" y="70"/>
                  </a:lnTo>
                  <a:lnTo>
                    <a:pt x="248" y="78"/>
                  </a:lnTo>
                  <a:lnTo>
                    <a:pt x="236" y="85"/>
                  </a:lnTo>
                  <a:lnTo>
                    <a:pt x="221" y="86"/>
                  </a:lnTo>
                  <a:lnTo>
                    <a:pt x="43" y="86"/>
                  </a:lnTo>
                  <a:lnTo>
                    <a:pt x="29" y="85"/>
                  </a:lnTo>
                  <a:lnTo>
                    <a:pt x="18" y="78"/>
                  </a:lnTo>
                  <a:lnTo>
                    <a:pt x="8" y="70"/>
                  </a:lnTo>
                  <a:lnTo>
                    <a:pt x="2" y="57"/>
                  </a:lnTo>
                  <a:lnTo>
                    <a:pt x="0" y="43"/>
                  </a:lnTo>
                  <a:lnTo>
                    <a:pt x="2" y="30"/>
                  </a:lnTo>
                  <a:lnTo>
                    <a:pt x="8" y="18"/>
                  </a:lnTo>
                  <a:lnTo>
                    <a:pt x="18" y="9"/>
                  </a:lnTo>
                  <a:lnTo>
                    <a:pt x="29" y="2"/>
                  </a:lnTo>
                  <a:lnTo>
                    <a:pt x="43" y="0"/>
                  </a:lnTo>
                  <a:close/>
                </a:path>
              </a:pathLst>
            </a:custGeom>
            <a:solidFill>
              <a:schemeClr val="accent5"/>
            </a:solidFill>
            <a:ln>
              <a:noFill/>
            </a:ln>
          </p:spPr>
          <p:txBody>
            <a:bodyPr/>
            <a:lstStyle/>
            <a:p>
              <a:endParaRPr lang="de-DE" dirty="0"/>
            </a:p>
          </p:txBody>
        </p:sp>
        <p:sp>
          <p:nvSpPr>
            <p:cNvPr id="424" name="Freeform 330"/>
            <p:cNvSpPr>
              <a:spLocks/>
            </p:cNvSpPr>
            <p:nvPr/>
          </p:nvSpPr>
          <p:spPr bwMode="auto">
            <a:xfrm>
              <a:off x="11255308" y="5647306"/>
              <a:ext cx="53970" cy="15877"/>
            </a:xfrm>
            <a:custGeom>
              <a:avLst/>
              <a:gdLst>
                <a:gd name="T0" fmla="*/ 51 w 338"/>
                <a:gd name="T1" fmla="*/ 0 h 99"/>
                <a:gd name="T2" fmla="*/ 287 w 338"/>
                <a:gd name="T3" fmla="*/ 0 h 99"/>
                <a:gd name="T4" fmla="*/ 304 w 338"/>
                <a:gd name="T5" fmla="*/ 2 h 99"/>
                <a:gd name="T6" fmla="*/ 317 w 338"/>
                <a:gd name="T7" fmla="*/ 8 h 99"/>
                <a:gd name="T8" fmla="*/ 328 w 338"/>
                <a:gd name="T9" fmla="*/ 19 h 99"/>
                <a:gd name="T10" fmla="*/ 335 w 338"/>
                <a:gd name="T11" fmla="*/ 33 h 99"/>
                <a:gd name="T12" fmla="*/ 338 w 338"/>
                <a:gd name="T13" fmla="*/ 49 h 99"/>
                <a:gd name="T14" fmla="*/ 335 w 338"/>
                <a:gd name="T15" fmla="*/ 65 h 99"/>
                <a:gd name="T16" fmla="*/ 328 w 338"/>
                <a:gd name="T17" fmla="*/ 78 h 99"/>
                <a:gd name="T18" fmla="*/ 317 w 338"/>
                <a:gd name="T19" fmla="*/ 89 h 99"/>
                <a:gd name="T20" fmla="*/ 304 w 338"/>
                <a:gd name="T21" fmla="*/ 96 h 99"/>
                <a:gd name="T22" fmla="*/ 287 w 338"/>
                <a:gd name="T23" fmla="*/ 99 h 99"/>
                <a:gd name="T24" fmla="*/ 51 w 338"/>
                <a:gd name="T25" fmla="*/ 99 h 99"/>
                <a:gd name="T26" fmla="*/ 34 w 338"/>
                <a:gd name="T27" fmla="*/ 96 h 99"/>
                <a:gd name="T28" fmla="*/ 21 w 338"/>
                <a:gd name="T29" fmla="*/ 89 h 99"/>
                <a:gd name="T30" fmla="*/ 10 w 338"/>
                <a:gd name="T31" fmla="*/ 78 h 99"/>
                <a:gd name="T32" fmla="*/ 3 w 338"/>
                <a:gd name="T33" fmla="*/ 65 h 99"/>
                <a:gd name="T34" fmla="*/ 0 w 338"/>
                <a:gd name="T35" fmla="*/ 49 h 99"/>
                <a:gd name="T36" fmla="*/ 3 w 338"/>
                <a:gd name="T37" fmla="*/ 33 h 99"/>
                <a:gd name="T38" fmla="*/ 10 w 338"/>
                <a:gd name="T39" fmla="*/ 19 h 99"/>
                <a:gd name="T40" fmla="*/ 21 w 338"/>
                <a:gd name="T41" fmla="*/ 8 h 99"/>
                <a:gd name="T42" fmla="*/ 34 w 338"/>
                <a:gd name="T43" fmla="*/ 2 h 99"/>
                <a:gd name="T44" fmla="*/ 51 w 338"/>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8" h="99">
                  <a:moveTo>
                    <a:pt x="51" y="0"/>
                  </a:moveTo>
                  <a:lnTo>
                    <a:pt x="287" y="0"/>
                  </a:lnTo>
                  <a:lnTo>
                    <a:pt x="304" y="2"/>
                  </a:lnTo>
                  <a:lnTo>
                    <a:pt x="317" y="8"/>
                  </a:lnTo>
                  <a:lnTo>
                    <a:pt x="328" y="19"/>
                  </a:lnTo>
                  <a:lnTo>
                    <a:pt x="335" y="33"/>
                  </a:lnTo>
                  <a:lnTo>
                    <a:pt x="338" y="49"/>
                  </a:lnTo>
                  <a:lnTo>
                    <a:pt x="335" y="65"/>
                  </a:lnTo>
                  <a:lnTo>
                    <a:pt x="328" y="78"/>
                  </a:lnTo>
                  <a:lnTo>
                    <a:pt x="317" y="89"/>
                  </a:lnTo>
                  <a:lnTo>
                    <a:pt x="304" y="96"/>
                  </a:lnTo>
                  <a:lnTo>
                    <a:pt x="287" y="99"/>
                  </a:lnTo>
                  <a:lnTo>
                    <a:pt x="51" y="99"/>
                  </a:lnTo>
                  <a:lnTo>
                    <a:pt x="34" y="96"/>
                  </a:lnTo>
                  <a:lnTo>
                    <a:pt x="21" y="89"/>
                  </a:lnTo>
                  <a:lnTo>
                    <a:pt x="10" y="78"/>
                  </a:lnTo>
                  <a:lnTo>
                    <a:pt x="3" y="65"/>
                  </a:lnTo>
                  <a:lnTo>
                    <a:pt x="0" y="49"/>
                  </a:lnTo>
                  <a:lnTo>
                    <a:pt x="3" y="33"/>
                  </a:lnTo>
                  <a:lnTo>
                    <a:pt x="10" y="19"/>
                  </a:lnTo>
                  <a:lnTo>
                    <a:pt x="21" y="8"/>
                  </a:lnTo>
                  <a:lnTo>
                    <a:pt x="34" y="2"/>
                  </a:lnTo>
                  <a:lnTo>
                    <a:pt x="51" y="0"/>
                  </a:lnTo>
                  <a:close/>
                </a:path>
              </a:pathLst>
            </a:custGeom>
            <a:solidFill>
              <a:schemeClr val="accent5"/>
            </a:solidFill>
            <a:ln>
              <a:noFill/>
            </a:ln>
          </p:spPr>
          <p:txBody>
            <a:bodyPr/>
            <a:lstStyle/>
            <a:p>
              <a:endParaRPr lang="de-DE" dirty="0"/>
            </a:p>
          </p:txBody>
        </p:sp>
        <p:sp>
          <p:nvSpPr>
            <p:cNvPr id="425" name="Freeform 331"/>
            <p:cNvSpPr>
              <a:spLocks/>
            </p:cNvSpPr>
            <p:nvPr/>
          </p:nvSpPr>
          <p:spPr bwMode="auto">
            <a:xfrm>
              <a:off x="11321976" y="5652069"/>
              <a:ext cx="46033" cy="14289"/>
            </a:xfrm>
            <a:custGeom>
              <a:avLst/>
              <a:gdLst>
                <a:gd name="T0" fmla="*/ 44 w 283"/>
                <a:gd name="T1" fmla="*/ 0 h 90"/>
                <a:gd name="T2" fmla="*/ 239 w 283"/>
                <a:gd name="T3" fmla="*/ 0 h 90"/>
                <a:gd name="T4" fmla="*/ 253 w 283"/>
                <a:gd name="T5" fmla="*/ 2 h 90"/>
                <a:gd name="T6" fmla="*/ 265 w 283"/>
                <a:gd name="T7" fmla="*/ 8 h 90"/>
                <a:gd name="T8" fmla="*/ 275 w 283"/>
                <a:gd name="T9" fmla="*/ 18 h 90"/>
                <a:gd name="T10" fmla="*/ 281 w 283"/>
                <a:gd name="T11" fmla="*/ 31 h 90"/>
                <a:gd name="T12" fmla="*/ 283 w 283"/>
                <a:gd name="T13" fmla="*/ 44 h 90"/>
                <a:gd name="T14" fmla="*/ 281 w 283"/>
                <a:gd name="T15" fmla="*/ 59 h 90"/>
                <a:gd name="T16" fmla="*/ 275 w 283"/>
                <a:gd name="T17" fmla="*/ 71 h 90"/>
                <a:gd name="T18" fmla="*/ 265 w 283"/>
                <a:gd name="T19" fmla="*/ 81 h 90"/>
                <a:gd name="T20" fmla="*/ 253 w 283"/>
                <a:gd name="T21" fmla="*/ 87 h 90"/>
                <a:gd name="T22" fmla="*/ 239 w 283"/>
                <a:gd name="T23" fmla="*/ 90 h 90"/>
                <a:gd name="T24" fmla="*/ 44 w 283"/>
                <a:gd name="T25" fmla="*/ 90 h 90"/>
                <a:gd name="T26" fmla="*/ 30 w 283"/>
                <a:gd name="T27" fmla="*/ 87 h 90"/>
                <a:gd name="T28" fmla="*/ 17 w 283"/>
                <a:gd name="T29" fmla="*/ 81 h 90"/>
                <a:gd name="T30" fmla="*/ 7 w 283"/>
                <a:gd name="T31" fmla="*/ 71 h 90"/>
                <a:gd name="T32" fmla="*/ 2 w 283"/>
                <a:gd name="T33" fmla="*/ 59 h 90"/>
                <a:gd name="T34" fmla="*/ 0 w 283"/>
                <a:gd name="T35" fmla="*/ 44 h 90"/>
                <a:gd name="T36" fmla="*/ 2 w 283"/>
                <a:gd name="T37" fmla="*/ 31 h 90"/>
                <a:gd name="T38" fmla="*/ 7 w 283"/>
                <a:gd name="T39" fmla="*/ 18 h 90"/>
                <a:gd name="T40" fmla="*/ 17 w 283"/>
                <a:gd name="T41" fmla="*/ 8 h 90"/>
                <a:gd name="T42" fmla="*/ 30 w 283"/>
                <a:gd name="T43" fmla="*/ 2 h 90"/>
                <a:gd name="T44" fmla="*/ 44 w 283"/>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90">
                  <a:moveTo>
                    <a:pt x="44" y="0"/>
                  </a:moveTo>
                  <a:lnTo>
                    <a:pt x="239" y="0"/>
                  </a:lnTo>
                  <a:lnTo>
                    <a:pt x="253" y="2"/>
                  </a:lnTo>
                  <a:lnTo>
                    <a:pt x="265" y="8"/>
                  </a:lnTo>
                  <a:lnTo>
                    <a:pt x="275" y="18"/>
                  </a:lnTo>
                  <a:lnTo>
                    <a:pt x="281" y="31"/>
                  </a:lnTo>
                  <a:lnTo>
                    <a:pt x="283" y="44"/>
                  </a:lnTo>
                  <a:lnTo>
                    <a:pt x="281" y="59"/>
                  </a:lnTo>
                  <a:lnTo>
                    <a:pt x="275" y="71"/>
                  </a:lnTo>
                  <a:lnTo>
                    <a:pt x="265" y="81"/>
                  </a:lnTo>
                  <a:lnTo>
                    <a:pt x="253" y="87"/>
                  </a:lnTo>
                  <a:lnTo>
                    <a:pt x="239" y="90"/>
                  </a:lnTo>
                  <a:lnTo>
                    <a:pt x="44" y="90"/>
                  </a:lnTo>
                  <a:lnTo>
                    <a:pt x="30" y="87"/>
                  </a:lnTo>
                  <a:lnTo>
                    <a:pt x="17" y="81"/>
                  </a:lnTo>
                  <a:lnTo>
                    <a:pt x="7" y="71"/>
                  </a:lnTo>
                  <a:lnTo>
                    <a:pt x="2" y="59"/>
                  </a:lnTo>
                  <a:lnTo>
                    <a:pt x="0" y="44"/>
                  </a:lnTo>
                  <a:lnTo>
                    <a:pt x="2" y="31"/>
                  </a:lnTo>
                  <a:lnTo>
                    <a:pt x="7" y="18"/>
                  </a:lnTo>
                  <a:lnTo>
                    <a:pt x="17" y="8"/>
                  </a:lnTo>
                  <a:lnTo>
                    <a:pt x="30" y="2"/>
                  </a:lnTo>
                  <a:lnTo>
                    <a:pt x="44" y="0"/>
                  </a:lnTo>
                  <a:close/>
                </a:path>
              </a:pathLst>
            </a:custGeom>
            <a:solidFill>
              <a:schemeClr val="accent5"/>
            </a:solidFill>
            <a:ln>
              <a:noFill/>
            </a:ln>
          </p:spPr>
          <p:txBody>
            <a:bodyPr/>
            <a:lstStyle/>
            <a:p>
              <a:endParaRPr lang="de-DE" dirty="0"/>
            </a:p>
          </p:txBody>
        </p:sp>
        <p:sp>
          <p:nvSpPr>
            <p:cNvPr id="426" name="Freeform 332"/>
            <p:cNvSpPr>
              <a:spLocks/>
            </p:cNvSpPr>
            <p:nvPr/>
          </p:nvSpPr>
          <p:spPr bwMode="auto">
            <a:xfrm>
              <a:off x="11388644" y="5653656"/>
              <a:ext cx="47620" cy="14289"/>
            </a:xfrm>
            <a:custGeom>
              <a:avLst/>
              <a:gdLst>
                <a:gd name="T0" fmla="*/ 46 w 304"/>
                <a:gd name="T1" fmla="*/ 0 h 94"/>
                <a:gd name="T2" fmla="*/ 257 w 304"/>
                <a:gd name="T3" fmla="*/ 0 h 94"/>
                <a:gd name="T4" fmla="*/ 272 w 304"/>
                <a:gd name="T5" fmla="*/ 2 h 94"/>
                <a:gd name="T6" fmla="*/ 285 w 304"/>
                <a:gd name="T7" fmla="*/ 9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7 w 304"/>
                <a:gd name="T23" fmla="*/ 94 h 94"/>
                <a:gd name="T24" fmla="*/ 46 w 304"/>
                <a:gd name="T25" fmla="*/ 94 h 94"/>
                <a:gd name="T26" fmla="*/ 32 w 304"/>
                <a:gd name="T27" fmla="*/ 92 h 94"/>
                <a:gd name="T28" fmla="*/ 18 w 304"/>
                <a:gd name="T29" fmla="*/ 85 h 94"/>
                <a:gd name="T30" fmla="*/ 8 w 304"/>
                <a:gd name="T31" fmla="*/ 75 h 94"/>
                <a:gd name="T32" fmla="*/ 2 w 304"/>
                <a:gd name="T33" fmla="*/ 62 h 94"/>
                <a:gd name="T34" fmla="*/ 0 w 304"/>
                <a:gd name="T35" fmla="*/ 47 h 94"/>
                <a:gd name="T36" fmla="*/ 2 w 304"/>
                <a:gd name="T37" fmla="*/ 32 h 94"/>
                <a:gd name="T38" fmla="*/ 8 w 304"/>
                <a:gd name="T39" fmla="*/ 20 h 94"/>
                <a:gd name="T40" fmla="*/ 18 w 304"/>
                <a:gd name="T41" fmla="*/ 9 h 94"/>
                <a:gd name="T42" fmla="*/ 32 w 304"/>
                <a:gd name="T43" fmla="*/ 2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7" y="0"/>
                  </a:lnTo>
                  <a:lnTo>
                    <a:pt x="272" y="2"/>
                  </a:lnTo>
                  <a:lnTo>
                    <a:pt x="285" y="9"/>
                  </a:lnTo>
                  <a:lnTo>
                    <a:pt x="295" y="20"/>
                  </a:lnTo>
                  <a:lnTo>
                    <a:pt x="302" y="32"/>
                  </a:lnTo>
                  <a:lnTo>
                    <a:pt x="304" y="47"/>
                  </a:lnTo>
                  <a:lnTo>
                    <a:pt x="302" y="62"/>
                  </a:lnTo>
                  <a:lnTo>
                    <a:pt x="295" y="75"/>
                  </a:lnTo>
                  <a:lnTo>
                    <a:pt x="285" y="85"/>
                  </a:lnTo>
                  <a:lnTo>
                    <a:pt x="272" y="92"/>
                  </a:lnTo>
                  <a:lnTo>
                    <a:pt x="257" y="94"/>
                  </a:lnTo>
                  <a:lnTo>
                    <a:pt x="46" y="94"/>
                  </a:lnTo>
                  <a:lnTo>
                    <a:pt x="32" y="92"/>
                  </a:lnTo>
                  <a:lnTo>
                    <a:pt x="18" y="85"/>
                  </a:lnTo>
                  <a:lnTo>
                    <a:pt x="8" y="75"/>
                  </a:lnTo>
                  <a:lnTo>
                    <a:pt x="2" y="62"/>
                  </a:lnTo>
                  <a:lnTo>
                    <a:pt x="0" y="47"/>
                  </a:lnTo>
                  <a:lnTo>
                    <a:pt x="2" y="32"/>
                  </a:lnTo>
                  <a:lnTo>
                    <a:pt x="8" y="20"/>
                  </a:lnTo>
                  <a:lnTo>
                    <a:pt x="18" y="9"/>
                  </a:lnTo>
                  <a:lnTo>
                    <a:pt x="32" y="2"/>
                  </a:lnTo>
                  <a:lnTo>
                    <a:pt x="46" y="0"/>
                  </a:lnTo>
                  <a:close/>
                </a:path>
              </a:pathLst>
            </a:custGeom>
            <a:solidFill>
              <a:schemeClr val="accent5"/>
            </a:solidFill>
            <a:ln>
              <a:noFill/>
            </a:ln>
          </p:spPr>
          <p:txBody>
            <a:bodyPr/>
            <a:lstStyle/>
            <a:p>
              <a:endParaRPr lang="de-DE" dirty="0"/>
            </a:p>
          </p:txBody>
        </p:sp>
        <p:sp>
          <p:nvSpPr>
            <p:cNvPr id="427" name="Freeform 333"/>
            <p:cNvSpPr>
              <a:spLocks/>
            </p:cNvSpPr>
            <p:nvPr/>
          </p:nvSpPr>
          <p:spPr bwMode="auto">
            <a:xfrm>
              <a:off x="10971173" y="5701287"/>
              <a:ext cx="53970" cy="15877"/>
            </a:xfrm>
            <a:custGeom>
              <a:avLst/>
              <a:gdLst>
                <a:gd name="T0" fmla="*/ 49 w 341"/>
                <a:gd name="T1" fmla="*/ 0 h 100"/>
                <a:gd name="T2" fmla="*/ 291 w 341"/>
                <a:gd name="T3" fmla="*/ 0 h 100"/>
                <a:gd name="T4" fmla="*/ 307 w 341"/>
                <a:gd name="T5" fmla="*/ 2 h 100"/>
                <a:gd name="T6" fmla="*/ 320 w 341"/>
                <a:gd name="T7" fmla="*/ 10 h 100"/>
                <a:gd name="T8" fmla="*/ 332 w 341"/>
                <a:gd name="T9" fmla="*/ 21 h 100"/>
                <a:gd name="T10" fmla="*/ 338 w 341"/>
                <a:gd name="T11" fmla="*/ 34 h 100"/>
                <a:gd name="T12" fmla="*/ 341 w 341"/>
                <a:gd name="T13" fmla="*/ 49 h 100"/>
                <a:gd name="T14" fmla="*/ 338 w 341"/>
                <a:gd name="T15" fmla="*/ 66 h 100"/>
                <a:gd name="T16" fmla="*/ 332 w 341"/>
                <a:gd name="T17" fmla="*/ 79 h 100"/>
                <a:gd name="T18" fmla="*/ 320 w 341"/>
                <a:gd name="T19" fmla="*/ 90 h 100"/>
                <a:gd name="T20" fmla="*/ 307 w 341"/>
                <a:gd name="T21" fmla="*/ 97 h 100"/>
                <a:gd name="T22" fmla="*/ 291 w 341"/>
                <a:gd name="T23" fmla="*/ 100 h 100"/>
                <a:gd name="T24" fmla="*/ 49 w 341"/>
                <a:gd name="T25" fmla="*/ 100 h 100"/>
                <a:gd name="T26" fmla="*/ 34 w 341"/>
                <a:gd name="T27" fmla="*/ 97 h 100"/>
                <a:gd name="T28" fmla="*/ 20 w 341"/>
                <a:gd name="T29" fmla="*/ 90 h 100"/>
                <a:gd name="T30" fmla="*/ 10 w 341"/>
                <a:gd name="T31" fmla="*/ 79 h 100"/>
                <a:gd name="T32" fmla="*/ 2 w 341"/>
                <a:gd name="T33" fmla="*/ 66 h 100"/>
                <a:gd name="T34" fmla="*/ 0 w 341"/>
                <a:gd name="T35" fmla="*/ 49 h 100"/>
                <a:gd name="T36" fmla="*/ 2 w 341"/>
                <a:gd name="T37" fmla="*/ 34 h 100"/>
                <a:gd name="T38" fmla="*/ 10 w 341"/>
                <a:gd name="T39" fmla="*/ 21 h 100"/>
                <a:gd name="T40" fmla="*/ 20 w 341"/>
                <a:gd name="T41" fmla="*/ 10 h 100"/>
                <a:gd name="T42" fmla="*/ 34 w 341"/>
                <a:gd name="T43" fmla="*/ 2 h 100"/>
                <a:gd name="T44" fmla="*/ 49 w 341"/>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1" h="100">
                  <a:moveTo>
                    <a:pt x="49" y="0"/>
                  </a:moveTo>
                  <a:lnTo>
                    <a:pt x="291" y="0"/>
                  </a:lnTo>
                  <a:lnTo>
                    <a:pt x="307" y="2"/>
                  </a:lnTo>
                  <a:lnTo>
                    <a:pt x="320" y="10"/>
                  </a:lnTo>
                  <a:lnTo>
                    <a:pt x="332" y="21"/>
                  </a:lnTo>
                  <a:lnTo>
                    <a:pt x="338" y="34"/>
                  </a:lnTo>
                  <a:lnTo>
                    <a:pt x="341" y="49"/>
                  </a:lnTo>
                  <a:lnTo>
                    <a:pt x="338" y="66"/>
                  </a:lnTo>
                  <a:lnTo>
                    <a:pt x="332" y="79"/>
                  </a:lnTo>
                  <a:lnTo>
                    <a:pt x="320" y="90"/>
                  </a:lnTo>
                  <a:lnTo>
                    <a:pt x="307" y="97"/>
                  </a:lnTo>
                  <a:lnTo>
                    <a:pt x="291" y="100"/>
                  </a:lnTo>
                  <a:lnTo>
                    <a:pt x="49" y="100"/>
                  </a:lnTo>
                  <a:lnTo>
                    <a:pt x="34" y="97"/>
                  </a:lnTo>
                  <a:lnTo>
                    <a:pt x="20" y="90"/>
                  </a:lnTo>
                  <a:lnTo>
                    <a:pt x="10" y="79"/>
                  </a:lnTo>
                  <a:lnTo>
                    <a:pt x="2" y="66"/>
                  </a:lnTo>
                  <a:lnTo>
                    <a:pt x="0" y="49"/>
                  </a:lnTo>
                  <a:lnTo>
                    <a:pt x="2" y="34"/>
                  </a:lnTo>
                  <a:lnTo>
                    <a:pt x="10" y="21"/>
                  </a:lnTo>
                  <a:lnTo>
                    <a:pt x="20" y="10"/>
                  </a:lnTo>
                  <a:lnTo>
                    <a:pt x="34" y="2"/>
                  </a:lnTo>
                  <a:lnTo>
                    <a:pt x="49" y="0"/>
                  </a:lnTo>
                  <a:close/>
                </a:path>
              </a:pathLst>
            </a:custGeom>
            <a:solidFill>
              <a:schemeClr val="accent5"/>
            </a:solidFill>
            <a:ln>
              <a:noFill/>
            </a:ln>
          </p:spPr>
          <p:txBody>
            <a:bodyPr/>
            <a:lstStyle/>
            <a:p>
              <a:endParaRPr lang="de-DE" dirty="0"/>
            </a:p>
          </p:txBody>
        </p:sp>
        <p:sp>
          <p:nvSpPr>
            <p:cNvPr id="428" name="Freeform 334"/>
            <p:cNvSpPr>
              <a:spLocks/>
            </p:cNvSpPr>
            <p:nvPr/>
          </p:nvSpPr>
          <p:spPr bwMode="auto">
            <a:xfrm>
              <a:off x="11053715" y="5704462"/>
              <a:ext cx="41271" cy="14289"/>
            </a:xfrm>
            <a:custGeom>
              <a:avLst/>
              <a:gdLst>
                <a:gd name="T0" fmla="*/ 43 w 261"/>
                <a:gd name="T1" fmla="*/ 0 h 87"/>
                <a:gd name="T2" fmla="*/ 218 w 261"/>
                <a:gd name="T3" fmla="*/ 0 h 87"/>
                <a:gd name="T4" fmla="*/ 231 w 261"/>
                <a:gd name="T5" fmla="*/ 3 h 87"/>
                <a:gd name="T6" fmla="*/ 243 w 261"/>
                <a:gd name="T7" fmla="*/ 9 h 87"/>
                <a:gd name="T8" fmla="*/ 252 w 261"/>
                <a:gd name="T9" fmla="*/ 18 h 87"/>
                <a:gd name="T10" fmla="*/ 259 w 261"/>
                <a:gd name="T11" fmla="*/ 30 h 87"/>
                <a:gd name="T12" fmla="*/ 261 w 261"/>
                <a:gd name="T13" fmla="*/ 43 h 87"/>
                <a:gd name="T14" fmla="*/ 259 w 261"/>
                <a:gd name="T15" fmla="*/ 57 h 87"/>
                <a:gd name="T16" fmla="*/ 252 w 261"/>
                <a:gd name="T17" fmla="*/ 69 h 87"/>
                <a:gd name="T18" fmla="*/ 243 w 261"/>
                <a:gd name="T19" fmla="*/ 78 h 87"/>
                <a:gd name="T20" fmla="*/ 231 w 261"/>
                <a:gd name="T21" fmla="*/ 84 h 87"/>
                <a:gd name="T22" fmla="*/ 218 w 261"/>
                <a:gd name="T23" fmla="*/ 87 h 87"/>
                <a:gd name="T24" fmla="*/ 43 w 261"/>
                <a:gd name="T25" fmla="*/ 87 h 87"/>
                <a:gd name="T26" fmla="*/ 28 w 261"/>
                <a:gd name="T27" fmla="*/ 84 h 87"/>
                <a:gd name="T28" fmla="*/ 17 w 261"/>
                <a:gd name="T29" fmla="*/ 78 h 87"/>
                <a:gd name="T30" fmla="*/ 7 w 261"/>
                <a:gd name="T31" fmla="*/ 69 h 87"/>
                <a:gd name="T32" fmla="*/ 2 w 261"/>
                <a:gd name="T33" fmla="*/ 57 h 87"/>
                <a:gd name="T34" fmla="*/ 0 w 261"/>
                <a:gd name="T35" fmla="*/ 43 h 87"/>
                <a:gd name="T36" fmla="*/ 2 w 261"/>
                <a:gd name="T37" fmla="*/ 30 h 87"/>
                <a:gd name="T38" fmla="*/ 7 w 261"/>
                <a:gd name="T39" fmla="*/ 18 h 87"/>
                <a:gd name="T40" fmla="*/ 17 w 261"/>
                <a:gd name="T41" fmla="*/ 9 h 87"/>
                <a:gd name="T42" fmla="*/ 28 w 261"/>
                <a:gd name="T43" fmla="*/ 3 h 87"/>
                <a:gd name="T44" fmla="*/ 43 w 26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7">
                  <a:moveTo>
                    <a:pt x="43" y="0"/>
                  </a:moveTo>
                  <a:lnTo>
                    <a:pt x="218" y="0"/>
                  </a:lnTo>
                  <a:lnTo>
                    <a:pt x="231" y="3"/>
                  </a:lnTo>
                  <a:lnTo>
                    <a:pt x="243" y="9"/>
                  </a:lnTo>
                  <a:lnTo>
                    <a:pt x="252" y="18"/>
                  </a:lnTo>
                  <a:lnTo>
                    <a:pt x="259" y="30"/>
                  </a:lnTo>
                  <a:lnTo>
                    <a:pt x="261" y="43"/>
                  </a:lnTo>
                  <a:lnTo>
                    <a:pt x="259" y="57"/>
                  </a:lnTo>
                  <a:lnTo>
                    <a:pt x="252" y="69"/>
                  </a:lnTo>
                  <a:lnTo>
                    <a:pt x="243" y="78"/>
                  </a:lnTo>
                  <a:lnTo>
                    <a:pt x="231" y="84"/>
                  </a:lnTo>
                  <a:lnTo>
                    <a:pt x="218" y="87"/>
                  </a:lnTo>
                  <a:lnTo>
                    <a:pt x="43" y="87"/>
                  </a:lnTo>
                  <a:lnTo>
                    <a:pt x="28" y="84"/>
                  </a:lnTo>
                  <a:lnTo>
                    <a:pt x="17" y="78"/>
                  </a:lnTo>
                  <a:lnTo>
                    <a:pt x="7" y="69"/>
                  </a:lnTo>
                  <a:lnTo>
                    <a:pt x="2" y="57"/>
                  </a:lnTo>
                  <a:lnTo>
                    <a:pt x="0" y="43"/>
                  </a:lnTo>
                  <a:lnTo>
                    <a:pt x="2" y="30"/>
                  </a:lnTo>
                  <a:lnTo>
                    <a:pt x="7" y="18"/>
                  </a:lnTo>
                  <a:lnTo>
                    <a:pt x="17" y="9"/>
                  </a:lnTo>
                  <a:lnTo>
                    <a:pt x="28" y="3"/>
                  </a:lnTo>
                  <a:lnTo>
                    <a:pt x="43" y="0"/>
                  </a:lnTo>
                  <a:close/>
                </a:path>
              </a:pathLst>
            </a:custGeom>
            <a:solidFill>
              <a:schemeClr val="accent5"/>
            </a:solidFill>
            <a:ln>
              <a:noFill/>
            </a:ln>
          </p:spPr>
          <p:txBody>
            <a:bodyPr/>
            <a:lstStyle/>
            <a:p>
              <a:endParaRPr lang="de-DE" dirty="0"/>
            </a:p>
          </p:txBody>
        </p:sp>
        <p:sp>
          <p:nvSpPr>
            <p:cNvPr id="429" name="Freeform 335"/>
            <p:cNvSpPr>
              <a:spLocks/>
            </p:cNvSpPr>
            <p:nvPr/>
          </p:nvSpPr>
          <p:spPr bwMode="auto">
            <a:xfrm>
              <a:off x="11110859" y="5701287"/>
              <a:ext cx="47620" cy="14289"/>
            </a:xfrm>
            <a:custGeom>
              <a:avLst/>
              <a:gdLst>
                <a:gd name="T0" fmla="*/ 46 w 295"/>
                <a:gd name="T1" fmla="*/ 0 h 91"/>
                <a:gd name="T2" fmla="*/ 249 w 295"/>
                <a:gd name="T3" fmla="*/ 0 h 91"/>
                <a:gd name="T4" fmla="*/ 263 w 295"/>
                <a:gd name="T5" fmla="*/ 2 h 91"/>
                <a:gd name="T6" fmla="*/ 276 w 295"/>
                <a:gd name="T7" fmla="*/ 9 h 91"/>
                <a:gd name="T8" fmla="*/ 286 w 295"/>
                <a:gd name="T9" fmla="*/ 18 h 91"/>
                <a:gd name="T10" fmla="*/ 293 w 295"/>
                <a:gd name="T11" fmla="*/ 31 h 91"/>
                <a:gd name="T12" fmla="*/ 295 w 295"/>
                <a:gd name="T13" fmla="*/ 45 h 91"/>
                <a:gd name="T14" fmla="*/ 293 w 295"/>
                <a:gd name="T15" fmla="*/ 60 h 91"/>
                <a:gd name="T16" fmla="*/ 286 w 295"/>
                <a:gd name="T17" fmla="*/ 73 h 91"/>
                <a:gd name="T18" fmla="*/ 276 w 295"/>
                <a:gd name="T19" fmla="*/ 83 h 91"/>
                <a:gd name="T20" fmla="*/ 263 w 295"/>
                <a:gd name="T21" fmla="*/ 89 h 91"/>
                <a:gd name="T22" fmla="*/ 249 w 295"/>
                <a:gd name="T23" fmla="*/ 91 h 91"/>
                <a:gd name="T24" fmla="*/ 46 w 295"/>
                <a:gd name="T25" fmla="*/ 91 h 91"/>
                <a:gd name="T26" fmla="*/ 32 w 295"/>
                <a:gd name="T27" fmla="*/ 89 h 91"/>
                <a:gd name="T28" fmla="*/ 18 w 295"/>
                <a:gd name="T29" fmla="*/ 83 h 91"/>
                <a:gd name="T30" fmla="*/ 8 w 295"/>
                <a:gd name="T31" fmla="*/ 73 h 91"/>
                <a:gd name="T32" fmla="*/ 3 w 295"/>
                <a:gd name="T33" fmla="*/ 60 h 91"/>
                <a:gd name="T34" fmla="*/ 0 w 295"/>
                <a:gd name="T35" fmla="*/ 45 h 91"/>
                <a:gd name="T36" fmla="*/ 3 w 295"/>
                <a:gd name="T37" fmla="*/ 31 h 91"/>
                <a:gd name="T38" fmla="*/ 8 w 295"/>
                <a:gd name="T39" fmla="*/ 18 h 91"/>
                <a:gd name="T40" fmla="*/ 18 w 295"/>
                <a:gd name="T41" fmla="*/ 9 h 91"/>
                <a:gd name="T42" fmla="*/ 32 w 295"/>
                <a:gd name="T43" fmla="*/ 2 h 91"/>
                <a:gd name="T44" fmla="*/ 46 w 295"/>
                <a:gd name="T4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5" h="91">
                  <a:moveTo>
                    <a:pt x="46" y="0"/>
                  </a:moveTo>
                  <a:lnTo>
                    <a:pt x="249" y="0"/>
                  </a:lnTo>
                  <a:lnTo>
                    <a:pt x="263" y="2"/>
                  </a:lnTo>
                  <a:lnTo>
                    <a:pt x="276" y="9"/>
                  </a:lnTo>
                  <a:lnTo>
                    <a:pt x="286" y="18"/>
                  </a:lnTo>
                  <a:lnTo>
                    <a:pt x="293" y="31"/>
                  </a:lnTo>
                  <a:lnTo>
                    <a:pt x="295" y="45"/>
                  </a:lnTo>
                  <a:lnTo>
                    <a:pt x="293" y="60"/>
                  </a:lnTo>
                  <a:lnTo>
                    <a:pt x="286" y="73"/>
                  </a:lnTo>
                  <a:lnTo>
                    <a:pt x="276" y="83"/>
                  </a:lnTo>
                  <a:lnTo>
                    <a:pt x="263" y="89"/>
                  </a:lnTo>
                  <a:lnTo>
                    <a:pt x="249" y="91"/>
                  </a:lnTo>
                  <a:lnTo>
                    <a:pt x="46" y="91"/>
                  </a:lnTo>
                  <a:lnTo>
                    <a:pt x="32" y="89"/>
                  </a:lnTo>
                  <a:lnTo>
                    <a:pt x="18" y="83"/>
                  </a:lnTo>
                  <a:lnTo>
                    <a:pt x="8" y="73"/>
                  </a:lnTo>
                  <a:lnTo>
                    <a:pt x="3" y="60"/>
                  </a:lnTo>
                  <a:lnTo>
                    <a:pt x="0" y="45"/>
                  </a:lnTo>
                  <a:lnTo>
                    <a:pt x="3" y="31"/>
                  </a:lnTo>
                  <a:lnTo>
                    <a:pt x="8" y="18"/>
                  </a:lnTo>
                  <a:lnTo>
                    <a:pt x="18" y="9"/>
                  </a:lnTo>
                  <a:lnTo>
                    <a:pt x="32" y="2"/>
                  </a:lnTo>
                  <a:lnTo>
                    <a:pt x="46" y="0"/>
                  </a:lnTo>
                  <a:close/>
                </a:path>
              </a:pathLst>
            </a:custGeom>
            <a:solidFill>
              <a:schemeClr val="accent5"/>
            </a:solidFill>
            <a:ln>
              <a:noFill/>
            </a:ln>
          </p:spPr>
          <p:txBody>
            <a:bodyPr/>
            <a:lstStyle/>
            <a:p>
              <a:endParaRPr lang="de-DE" dirty="0"/>
            </a:p>
          </p:txBody>
        </p:sp>
        <p:sp>
          <p:nvSpPr>
            <p:cNvPr id="430" name="Freeform 336"/>
            <p:cNvSpPr>
              <a:spLocks/>
            </p:cNvSpPr>
            <p:nvPr/>
          </p:nvSpPr>
          <p:spPr bwMode="auto">
            <a:xfrm>
              <a:off x="11188639" y="5706050"/>
              <a:ext cx="46033" cy="14289"/>
            </a:xfrm>
            <a:custGeom>
              <a:avLst/>
              <a:gdLst>
                <a:gd name="T0" fmla="*/ 46 w 292"/>
                <a:gd name="T1" fmla="*/ 0 h 90"/>
                <a:gd name="T2" fmla="*/ 246 w 292"/>
                <a:gd name="T3" fmla="*/ 0 h 90"/>
                <a:gd name="T4" fmla="*/ 261 w 292"/>
                <a:gd name="T5" fmla="*/ 2 h 90"/>
                <a:gd name="T6" fmla="*/ 273 w 292"/>
                <a:gd name="T7" fmla="*/ 8 h 90"/>
                <a:gd name="T8" fmla="*/ 283 w 292"/>
                <a:gd name="T9" fmla="*/ 17 h 90"/>
                <a:gd name="T10" fmla="*/ 289 w 292"/>
                <a:gd name="T11" fmla="*/ 31 h 90"/>
                <a:gd name="T12" fmla="*/ 292 w 292"/>
                <a:gd name="T13" fmla="*/ 45 h 90"/>
                <a:gd name="T14" fmla="*/ 289 w 292"/>
                <a:gd name="T15" fmla="*/ 59 h 90"/>
                <a:gd name="T16" fmla="*/ 283 w 292"/>
                <a:gd name="T17" fmla="*/ 71 h 90"/>
                <a:gd name="T18" fmla="*/ 273 w 292"/>
                <a:gd name="T19" fmla="*/ 81 h 90"/>
                <a:gd name="T20" fmla="*/ 261 w 292"/>
                <a:gd name="T21" fmla="*/ 88 h 90"/>
                <a:gd name="T22" fmla="*/ 246 w 292"/>
                <a:gd name="T23" fmla="*/ 90 h 90"/>
                <a:gd name="T24" fmla="*/ 46 w 292"/>
                <a:gd name="T25" fmla="*/ 90 h 90"/>
                <a:gd name="T26" fmla="*/ 32 w 292"/>
                <a:gd name="T27" fmla="*/ 88 h 90"/>
                <a:gd name="T28" fmla="*/ 18 w 292"/>
                <a:gd name="T29" fmla="*/ 81 h 90"/>
                <a:gd name="T30" fmla="*/ 8 w 292"/>
                <a:gd name="T31" fmla="*/ 71 h 90"/>
                <a:gd name="T32" fmla="*/ 3 w 292"/>
                <a:gd name="T33" fmla="*/ 59 h 90"/>
                <a:gd name="T34" fmla="*/ 0 w 292"/>
                <a:gd name="T35" fmla="*/ 45 h 90"/>
                <a:gd name="T36" fmla="*/ 3 w 292"/>
                <a:gd name="T37" fmla="*/ 31 h 90"/>
                <a:gd name="T38" fmla="*/ 8 w 292"/>
                <a:gd name="T39" fmla="*/ 17 h 90"/>
                <a:gd name="T40" fmla="*/ 18 w 292"/>
                <a:gd name="T41" fmla="*/ 8 h 90"/>
                <a:gd name="T42" fmla="*/ 32 w 292"/>
                <a:gd name="T43" fmla="*/ 2 h 90"/>
                <a:gd name="T44" fmla="*/ 46 w 292"/>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0">
                  <a:moveTo>
                    <a:pt x="46" y="0"/>
                  </a:moveTo>
                  <a:lnTo>
                    <a:pt x="246" y="0"/>
                  </a:lnTo>
                  <a:lnTo>
                    <a:pt x="261" y="2"/>
                  </a:lnTo>
                  <a:lnTo>
                    <a:pt x="273" y="8"/>
                  </a:lnTo>
                  <a:lnTo>
                    <a:pt x="283" y="17"/>
                  </a:lnTo>
                  <a:lnTo>
                    <a:pt x="289" y="31"/>
                  </a:lnTo>
                  <a:lnTo>
                    <a:pt x="292" y="45"/>
                  </a:lnTo>
                  <a:lnTo>
                    <a:pt x="289" y="59"/>
                  </a:lnTo>
                  <a:lnTo>
                    <a:pt x="283" y="71"/>
                  </a:lnTo>
                  <a:lnTo>
                    <a:pt x="273" y="81"/>
                  </a:lnTo>
                  <a:lnTo>
                    <a:pt x="261" y="88"/>
                  </a:lnTo>
                  <a:lnTo>
                    <a:pt x="246" y="90"/>
                  </a:lnTo>
                  <a:lnTo>
                    <a:pt x="46" y="90"/>
                  </a:lnTo>
                  <a:lnTo>
                    <a:pt x="32" y="88"/>
                  </a:lnTo>
                  <a:lnTo>
                    <a:pt x="18" y="81"/>
                  </a:lnTo>
                  <a:lnTo>
                    <a:pt x="8" y="71"/>
                  </a:lnTo>
                  <a:lnTo>
                    <a:pt x="3" y="59"/>
                  </a:lnTo>
                  <a:lnTo>
                    <a:pt x="0" y="45"/>
                  </a:lnTo>
                  <a:lnTo>
                    <a:pt x="3" y="31"/>
                  </a:lnTo>
                  <a:lnTo>
                    <a:pt x="8" y="17"/>
                  </a:lnTo>
                  <a:lnTo>
                    <a:pt x="18" y="8"/>
                  </a:lnTo>
                  <a:lnTo>
                    <a:pt x="32" y="2"/>
                  </a:lnTo>
                  <a:lnTo>
                    <a:pt x="46" y="0"/>
                  </a:lnTo>
                  <a:close/>
                </a:path>
              </a:pathLst>
            </a:custGeom>
            <a:solidFill>
              <a:schemeClr val="accent5"/>
            </a:solidFill>
            <a:ln>
              <a:noFill/>
            </a:ln>
          </p:spPr>
          <p:txBody>
            <a:bodyPr/>
            <a:lstStyle/>
            <a:p>
              <a:endParaRPr lang="de-DE" dirty="0"/>
            </a:p>
          </p:txBody>
        </p:sp>
        <p:sp>
          <p:nvSpPr>
            <p:cNvPr id="431" name="Freeform 337"/>
            <p:cNvSpPr>
              <a:spLocks/>
            </p:cNvSpPr>
            <p:nvPr/>
          </p:nvSpPr>
          <p:spPr bwMode="auto">
            <a:xfrm>
              <a:off x="11245784" y="5704462"/>
              <a:ext cx="52382" cy="15877"/>
            </a:xfrm>
            <a:custGeom>
              <a:avLst/>
              <a:gdLst>
                <a:gd name="T0" fmla="*/ 48 w 329"/>
                <a:gd name="T1" fmla="*/ 0 h 99"/>
                <a:gd name="T2" fmla="*/ 281 w 329"/>
                <a:gd name="T3" fmla="*/ 0 h 99"/>
                <a:gd name="T4" fmla="*/ 296 w 329"/>
                <a:gd name="T5" fmla="*/ 4 h 99"/>
                <a:gd name="T6" fmla="*/ 309 w 329"/>
                <a:gd name="T7" fmla="*/ 10 h 99"/>
                <a:gd name="T8" fmla="*/ 320 w 329"/>
                <a:gd name="T9" fmla="*/ 21 h 99"/>
                <a:gd name="T10" fmla="*/ 327 w 329"/>
                <a:gd name="T11" fmla="*/ 35 h 99"/>
                <a:gd name="T12" fmla="*/ 329 w 329"/>
                <a:gd name="T13" fmla="*/ 50 h 99"/>
                <a:gd name="T14" fmla="*/ 327 w 329"/>
                <a:gd name="T15" fmla="*/ 65 h 99"/>
                <a:gd name="T16" fmla="*/ 320 w 329"/>
                <a:gd name="T17" fmla="*/ 79 h 99"/>
                <a:gd name="T18" fmla="*/ 309 w 329"/>
                <a:gd name="T19" fmla="*/ 90 h 99"/>
                <a:gd name="T20" fmla="*/ 296 w 329"/>
                <a:gd name="T21" fmla="*/ 96 h 99"/>
                <a:gd name="T22" fmla="*/ 281 w 329"/>
                <a:gd name="T23" fmla="*/ 99 h 99"/>
                <a:gd name="T24" fmla="*/ 48 w 329"/>
                <a:gd name="T25" fmla="*/ 99 h 99"/>
                <a:gd name="T26" fmla="*/ 33 w 329"/>
                <a:gd name="T27" fmla="*/ 96 h 99"/>
                <a:gd name="T28" fmla="*/ 19 w 329"/>
                <a:gd name="T29" fmla="*/ 90 h 99"/>
                <a:gd name="T30" fmla="*/ 8 w 329"/>
                <a:gd name="T31" fmla="*/ 79 h 99"/>
                <a:gd name="T32" fmla="*/ 2 w 329"/>
                <a:gd name="T33" fmla="*/ 65 h 99"/>
                <a:gd name="T34" fmla="*/ 0 w 329"/>
                <a:gd name="T35" fmla="*/ 50 h 99"/>
                <a:gd name="T36" fmla="*/ 2 w 329"/>
                <a:gd name="T37" fmla="*/ 35 h 99"/>
                <a:gd name="T38" fmla="*/ 8 w 329"/>
                <a:gd name="T39" fmla="*/ 21 h 99"/>
                <a:gd name="T40" fmla="*/ 19 w 329"/>
                <a:gd name="T41" fmla="*/ 10 h 99"/>
                <a:gd name="T42" fmla="*/ 33 w 329"/>
                <a:gd name="T43" fmla="*/ 4 h 99"/>
                <a:gd name="T44" fmla="*/ 48 w 329"/>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99">
                  <a:moveTo>
                    <a:pt x="48" y="0"/>
                  </a:moveTo>
                  <a:lnTo>
                    <a:pt x="281" y="0"/>
                  </a:lnTo>
                  <a:lnTo>
                    <a:pt x="296" y="4"/>
                  </a:lnTo>
                  <a:lnTo>
                    <a:pt x="309" y="10"/>
                  </a:lnTo>
                  <a:lnTo>
                    <a:pt x="320" y="21"/>
                  </a:lnTo>
                  <a:lnTo>
                    <a:pt x="327" y="35"/>
                  </a:lnTo>
                  <a:lnTo>
                    <a:pt x="329" y="50"/>
                  </a:lnTo>
                  <a:lnTo>
                    <a:pt x="327" y="65"/>
                  </a:lnTo>
                  <a:lnTo>
                    <a:pt x="320" y="79"/>
                  </a:lnTo>
                  <a:lnTo>
                    <a:pt x="309" y="90"/>
                  </a:lnTo>
                  <a:lnTo>
                    <a:pt x="296" y="96"/>
                  </a:lnTo>
                  <a:lnTo>
                    <a:pt x="281" y="99"/>
                  </a:lnTo>
                  <a:lnTo>
                    <a:pt x="48" y="99"/>
                  </a:lnTo>
                  <a:lnTo>
                    <a:pt x="33" y="96"/>
                  </a:lnTo>
                  <a:lnTo>
                    <a:pt x="19" y="90"/>
                  </a:lnTo>
                  <a:lnTo>
                    <a:pt x="8" y="79"/>
                  </a:lnTo>
                  <a:lnTo>
                    <a:pt x="2" y="65"/>
                  </a:lnTo>
                  <a:lnTo>
                    <a:pt x="0" y="50"/>
                  </a:lnTo>
                  <a:lnTo>
                    <a:pt x="2" y="35"/>
                  </a:lnTo>
                  <a:lnTo>
                    <a:pt x="8" y="21"/>
                  </a:lnTo>
                  <a:lnTo>
                    <a:pt x="19" y="10"/>
                  </a:lnTo>
                  <a:lnTo>
                    <a:pt x="33" y="4"/>
                  </a:lnTo>
                  <a:lnTo>
                    <a:pt x="48" y="0"/>
                  </a:lnTo>
                  <a:close/>
                </a:path>
              </a:pathLst>
            </a:custGeom>
            <a:solidFill>
              <a:schemeClr val="accent5"/>
            </a:solidFill>
            <a:ln>
              <a:noFill/>
            </a:ln>
          </p:spPr>
          <p:txBody>
            <a:bodyPr/>
            <a:lstStyle/>
            <a:p>
              <a:endParaRPr lang="de-DE" dirty="0"/>
            </a:p>
          </p:txBody>
        </p:sp>
        <p:sp>
          <p:nvSpPr>
            <p:cNvPr id="432" name="Freeform 338"/>
            <p:cNvSpPr>
              <a:spLocks/>
            </p:cNvSpPr>
            <p:nvPr/>
          </p:nvSpPr>
          <p:spPr bwMode="auto">
            <a:xfrm>
              <a:off x="11310865" y="5706050"/>
              <a:ext cx="55557" cy="15877"/>
            </a:xfrm>
            <a:custGeom>
              <a:avLst/>
              <a:gdLst>
                <a:gd name="T0" fmla="*/ 50 w 348"/>
                <a:gd name="T1" fmla="*/ 0 h 102"/>
                <a:gd name="T2" fmla="*/ 297 w 348"/>
                <a:gd name="T3" fmla="*/ 0 h 102"/>
                <a:gd name="T4" fmla="*/ 313 w 348"/>
                <a:gd name="T5" fmla="*/ 3 h 102"/>
                <a:gd name="T6" fmla="*/ 327 w 348"/>
                <a:gd name="T7" fmla="*/ 10 h 102"/>
                <a:gd name="T8" fmla="*/ 338 w 348"/>
                <a:gd name="T9" fmla="*/ 21 h 102"/>
                <a:gd name="T10" fmla="*/ 345 w 348"/>
                <a:gd name="T11" fmla="*/ 35 h 102"/>
                <a:gd name="T12" fmla="*/ 348 w 348"/>
                <a:gd name="T13" fmla="*/ 51 h 102"/>
                <a:gd name="T14" fmla="*/ 345 w 348"/>
                <a:gd name="T15" fmla="*/ 68 h 102"/>
                <a:gd name="T16" fmla="*/ 338 w 348"/>
                <a:gd name="T17" fmla="*/ 81 h 102"/>
                <a:gd name="T18" fmla="*/ 327 w 348"/>
                <a:gd name="T19" fmla="*/ 92 h 102"/>
                <a:gd name="T20" fmla="*/ 313 w 348"/>
                <a:gd name="T21" fmla="*/ 100 h 102"/>
                <a:gd name="T22" fmla="*/ 297 w 348"/>
                <a:gd name="T23" fmla="*/ 102 h 102"/>
                <a:gd name="T24" fmla="*/ 50 w 348"/>
                <a:gd name="T25" fmla="*/ 102 h 102"/>
                <a:gd name="T26" fmla="*/ 34 w 348"/>
                <a:gd name="T27" fmla="*/ 100 h 102"/>
                <a:gd name="T28" fmla="*/ 20 w 348"/>
                <a:gd name="T29" fmla="*/ 92 h 102"/>
                <a:gd name="T30" fmla="*/ 10 w 348"/>
                <a:gd name="T31" fmla="*/ 81 h 102"/>
                <a:gd name="T32" fmla="*/ 2 w 348"/>
                <a:gd name="T33" fmla="*/ 68 h 102"/>
                <a:gd name="T34" fmla="*/ 0 w 348"/>
                <a:gd name="T35" fmla="*/ 51 h 102"/>
                <a:gd name="T36" fmla="*/ 2 w 348"/>
                <a:gd name="T37" fmla="*/ 35 h 102"/>
                <a:gd name="T38" fmla="*/ 10 w 348"/>
                <a:gd name="T39" fmla="*/ 21 h 102"/>
                <a:gd name="T40" fmla="*/ 20 w 348"/>
                <a:gd name="T41" fmla="*/ 10 h 102"/>
                <a:gd name="T42" fmla="*/ 34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3" y="3"/>
                  </a:lnTo>
                  <a:lnTo>
                    <a:pt x="327" y="10"/>
                  </a:lnTo>
                  <a:lnTo>
                    <a:pt x="338" y="21"/>
                  </a:lnTo>
                  <a:lnTo>
                    <a:pt x="345" y="35"/>
                  </a:lnTo>
                  <a:lnTo>
                    <a:pt x="348" y="51"/>
                  </a:lnTo>
                  <a:lnTo>
                    <a:pt x="345" y="68"/>
                  </a:lnTo>
                  <a:lnTo>
                    <a:pt x="338" y="81"/>
                  </a:lnTo>
                  <a:lnTo>
                    <a:pt x="327" y="92"/>
                  </a:lnTo>
                  <a:lnTo>
                    <a:pt x="313" y="100"/>
                  </a:lnTo>
                  <a:lnTo>
                    <a:pt x="297" y="102"/>
                  </a:lnTo>
                  <a:lnTo>
                    <a:pt x="50" y="102"/>
                  </a:lnTo>
                  <a:lnTo>
                    <a:pt x="34" y="100"/>
                  </a:lnTo>
                  <a:lnTo>
                    <a:pt x="20" y="92"/>
                  </a:lnTo>
                  <a:lnTo>
                    <a:pt x="10" y="81"/>
                  </a:lnTo>
                  <a:lnTo>
                    <a:pt x="2" y="68"/>
                  </a:lnTo>
                  <a:lnTo>
                    <a:pt x="0" y="51"/>
                  </a:lnTo>
                  <a:lnTo>
                    <a:pt x="2" y="35"/>
                  </a:lnTo>
                  <a:lnTo>
                    <a:pt x="10" y="21"/>
                  </a:lnTo>
                  <a:lnTo>
                    <a:pt x="20" y="10"/>
                  </a:lnTo>
                  <a:lnTo>
                    <a:pt x="34" y="3"/>
                  </a:lnTo>
                  <a:lnTo>
                    <a:pt x="50" y="0"/>
                  </a:lnTo>
                  <a:close/>
                </a:path>
              </a:pathLst>
            </a:custGeom>
            <a:solidFill>
              <a:schemeClr val="accent5"/>
            </a:solidFill>
            <a:ln>
              <a:noFill/>
            </a:ln>
          </p:spPr>
          <p:txBody>
            <a:bodyPr/>
            <a:lstStyle/>
            <a:p>
              <a:endParaRPr lang="de-DE" dirty="0"/>
            </a:p>
          </p:txBody>
        </p:sp>
        <p:sp>
          <p:nvSpPr>
            <p:cNvPr id="433" name="Freeform 339"/>
            <p:cNvSpPr>
              <a:spLocks/>
            </p:cNvSpPr>
            <p:nvPr/>
          </p:nvSpPr>
          <p:spPr bwMode="auto">
            <a:xfrm>
              <a:off x="11390232" y="5707637"/>
              <a:ext cx="41271" cy="14289"/>
            </a:xfrm>
            <a:custGeom>
              <a:avLst/>
              <a:gdLst>
                <a:gd name="T0" fmla="*/ 43 w 268"/>
                <a:gd name="T1" fmla="*/ 0 h 88"/>
                <a:gd name="T2" fmla="*/ 225 w 268"/>
                <a:gd name="T3" fmla="*/ 0 h 88"/>
                <a:gd name="T4" fmla="*/ 238 w 268"/>
                <a:gd name="T5" fmla="*/ 3 h 88"/>
                <a:gd name="T6" fmla="*/ 250 w 268"/>
                <a:gd name="T7" fmla="*/ 9 h 88"/>
                <a:gd name="T8" fmla="*/ 260 w 268"/>
                <a:gd name="T9" fmla="*/ 18 h 88"/>
                <a:gd name="T10" fmla="*/ 266 w 268"/>
                <a:gd name="T11" fmla="*/ 30 h 88"/>
                <a:gd name="T12" fmla="*/ 268 w 268"/>
                <a:gd name="T13" fmla="*/ 43 h 88"/>
                <a:gd name="T14" fmla="*/ 266 w 268"/>
                <a:gd name="T15" fmla="*/ 58 h 88"/>
                <a:gd name="T16" fmla="*/ 260 w 268"/>
                <a:gd name="T17" fmla="*/ 70 h 88"/>
                <a:gd name="T18" fmla="*/ 250 w 268"/>
                <a:gd name="T19" fmla="*/ 79 h 88"/>
                <a:gd name="T20" fmla="*/ 238 w 268"/>
                <a:gd name="T21" fmla="*/ 85 h 88"/>
                <a:gd name="T22" fmla="*/ 225 w 268"/>
                <a:gd name="T23" fmla="*/ 88 h 88"/>
                <a:gd name="T24" fmla="*/ 43 w 268"/>
                <a:gd name="T25" fmla="*/ 88 h 88"/>
                <a:gd name="T26" fmla="*/ 30 w 268"/>
                <a:gd name="T27" fmla="*/ 85 h 88"/>
                <a:gd name="T28" fmla="*/ 18 w 268"/>
                <a:gd name="T29" fmla="*/ 79 h 88"/>
                <a:gd name="T30" fmla="*/ 8 w 268"/>
                <a:gd name="T31" fmla="*/ 70 h 88"/>
                <a:gd name="T32" fmla="*/ 2 w 268"/>
                <a:gd name="T33" fmla="*/ 58 h 88"/>
                <a:gd name="T34" fmla="*/ 0 w 268"/>
                <a:gd name="T35" fmla="*/ 43 h 88"/>
                <a:gd name="T36" fmla="*/ 2 w 268"/>
                <a:gd name="T37" fmla="*/ 30 h 88"/>
                <a:gd name="T38" fmla="*/ 8 w 268"/>
                <a:gd name="T39" fmla="*/ 18 h 88"/>
                <a:gd name="T40" fmla="*/ 18 w 268"/>
                <a:gd name="T41" fmla="*/ 9 h 88"/>
                <a:gd name="T42" fmla="*/ 30 w 268"/>
                <a:gd name="T43" fmla="*/ 3 h 88"/>
                <a:gd name="T44" fmla="*/ 43 w 268"/>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8" h="88">
                  <a:moveTo>
                    <a:pt x="43" y="0"/>
                  </a:moveTo>
                  <a:lnTo>
                    <a:pt x="225" y="0"/>
                  </a:lnTo>
                  <a:lnTo>
                    <a:pt x="238" y="3"/>
                  </a:lnTo>
                  <a:lnTo>
                    <a:pt x="250" y="9"/>
                  </a:lnTo>
                  <a:lnTo>
                    <a:pt x="260" y="18"/>
                  </a:lnTo>
                  <a:lnTo>
                    <a:pt x="266" y="30"/>
                  </a:lnTo>
                  <a:lnTo>
                    <a:pt x="268" y="43"/>
                  </a:lnTo>
                  <a:lnTo>
                    <a:pt x="266" y="58"/>
                  </a:lnTo>
                  <a:lnTo>
                    <a:pt x="260" y="70"/>
                  </a:lnTo>
                  <a:lnTo>
                    <a:pt x="250" y="79"/>
                  </a:lnTo>
                  <a:lnTo>
                    <a:pt x="238" y="85"/>
                  </a:lnTo>
                  <a:lnTo>
                    <a:pt x="225" y="88"/>
                  </a:lnTo>
                  <a:lnTo>
                    <a:pt x="43" y="88"/>
                  </a:lnTo>
                  <a:lnTo>
                    <a:pt x="30" y="85"/>
                  </a:lnTo>
                  <a:lnTo>
                    <a:pt x="18" y="79"/>
                  </a:lnTo>
                  <a:lnTo>
                    <a:pt x="8" y="70"/>
                  </a:lnTo>
                  <a:lnTo>
                    <a:pt x="2" y="58"/>
                  </a:lnTo>
                  <a:lnTo>
                    <a:pt x="0" y="43"/>
                  </a:lnTo>
                  <a:lnTo>
                    <a:pt x="2" y="30"/>
                  </a:lnTo>
                  <a:lnTo>
                    <a:pt x="8" y="18"/>
                  </a:lnTo>
                  <a:lnTo>
                    <a:pt x="18" y="9"/>
                  </a:lnTo>
                  <a:lnTo>
                    <a:pt x="30" y="3"/>
                  </a:lnTo>
                  <a:lnTo>
                    <a:pt x="43" y="0"/>
                  </a:lnTo>
                  <a:close/>
                </a:path>
              </a:pathLst>
            </a:custGeom>
            <a:solidFill>
              <a:schemeClr val="accent5"/>
            </a:solidFill>
            <a:ln>
              <a:noFill/>
            </a:ln>
          </p:spPr>
          <p:txBody>
            <a:bodyPr/>
            <a:lstStyle/>
            <a:p>
              <a:endParaRPr lang="de-DE" dirty="0"/>
            </a:p>
          </p:txBody>
        </p:sp>
        <p:sp>
          <p:nvSpPr>
            <p:cNvPr id="434" name="Freeform 340"/>
            <p:cNvSpPr>
              <a:spLocks/>
            </p:cNvSpPr>
            <p:nvPr/>
          </p:nvSpPr>
          <p:spPr bwMode="auto">
            <a:xfrm>
              <a:off x="10974348" y="5760031"/>
              <a:ext cx="53970" cy="15877"/>
            </a:xfrm>
            <a:custGeom>
              <a:avLst/>
              <a:gdLst>
                <a:gd name="T0" fmla="*/ 50 w 344"/>
                <a:gd name="T1" fmla="*/ 0 h 101"/>
                <a:gd name="T2" fmla="*/ 294 w 344"/>
                <a:gd name="T3" fmla="*/ 0 h 101"/>
                <a:gd name="T4" fmla="*/ 309 w 344"/>
                <a:gd name="T5" fmla="*/ 3 h 101"/>
                <a:gd name="T6" fmla="*/ 324 w 344"/>
                <a:gd name="T7" fmla="*/ 10 h 101"/>
                <a:gd name="T8" fmla="*/ 335 w 344"/>
                <a:gd name="T9" fmla="*/ 21 h 101"/>
                <a:gd name="T10" fmla="*/ 341 w 344"/>
                <a:gd name="T11" fmla="*/ 35 h 101"/>
                <a:gd name="T12" fmla="*/ 344 w 344"/>
                <a:gd name="T13" fmla="*/ 51 h 101"/>
                <a:gd name="T14" fmla="*/ 341 w 344"/>
                <a:gd name="T15" fmla="*/ 66 h 101"/>
                <a:gd name="T16" fmla="*/ 335 w 344"/>
                <a:gd name="T17" fmla="*/ 80 h 101"/>
                <a:gd name="T18" fmla="*/ 324 w 344"/>
                <a:gd name="T19" fmla="*/ 91 h 101"/>
                <a:gd name="T20" fmla="*/ 309 w 344"/>
                <a:gd name="T21" fmla="*/ 98 h 101"/>
                <a:gd name="T22" fmla="*/ 294 w 344"/>
                <a:gd name="T23" fmla="*/ 101 h 101"/>
                <a:gd name="T24" fmla="*/ 50 w 344"/>
                <a:gd name="T25" fmla="*/ 101 h 101"/>
                <a:gd name="T26" fmla="*/ 35 w 344"/>
                <a:gd name="T27" fmla="*/ 98 h 101"/>
                <a:gd name="T28" fmla="*/ 21 w 344"/>
                <a:gd name="T29" fmla="*/ 91 h 101"/>
                <a:gd name="T30" fmla="*/ 9 w 344"/>
                <a:gd name="T31" fmla="*/ 80 h 101"/>
                <a:gd name="T32" fmla="*/ 3 w 344"/>
                <a:gd name="T33" fmla="*/ 66 h 101"/>
                <a:gd name="T34" fmla="*/ 0 w 344"/>
                <a:gd name="T35" fmla="*/ 51 h 101"/>
                <a:gd name="T36" fmla="*/ 3 w 344"/>
                <a:gd name="T37" fmla="*/ 35 h 101"/>
                <a:gd name="T38" fmla="*/ 9 w 344"/>
                <a:gd name="T39" fmla="*/ 21 h 101"/>
                <a:gd name="T40" fmla="*/ 21 w 344"/>
                <a:gd name="T41" fmla="*/ 10 h 101"/>
                <a:gd name="T42" fmla="*/ 35 w 344"/>
                <a:gd name="T43" fmla="*/ 3 h 101"/>
                <a:gd name="T44" fmla="*/ 50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0" y="0"/>
                  </a:moveTo>
                  <a:lnTo>
                    <a:pt x="294" y="0"/>
                  </a:lnTo>
                  <a:lnTo>
                    <a:pt x="309" y="3"/>
                  </a:lnTo>
                  <a:lnTo>
                    <a:pt x="324" y="10"/>
                  </a:lnTo>
                  <a:lnTo>
                    <a:pt x="335" y="21"/>
                  </a:lnTo>
                  <a:lnTo>
                    <a:pt x="341" y="35"/>
                  </a:lnTo>
                  <a:lnTo>
                    <a:pt x="344" y="51"/>
                  </a:lnTo>
                  <a:lnTo>
                    <a:pt x="341" y="66"/>
                  </a:lnTo>
                  <a:lnTo>
                    <a:pt x="335" y="80"/>
                  </a:lnTo>
                  <a:lnTo>
                    <a:pt x="324" y="91"/>
                  </a:lnTo>
                  <a:lnTo>
                    <a:pt x="309" y="98"/>
                  </a:lnTo>
                  <a:lnTo>
                    <a:pt x="294" y="101"/>
                  </a:lnTo>
                  <a:lnTo>
                    <a:pt x="50" y="101"/>
                  </a:lnTo>
                  <a:lnTo>
                    <a:pt x="35" y="98"/>
                  </a:lnTo>
                  <a:lnTo>
                    <a:pt x="21" y="91"/>
                  </a:lnTo>
                  <a:lnTo>
                    <a:pt x="9" y="80"/>
                  </a:lnTo>
                  <a:lnTo>
                    <a:pt x="3" y="66"/>
                  </a:lnTo>
                  <a:lnTo>
                    <a:pt x="0" y="51"/>
                  </a:lnTo>
                  <a:lnTo>
                    <a:pt x="3" y="35"/>
                  </a:lnTo>
                  <a:lnTo>
                    <a:pt x="9" y="21"/>
                  </a:lnTo>
                  <a:lnTo>
                    <a:pt x="21" y="10"/>
                  </a:lnTo>
                  <a:lnTo>
                    <a:pt x="35" y="3"/>
                  </a:lnTo>
                  <a:lnTo>
                    <a:pt x="50" y="0"/>
                  </a:lnTo>
                  <a:close/>
                </a:path>
              </a:pathLst>
            </a:custGeom>
            <a:solidFill>
              <a:schemeClr val="accent5"/>
            </a:solidFill>
            <a:ln>
              <a:noFill/>
            </a:ln>
          </p:spPr>
          <p:txBody>
            <a:bodyPr/>
            <a:lstStyle/>
            <a:p>
              <a:endParaRPr lang="de-DE" dirty="0"/>
            </a:p>
          </p:txBody>
        </p:sp>
        <p:sp>
          <p:nvSpPr>
            <p:cNvPr id="435" name="Freeform 341"/>
            <p:cNvSpPr>
              <a:spLocks/>
            </p:cNvSpPr>
            <p:nvPr/>
          </p:nvSpPr>
          <p:spPr bwMode="auto">
            <a:xfrm>
              <a:off x="11048953" y="5756856"/>
              <a:ext cx="50795" cy="15877"/>
            </a:xfrm>
            <a:custGeom>
              <a:avLst/>
              <a:gdLst>
                <a:gd name="T0" fmla="*/ 48 w 312"/>
                <a:gd name="T1" fmla="*/ 0 h 95"/>
                <a:gd name="T2" fmla="*/ 265 w 312"/>
                <a:gd name="T3" fmla="*/ 0 h 95"/>
                <a:gd name="T4" fmla="*/ 279 w 312"/>
                <a:gd name="T5" fmla="*/ 3 h 95"/>
                <a:gd name="T6" fmla="*/ 292 w 312"/>
                <a:gd name="T7" fmla="*/ 10 h 95"/>
                <a:gd name="T8" fmla="*/ 302 w 312"/>
                <a:gd name="T9" fmla="*/ 20 h 95"/>
                <a:gd name="T10" fmla="*/ 309 w 312"/>
                <a:gd name="T11" fmla="*/ 33 h 95"/>
                <a:gd name="T12" fmla="*/ 312 w 312"/>
                <a:gd name="T13" fmla="*/ 48 h 95"/>
                <a:gd name="T14" fmla="*/ 309 w 312"/>
                <a:gd name="T15" fmla="*/ 63 h 95"/>
                <a:gd name="T16" fmla="*/ 302 w 312"/>
                <a:gd name="T17" fmla="*/ 76 h 95"/>
                <a:gd name="T18" fmla="*/ 292 w 312"/>
                <a:gd name="T19" fmla="*/ 86 h 95"/>
                <a:gd name="T20" fmla="*/ 279 w 312"/>
                <a:gd name="T21" fmla="*/ 92 h 95"/>
                <a:gd name="T22" fmla="*/ 265 w 312"/>
                <a:gd name="T23" fmla="*/ 95 h 95"/>
                <a:gd name="T24" fmla="*/ 48 w 312"/>
                <a:gd name="T25" fmla="*/ 95 h 95"/>
                <a:gd name="T26" fmla="*/ 32 w 312"/>
                <a:gd name="T27" fmla="*/ 92 h 95"/>
                <a:gd name="T28" fmla="*/ 20 w 312"/>
                <a:gd name="T29" fmla="*/ 86 h 95"/>
                <a:gd name="T30" fmla="*/ 9 w 312"/>
                <a:gd name="T31" fmla="*/ 76 h 95"/>
                <a:gd name="T32" fmla="*/ 2 w 312"/>
                <a:gd name="T33" fmla="*/ 63 h 95"/>
                <a:gd name="T34" fmla="*/ 0 w 312"/>
                <a:gd name="T35" fmla="*/ 48 h 95"/>
                <a:gd name="T36" fmla="*/ 2 w 312"/>
                <a:gd name="T37" fmla="*/ 33 h 95"/>
                <a:gd name="T38" fmla="*/ 9 w 312"/>
                <a:gd name="T39" fmla="*/ 20 h 95"/>
                <a:gd name="T40" fmla="*/ 20 w 312"/>
                <a:gd name="T41" fmla="*/ 10 h 95"/>
                <a:gd name="T42" fmla="*/ 32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5" y="0"/>
                  </a:lnTo>
                  <a:lnTo>
                    <a:pt x="279" y="3"/>
                  </a:lnTo>
                  <a:lnTo>
                    <a:pt x="292" y="10"/>
                  </a:lnTo>
                  <a:lnTo>
                    <a:pt x="302" y="20"/>
                  </a:lnTo>
                  <a:lnTo>
                    <a:pt x="309" y="33"/>
                  </a:lnTo>
                  <a:lnTo>
                    <a:pt x="312" y="48"/>
                  </a:lnTo>
                  <a:lnTo>
                    <a:pt x="309" y="63"/>
                  </a:lnTo>
                  <a:lnTo>
                    <a:pt x="302" y="76"/>
                  </a:lnTo>
                  <a:lnTo>
                    <a:pt x="292" y="86"/>
                  </a:lnTo>
                  <a:lnTo>
                    <a:pt x="279" y="92"/>
                  </a:lnTo>
                  <a:lnTo>
                    <a:pt x="265" y="95"/>
                  </a:lnTo>
                  <a:lnTo>
                    <a:pt x="48" y="95"/>
                  </a:lnTo>
                  <a:lnTo>
                    <a:pt x="32" y="92"/>
                  </a:lnTo>
                  <a:lnTo>
                    <a:pt x="20" y="86"/>
                  </a:lnTo>
                  <a:lnTo>
                    <a:pt x="9" y="76"/>
                  </a:lnTo>
                  <a:lnTo>
                    <a:pt x="2" y="63"/>
                  </a:lnTo>
                  <a:lnTo>
                    <a:pt x="0" y="48"/>
                  </a:lnTo>
                  <a:lnTo>
                    <a:pt x="2" y="33"/>
                  </a:lnTo>
                  <a:lnTo>
                    <a:pt x="9" y="20"/>
                  </a:lnTo>
                  <a:lnTo>
                    <a:pt x="20" y="10"/>
                  </a:lnTo>
                  <a:lnTo>
                    <a:pt x="32" y="3"/>
                  </a:lnTo>
                  <a:lnTo>
                    <a:pt x="48" y="0"/>
                  </a:lnTo>
                  <a:close/>
                </a:path>
              </a:pathLst>
            </a:custGeom>
            <a:solidFill>
              <a:schemeClr val="accent5"/>
            </a:solidFill>
            <a:ln>
              <a:noFill/>
            </a:ln>
          </p:spPr>
          <p:txBody>
            <a:bodyPr/>
            <a:lstStyle/>
            <a:p>
              <a:endParaRPr lang="de-DE" dirty="0"/>
            </a:p>
          </p:txBody>
        </p:sp>
        <p:sp>
          <p:nvSpPr>
            <p:cNvPr id="436" name="Freeform 342"/>
            <p:cNvSpPr>
              <a:spLocks/>
            </p:cNvSpPr>
            <p:nvPr/>
          </p:nvSpPr>
          <p:spPr bwMode="auto">
            <a:xfrm>
              <a:off x="11112447" y="5761619"/>
              <a:ext cx="49208" cy="14289"/>
            </a:xfrm>
            <a:custGeom>
              <a:avLst/>
              <a:gdLst>
                <a:gd name="T0" fmla="*/ 48 w 310"/>
                <a:gd name="T1" fmla="*/ 0 h 95"/>
                <a:gd name="T2" fmla="*/ 262 w 310"/>
                <a:gd name="T3" fmla="*/ 0 h 95"/>
                <a:gd name="T4" fmla="*/ 278 w 310"/>
                <a:gd name="T5" fmla="*/ 3 h 95"/>
                <a:gd name="T6" fmla="*/ 290 w 310"/>
                <a:gd name="T7" fmla="*/ 9 h 95"/>
                <a:gd name="T8" fmla="*/ 301 w 310"/>
                <a:gd name="T9" fmla="*/ 19 h 95"/>
                <a:gd name="T10" fmla="*/ 308 w 310"/>
                <a:gd name="T11" fmla="*/ 32 h 95"/>
                <a:gd name="T12" fmla="*/ 310 w 310"/>
                <a:gd name="T13" fmla="*/ 48 h 95"/>
                <a:gd name="T14" fmla="*/ 308 w 310"/>
                <a:gd name="T15" fmla="*/ 62 h 95"/>
                <a:gd name="T16" fmla="*/ 301 w 310"/>
                <a:gd name="T17" fmla="*/ 76 h 95"/>
                <a:gd name="T18" fmla="*/ 290 w 310"/>
                <a:gd name="T19" fmla="*/ 85 h 95"/>
                <a:gd name="T20" fmla="*/ 278 w 310"/>
                <a:gd name="T21" fmla="*/ 92 h 95"/>
                <a:gd name="T22" fmla="*/ 262 w 310"/>
                <a:gd name="T23" fmla="*/ 95 h 95"/>
                <a:gd name="T24" fmla="*/ 48 w 310"/>
                <a:gd name="T25" fmla="*/ 95 h 95"/>
                <a:gd name="T26" fmla="*/ 32 w 310"/>
                <a:gd name="T27" fmla="*/ 92 h 95"/>
                <a:gd name="T28" fmla="*/ 19 w 310"/>
                <a:gd name="T29" fmla="*/ 85 h 95"/>
                <a:gd name="T30" fmla="*/ 9 w 310"/>
                <a:gd name="T31" fmla="*/ 76 h 95"/>
                <a:gd name="T32" fmla="*/ 2 w 310"/>
                <a:gd name="T33" fmla="*/ 62 h 95"/>
                <a:gd name="T34" fmla="*/ 0 w 310"/>
                <a:gd name="T35" fmla="*/ 48 h 95"/>
                <a:gd name="T36" fmla="*/ 2 w 310"/>
                <a:gd name="T37" fmla="*/ 32 h 95"/>
                <a:gd name="T38" fmla="*/ 9 w 310"/>
                <a:gd name="T39" fmla="*/ 19 h 95"/>
                <a:gd name="T40" fmla="*/ 19 w 310"/>
                <a:gd name="T41" fmla="*/ 9 h 95"/>
                <a:gd name="T42" fmla="*/ 32 w 310"/>
                <a:gd name="T43" fmla="*/ 3 h 95"/>
                <a:gd name="T44" fmla="*/ 48 w 310"/>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0" h="95">
                  <a:moveTo>
                    <a:pt x="48" y="0"/>
                  </a:moveTo>
                  <a:lnTo>
                    <a:pt x="262" y="0"/>
                  </a:lnTo>
                  <a:lnTo>
                    <a:pt x="278" y="3"/>
                  </a:lnTo>
                  <a:lnTo>
                    <a:pt x="290" y="9"/>
                  </a:lnTo>
                  <a:lnTo>
                    <a:pt x="301" y="19"/>
                  </a:lnTo>
                  <a:lnTo>
                    <a:pt x="308" y="32"/>
                  </a:lnTo>
                  <a:lnTo>
                    <a:pt x="310" y="48"/>
                  </a:lnTo>
                  <a:lnTo>
                    <a:pt x="308" y="62"/>
                  </a:lnTo>
                  <a:lnTo>
                    <a:pt x="301" y="76"/>
                  </a:lnTo>
                  <a:lnTo>
                    <a:pt x="290" y="85"/>
                  </a:lnTo>
                  <a:lnTo>
                    <a:pt x="278" y="92"/>
                  </a:lnTo>
                  <a:lnTo>
                    <a:pt x="262" y="95"/>
                  </a:lnTo>
                  <a:lnTo>
                    <a:pt x="48" y="95"/>
                  </a:lnTo>
                  <a:lnTo>
                    <a:pt x="32" y="92"/>
                  </a:lnTo>
                  <a:lnTo>
                    <a:pt x="19" y="85"/>
                  </a:lnTo>
                  <a:lnTo>
                    <a:pt x="9" y="76"/>
                  </a:lnTo>
                  <a:lnTo>
                    <a:pt x="2" y="62"/>
                  </a:lnTo>
                  <a:lnTo>
                    <a:pt x="0" y="48"/>
                  </a:lnTo>
                  <a:lnTo>
                    <a:pt x="2" y="32"/>
                  </a:lnTo>
                  <a:lnTo>
                    <a:pt x="9" y="19"/>
                  </a:lnTo>
                  <a:lnTo>
                    <a:pt x="19" y="9"/>
                  </a:lnTo>
                  <a:lnTo>
                    <a:pt x="32" y="3"/>
                  </a:lnTo>
                  <a:lnTo>
                    <a:pt x="48" y="0"/>
                  </a:lnTo>
                  <a:close/>
                </a:path>
              </a:pathLst>
            </a:custGeom>
            <a:solidFill>
              <a:schemeClr val="accent5"/>
            </a:solidFill>
            <a:ln>
              <a:noFill/>
            </a:ln>
          </p:spPr>
          <p:txBody>
            <a:bodyPr/>
            <a:lstStyle/>
            <a:p>
              <a:endParaRPr lang="de-DE" dirty="0"/>
            </a:p>
          </p:txBody>
        </p:sp>
        <p:sp>
          <p:nvSpPr>
            <p:cNvPr id="437" name="Freeform 343"/>
            <p:cNvSpPr>
              <a:spLocks/>
            </p:cNvSpPr>
            <p:nvPr/>
          </p:nvSpPr>
          <p:spPr bwMode="auto">
            <a:xfrm>
              <a:off x="11190227" y="5761619"/>
              <a:ext cx="39684" cy="12701"/>
            </a:xfrm>
            <a:custGeom>
              <a:avLst/>
              <a:gdLst>
                <a:gd name="T0" fmla="*/ 41 w 249"/>
                <a:gd name="T1" fmla="*/ 0 h 83"/>
                <a:gd name="T2" fmla="*/ 207 w 249"/>
                <a:gd name="T3" fmla="*/ 0 h 83"/>
                <a:gd name="T4" fmla="*/ 223 w 249"/>
                <a:gd name="T5" fmla="*/ 3 h 83"/>
                <a:gd name="T6" fmla="*/ 237 w 249"/>
                <a:gd name="T7" fmla="*/ 12 h 83"/>
                <a:gd name="T8" fmla="*/ 246 w 249"/>
                <a:gd name="T9" fmla="*/ 25 h 83"/>
                <a:gd name="T10" fmla="*/ 249 w 249"/>
                <a:gd name="T11" fmla="*/ 42 h 83"/>
                <a:gd name="T12" fmla="*/ 246 w 249"/>
                <a:gd name="T13" fmla="*/ 57 h 83"/>
                <a:gd name="T14" fmla="*/ 237 w 249"/>
                <a:gd name="T15" fmla="*/ 71 h 83"/>
                <a:gd name="T16" fmla="*/ 223 w 249"/>
                <a:gd name="T17" fmla="*/ 80 h 83"/>
                <a:gd name="T18" fmla="*/ 207 w 249"/>
                <a:gd name="T19" fmla="*/ 83 h 83"/>
                <a:gd name="T20" fmla="*/ 41 w 249"/>
                <a:gd name="T21" fmla="*/ 83 h 83"/>
                <a:gd name="T22" fmla="*/ 25 w 249"/>
                <a:gd name="T23" fmla="*/ 80 h 83"/>
                <a:gd name="T24" fmla="*/ 12 w 249"/>
                <a:gd name="T25" fmla="*/ 71 h 83"/>
                <a:gd name="T26" fmla="*/ 3 w 249"/>
                <a:gd name="T27" fmla="*/ 57 h 83"/>
                <a:gd name="T28" fmla="*/ 0 w 249"/>
                <a:gd name="T29" fmla="*/ 42 h 83"/>
                <a:gd name="T30" fmla="*/ 3 w 249"/>
                <a:gd name="T31" fmla="*/ 25 h 83"/>
                <a:gd name="T32" fmla="*/ 12 w 249"/>
                <a:gd name="T33" fmla="*/ 12 h 83"/>
                <a:gd name="T34" fmla="*/ 25 w 249"/>
                <a:gd name="T35" fmla="*/ 3 h 83"/>
                <a:gd name="T36" fmla="*/ 41 w 24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83">
                  <a:moveTo>
                    <a:pt x="41" y="0"/>
                  </a:moveTo>
                  <a:lnTo>
                    <a:pt x="207" y="0"/>
                  </a:lnTo>
                  <a:lnTo>
                    <a:pt x="223" y="3"/>
                  </a:lnTo>
                  <a:lnTo>
                    <a:pt x="237" y="12"/>
                  </a:lnTo>
                  <a:lnTo>
                    <a:pt x="246" y="25"/>
                  </a:lnTo>
                  <a:lnTo>
                    <a:pt x="249" y="42"/>
                  </a:lnTo>
                  <a:lnTo>
                    <a:pt x="246" y="57"/>
                  </a:lnTo>
                  <a:lnTo>
                    <a:pt x="237" y="71"/>
                  </a:lnTo>
                  <a:lnTo>
                    <a:pt x="223" y="80"/>
                  </a:lnTo>
                  <a:lnTo>
                    <a:pt x="207" y="83"/>
                  </a:lnTo>
                  <a:lnTo>
                    <a:pt x="41" y="83"/>
                  </a:lnTo>
                  <a:lnTo>
                    <a:pt x="25" y="80"/>
                  </a:lnTo>
                  <a:lnTo>
                    <a:pt x="12" y="71"/>
                  </a:lnTo>
                  <a:lnTo>
                    <a:pt x="3" y="57"/>
                  </a:lnTo>
                  <a:lnTo>
                    <a:pt x="0" y="42"/>
                  </a:lnTo>
                  <a:lnTo>
                    <a:pt x="3" y="25"/>
                  </a:lnTo>
                  <a:lnTo>
                    <a:pt x="12" y="12"/>
                  </a:lnTo>
                  <a:lnTo>
                    <a:pt x="25" y="3"/>
                  </a:lnTo>
                  <a:lnTo>
                    <a:pt x="41" y="0"/>
                  </a:lnTo>
                  <a:close/>
                </a:path>
              </a:pathLst>
            </a:custGeom>
            <a:solidFill>
              <a:schemeClr val="accent5"/>
            </a:solidFill>
            <a:ln>
              <a:noFill/>
            </a:ln>
          </p:spPr>
          <p:txBody>
            <a:bodyPr/>
            <a:lstStyle/>
            <a:p>
              <a:endParaRPr lang="de-DE" dirty="0"/>
            </a:p>
          </p:txBody>
        </p:sp>
        <p:sp>
          <p:nvSpPr>
            <p:cNvPr id="438" name="Freeform 344"/>
            <p:cNvSpPr>
              <a:spLocks/>
            </p:cNvSpPr>
            <p:nvPr/>
          </p:nvSpPr>
          <p:spPr bwMode="auto">
            <a:xfrm>
              <a:off x="11245784" y="5755268"/>
              <a:ext cx="50795" cy="15877"/>
            </a:xfrm>
            <a:custGeom>
              <a:avLst/>
              <a:gdLst>
                <a:gd name="T0" fmla="*/ 48 w 323"/>
                <a:gd name="T1" fmla="*/ 0 h 97"/>
                <a:gd name="T2" fmla="*/ 274 w 323"/>
                <a:gd name="T3" fmla="*/ 0 h 97"/>
                <a:gd name="T4" fmla="*/ 290 w 323"/>
                <a:gd name="T5" fmla="*/ 2 h 97"/>
                <a:gd name="T6" fmla="*/ 303 w 323"/>
                <a:gd name="T7" fmla="*/ 9 h 97"/>
                <a:gd name="T8" fmla="*/ 313 w 323"/>
                <a:gd name="T9" fmla="*/ 20 h 97"/>
                <a:gd name="T10" fmla="*/ 321 w 323"/>
                <a:gd name="T11" fmla="*/ 33 h 97"/>
                <a:gd name="T12" fmla="*/ 323 w 323"/>
                <a:gd name="T13" fmla="*/ 48 h 97"/>
                <a:gd name="T14" fmla="*/ 321 w 323"/>
                <a:gd name="T15" fmla="*/ 64 h 97"/>
                <a:gd name="T16" fmla="*/ 313 w 323"/>
                <a:gd name="T17" fmla="*/ 77 h 97"/>
                <a:gd name="T18" fmla="*/ 303 w 323"/>
                <a:gd name="T19" fmla="*/ 87 h 97"/>
                <a:gd name="T20" fmla="*/ 290 w 323"/>
                <a:gd name="T21" fmla="*/ 94 h 97"/>
                <a:gd name="T22" fmla="*/ 274 w 323"/>
                <a:gd name="T23" fmla="*/ 97 h 97"/>
                <a:gd name="T24" fmla="*/ 48 w 323"/>
                <a:gd name="T25" fmla="*/ 97 h 97"/>
                <a:gd name="T26" fmla="*/ 33 w 323"/>
                <a:gd name="T27" fmla="*/ 94 h 97"/>
                <a:gd name="T28" fmla="*/ 20 w 323"/>
                <a:gd name="T29" fmla="*/ 87 h 97"/>
                <a:gd name="T30" fmla="*/ 9 w 323"/>
                <a:gd name="T31" fmla="*/ 77 h 97"/>
                <a:gd name="T32" fmla="*/ 2 w 323"/>
                <a:gd name="T33" fmla="*/ 64 h 97"/>
                <a:gd name="T34" fmla="*/ 0 w 323"/>
                <a:gd name="T35" fmla="*/ 48 h 97"/>
                <a:gd name="T36" fmla="*/ 2 w 323"/>
                <a:gd name="T37" fmla="*/ 33 h 97"/>
                <a:gd name="T38" fmla="*/ 9 w 323"/>
                <a:gd name="T39" fmla="*/ 20 h 97"/>
                <a:gd name="T40" fmla="*/ 20 w 323"/>
                <a:gd name="T41" fmla="*/ 9 h 97"/>
                <a:gd name="T42" fmla="*/ 33 w 323"/>
                <a:gd name="T43" fmla="*/ 2 h 97"/>
                <a:gd name="T44" fmla="*/ 48 w 323"/>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97">
                  <a:moveTo>
                    <a:pt x="48" y="0"/>
                  </a:moveTo>
                  <a:lnTo>
                    <a:pt x="274" y="0"/>
                  </a:lnTo>
                  <a:lnTo>
                    <a:pt x="290" y="2"/>
                  </a:lnTo>
                  <a:lnTo>
                    <a:pt x="303" y="9"/>
                  </a:lnTo>
                  <a:lnTo>
                    <a:pt x="313" y="20"/>
                  </a:lnTo>
                  <a:lnTo>
                    <a:pt x="321" y="33"/>
                  </a:lnTo>
                  <a:lnTo>
                    <a:pt x="323" y="48"/>
                  </a:lnTo>
                  <a:lnTo>
                    <a:pt x="321" y="64"/>
                  </a:lnTo>
                  <a:lnTo>
                    <a:pt x="313" y="77"/>
                  </a:lnTo>
                  <a:lnTo>
                    <a:pt x="303" y="87"/>
                  </a:lnTo>
                  <a:lnTo>
                    <a:pt x="290" y="94"/>
                  </a:lnTo>
                  <a:lnTo>
                    <a:pt x="274" y="97"/>
                  </a:lnTo>
                  <a:lnTo>
                    <a:pt x="48" y="97"/>
                  </a:lnTo>
                  <a:lnTo>
                    <a:pt x="33" y="94"/>
                  </a:lnTo>
                  <a:lnTo>
                    <a:pt x="20" y="87"/>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439" name="Freeform 345"/>
            <p:cNvSpPr>
              <a:spLocks/>
            </p:cNvSpPr>
            <p:nvPr/>
          </p:nvSpPr>
          <p:spPr bwMode="auto">
            <a:xfrm>
              <a:off x="11310865" y="5755268"/>
              <a:ext cx="57144" cy="15877"/>
            </a:xfrm>
            <a:custGeom>
              <a:avLst/>
              <a:gdLst>
                <a:gd name="T0" fmla="*/ 52 w 356"/>
                <a:gd name="T1" fmla="*/ 0 h 102"/>
                <a:gd name="T2" fmla="*/ 304 w 356"/>
                <a:gd name="T3" fmla="*/ 0 h 102"/>
                <a:gd name="T4" fmla="*/ 321 w 356"/>
                <a:gd name="T5" fmla="*/ 3 h 102"/>
                <a:gd name="T6" fmla="*/ 335 w 356"/>
                <a:gd name="T7" fmla="*/ 10 h 102"/>
                <a:gd name="T8" fmla="*/ 346 w 356"/>
                <a:gd name="T9" fmla="*/ 21 h 102"/>
                <a:gd name="T10" fmla="*/ 353 w 356"/>
                <a:gd name="T11" fmla="*/ 35 h 102"/>
                <a:gd name="T12" fmla="*/ 356 w 356"/>
                <a:gd name="T13" fmla="*/ 51 h 102"/>
                <a:gd name="T14" fmla="*/ 353 w 356"/>
                <a:gd name="T15" fmla="*/ 68 h 102"/>
                <a:gd name="T16" fmla="*/ 346 w 356"/>
                <a:gd name="T17" fmla="*/ 81 h 102"/>
                <a:gd name="T18" fmla="*/ 335 w 356"/>
                <a:gd name="T19" fmla="*/ 92 h 102"/>
                <a:gd name="T20" fmla="*/ 321 w 356"/>
                <a:gd name="T21" fmla="*/ 100 h 102"/>
                <a:gd name="T22" fmla="*/ 304 w 356"/>
                <a:gd name="T23" fmla="*/ 102 h 102"/>
                <a:gd name="T24" fmla="*/ 52 w 356"/>
                <a:gd name="T25" fmla="*/ 102 h 102"/>
                <a:gd name="T26" fmla="*/ 35 w 356"/>
                <a:gd name="T27" fmla="*/ 100 h 102"/>
                <a:gd name="T28" fmla="*/ 21 w 356"/>
                <a:gd name="T29" fmla="*/ 92 h 102"/>
                <a:gd name="T30" fmla="*/ 10 w 356"/>
                <a:gd name="T31" fmla="*/ 81 h 102"/>
                <a:gd name="T32" fmla="*/ 3 w 356"/>
                <a:gd name="T33" fmla="*/ 68 h 102"/>
                <a:gd name="T34" fmla="*/ 0 w 356"/>
                <a:gd name="T35" fmla="*/ 51 h 102"/>
                <a:gd name="T36" fmla="*/ 3 w 356"/>
                <a:gd name="T37" fmla="*/ 35 h 102"/>
                <a:gd name="T38" fmla="*/ 10 w 356"/>
                <a:gd name="T39" fmla="*/ 21 h 102"/>
                <a:gd name="T40" fmla="*/ 21 w 356"/>
                <a:gd name="T41" fmla="*/ 10 h 102"/>
                <a:gd name="T42" fmla="*/ 35 w 356"/>
                <a:gd name="T43" fmla="*/ 3 h 102"/>
                <a:gd name="T44" fmla="*/ 52 w 356"/>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6" h="102">
                  <a:moveTo>
                    <a:pt x="52" y="0"/>
                  </a:moveTo>
                  <a:lnTo>
                    <a:pt x="304" y="0"/>
                  </a:lnTo>
                  <a:lnTo>
                    <a:pt x="321" y="3"/>
                  </a:lnTo>
                  <a:lnTo>
                    <a:pt x="335" y="10"/>
                  </a:lnTo>
                  <a:lnTo>
                    <a:pt x="346" y="21"/>
                  </a:lnTo>
                  <a:lnTo>
                    <a:pt x="353" y="35"/>
                  </a:lnTo>
                  <a:lnTo>
                    <a:pt x="356" y="51"/>
                  </a:lnTo>
                  <a:lnTo>
                    <a:pt x="353" y="68"/>
                  </a:lnTo>
                  <a:lnTo>
                    <a:pt x="346" y="81"/>
                  </a:lnTo>
                  <a:lnTo>
                    <a:pt x="335" y="92"/>
                  </a:lnTo>
                  <a:lnTo>
                    <a:pt x="321" y="100"/>
                  </a:lnTo>
                  <a:lnTo>
                    <a:pt x="304" y="102"/>
                  </a:lnTo>
                  <a:lnTo>
                    <a:pt x="52" y="102"/>
                  </a:lnTo>
                  <a:lnTo>
                    <a:pt x="35" y="100"/>
                  </a:lnTo>
                  <a:lnTo>
                    <a:pt x="21" y="92"/>
                  </a:lnTo>
                  <a:lnTo>
                    <a:pt x="10" y="81"/>
                  </a:lnTo>
                  <a:lnTo>
                    <a:pt x="3" y="68"/>
                  </a:lnTo>
                  <a:lnTo>
                    <a:pt x="0" y="51"/>
                  </a:lnTo>
                  <a:lnTo>
                    <a:pt x="3" y="35"/>
                  </a:lnTo>
                  <a:lnTo>
                    <a:pt x="10" y="21"/>
                  </a:lnTo>
                  <a:lnTo>
                    <a:pt x="21" y="10"/>
                  </a:lnTo>
                  <a:lnTo>
                    <a:pt x="35" y="3"/>
                  </a:lnTo>
                  <a:lnTo>
                    <a:pt x="52" y="0"/>
                  </a:lnTo>
                  <a:close/>
                </a:path>
              </a:pathLst>
            </a:custGeom>
            <a:solidFill>
              <a:schemeClr val="accent5"/>
            </a:solidFill>
            <a:ln>
              <a:noFill/>
            </a:ln>
          </p:spPr>
          <p:txBody>
            <a:bodyPr/>
            <a:lstStyle/>
            <a:p>
              <a:endParaRPr lang="de-DE" dirty="0"/>
            </a:p>
          </p:txBody>
        </p:sp>
        <p:sp>
          <p:nvSpPr>
            <p:cNvPr id="440" name="Freeform 346"/>
            <p:cNvSpPr>
              <a:spLocks/>
            </p:cNvSpPr>
            <p:nvPr/>
          </p:nvSpPr>
          <p:spPr bwMode="auto">
            <a:xfrm>
              <a:off x="11396581" y="5756856"/>
              <a:ext cx="44446" cy="14289"/>
            </a:xfrm>
            <a:custGeom>
              <a:avLst/>
              <a:gdLst>
                <a:gd name="T0" fmla="*/ 44 w 282"/>
                <a:gd name="T1" fmla="*/ 0 h 89"/>
                <a:gd name="T2" fmla="*/ 238 w 282"/>
                <a:gd name="T3" fmla="*/ 0 h 89"/>
                <a:gd name="T4" fmla="*/ 252 w 282"/>
                <a:gd name="T5" fmla="*/ 2 h 89"/>
                <a:gd name="T6" fmla="*/ 265 w 282"/>
                <a:gd name="T7" fmla="*/ 9 h 89"/>
                <a:gd name="T8" fmla="*/ 274 w 282"/>
                <a:gd name="T9" fmla="*/ 19 h 89"/>
                <a:gd name="T10" fmla="*/ 280 w 282"/>
                <a:gd name="T11" fmla="*/ 31 h 89"/>
                <a:gd name="T12" fmla="*/ 282 w 282"/>
                <a:gd name="T13" fmla="*/ 44 h 89"/>
                <a:gd name="T14" fmla="*/ 280 w 282"/>
                <a:gd name="T15" fmla="*/ 58 h 89"/>
                <a:gd name="T16" fmla="*/ 274 w 282"/>
                <a:gd name="T17" fmla="*/ 71 h 89"/>
                <a:gd name="T18" fmla="*/ 265 w 282"/>
                <a:gd name="T19" fmla="*/ 80 h 89"/>
                <a:gd name="T20" fmla="*/ 252 w 282"/>
                <a:gd name="T21" fmla="*/ 87 h 89"/>
                <a:gd name="T22" fmla="*/ 238 w 282"/>
                <a:gd name="T23" fmla="*/ 89 h 89"/>
                <a:gd name="T24" fmla="*/ 44 w 282"/>
                <a:gd name="T25" fmla="*/ 89 h 89"/>
                <a:gd name="T26" fmla="*/ 30 w 282"/>
                <a:gd name="T27" fmla="*/ 87 h 89"/>
                <a:gd name="T28" fmla="*/ 18 w 282"/>
                <a:gd name="T29" fmla="*/ 80 h 89"/>
                <a:gd name="T30" fmla="*/ 9 w 282"/>
                <a:gd name="T31" fmla="*/ 71 h 89"/>
                <a:gd name="T32" fmla="*/ 2 w 282"/>
                <a:gd name="T33" fmla="*/ 58 h 89"/>
                <a:gd name="T34" fmla="*/ 0 w 282"/>
                <a:gd name="T35" fmla="*/ 44 h 89"/>
                <a:gd name="T36" fmla="*/ 2 w 282"/>
                <a:gd name="T37" fmla="*/ 31 h 89"/>
                <a:gd name="T38" fmla="*/ 9 w 282"/>
                <a:gd name="T39" fmla="*/ 19 h 89"/>
                <a:gd name="T40" fmla="*/ 18 w 282"/>
                <a:gd name="T41" fmla="*/ 9 h 89"/>
                <a:gd name="T42" fmla="*/ 30 w 282"/>
                <a:gd name="T43" fmla="*/ 2 h 89"/>
                <a:gd name="T44" fmla="*/ 44 w 282"/>
                <a:gd name="T4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2" h="89">
                  <a:moveTo>
                    <a:pt x="44" y="0"/>
                  </a:moveTo>
                  <a:lnTo>
                    <a:pt x="238" y="0"/>
                  </a:lnTo>
                  <a:lnTo>
                    <a:pt x="252" y="2"/>
                  </a:lnTo>
                  <a:lnTo>
                    <a:pt x="265" y="9"/>
                  </a:lnTo>
                  <a:lnTo>
                    <a:pt x="274" y="19"/>
                  </a:lnTo>
                  <a:lnTo>
                    <a:pt x="280" y="31"/>
                  </a:lnTo>
                  <a:lnTo>
                    <a:pt x="282" y="44"/>
                  </a:lnTo>
                  <a:lnTo>
                    <a:pt x="280" y="58"/>
                  </a:lnTo>
                  <a:lnTo>
                    <a:pt x="274" y="71"/>
                  </a:lnTo>
                  <a:lnTo>
                    <a:pt x="265" y="80"/>
                  </a:lnTo>
                  <a:lnTo>
                    <a:pt x="252" y="87"/>
                  </a:lnTo>
                  <a:lnTo>
                    <a:pt x="238" y="89"/>
                  </a:lnTo>
                  <a:lnTo>
                    <a:pt x="44" y="89"/>
                  </a:lnTo>
                  <a:lnTo>
                    <a:pt x="30" y="87"/>
                  </a:lnTo>
                  <a:lnTo>
                    <a:pt x="18" y="80"/>
                  </a:lnTo>
                  <a:lnTo>
                    <a:pt x="9" y="71"/>
                  </a:lnTo>
                  <a:lnTo>
                    <a:pt x="2" y="58"/>
                  </a:lnTo>
                  <a:lnTo>
                    <a:pt x="0" y="44"/>
                  </a:lnTo>
                  <a:lnTo>
                    <a:pt x="2" y="31"/>
                  </a:lnTo>
                  <a:lnTo>
                    <a:pt x="9" y="19"/>
                  </a:lnTo>
                  <a:lnTo>
                    <a:pt x="18" y="9"/>
                  </a:lnTo>
                  <a:lnTo>
                    <a:pt x="30" y="2"/>
                  </a:lnTo>
                  <a:lnTo>
                    <a:pt x="44" y="0"/>
                  </a:lnTo>
                  <a:close/>
                </a:path>
              </a:pathLst>
            </a:custGeom>
            <a:solidFill>
              <a:schemeClr val="accent5"/>
            </a:solidFill>
            <a:ln>
              <a:noFill/>
            </a:ln>
          </p:spPr>
          <p:txBody>
            <a:bodyPr/>
            <a:lstStyle/>
            <a:p>
              <a:endParaRPr lang="de-DE" dirty="0"/>
            </a:p>
          </p:txBody>
        </p:sp>
        <p:sp>
          <p:nvSpPr>
            <p:cNvPr id="441" name="Freeform 347"/>
            <p:cNvSpPr>
              <a:spLocks/>
            </p:cNvSpPr>
            <p:nvPr/>
          </p:nvSpPr>
          <p:spPr bwMode="auto">
            <a:xfrm>
              <a:off x="10975935" y="5815600"/>
              <a:ext cx="42858" cy="14289"/>
            </a:xfrm>
            <a:custGeom>
              <a:avLst/>
              <a:gdLst>
                <a:gd name="T0" fmla="*/ 44 w 273"/>
                <a:gd name="T1" fmla="*/ 0 h 88"/>
                <a:gd name="T2" fmla="*/ 228 w 273"/>
                <a:gd name="T3" fmla="*/ 0 h 88"/>
                <a:gd name="T4" fmla="*/ 243 w 273"/>
                <a:gd name="T5" fmla="*/ 3 h 88"/>
                <a:gd name="T6" fmla="*/ 255 w 273"/>
                <a:gd name="T7" fmla="*/ 9 h 88"/>
                <a:gd name="T8" fmla="*/ 264 w 273"/>
                <a:gd name="T9" fmla="*/ 18 h 88"/>
                <a:gd name="T10" fmla="*/ 270 w 273"/>
                <a:gd name="T11" fmla="*/ 30 h 88"/>
                <a:gd name="T12" fmla="*/ 273 w 273"/>
                <a:gd name="T13" fmla="*/ 45 h 88"/>
                <a:gd name="T14" fmla="*/ 270 w 273"/>
                <a:gd name="T15" fmla="*/ 58 h 88"/>
                <a:gd name="T16" fmla="*/ 264 w 273"/>
                <a:gd name="T17" fmla="*/ 70 h 88"/>
                <a:gd name="T18" fmla="*/ 255 w 273"/>
                <a:gd name="T19" fmla="*/ 80 h 88"/>
                <a:gd name="T20" fmla="*/ 243 w 273"/>
                <a:gd name="T21" fmla="*/ 86 h 88"/>
                <a:gd name="T22" fmla="*/ 228 w 273"/>
                <a:gd name="T23" fmla="*/ 88 h 88"/>
                <a:gd name="T24" fmla="*/ 44 w 273"/>
                <a:gd name="T25" fmla="*/ 88 h 88"/>
                <a:gd name="T26" fmla="*/ 30 w 273"/>
                <a:gd name="T27" fmla="*/ 86 h 88"/>
                <a:gd name="T28" fmla="*/ 18 w 273"/>
                <a:gd name="T29" fmla="*/ 80 h 88"/>
                <a:gd name="T30" fmla="*/ 8 w 273"/>
                <a:gd name="T31" fmla="*/ 70 h 88"/>
                <a:gd name="T32" fmla="*/ 3 w 273"/>
                <a:gd name="T33" fmla="*/ 58 h 88"/>
                <a:gd name="T34" fmla="*/ 0 w 273"/>
                <a:gd name="T35" fmla="*/ 45 h 88"/>
                <a:gd name="T36" fmla="*/ 3 w 273"/>
                <a:gd name="T37" fmla="*/ 30 h 88"/>
                <a:gd name="T38" fmla="*/ 8 w 273"/>
                <a:gd name="T39" fmla="*/ 18 h 88"/>
                <a:gd name="T40" fmla="*/ 18 w 273"/>
                <a:gd name="T41" fmla="*/ 9 h 88"/>
                <a:gd name="T42" fmla="*/ 30 w 273"/>
                <a:gd name="T43" fmla="*/ 3 h 88"/>
                <a:gd name="T44" fmla="*/ 44 w 273"/>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88">
                  <a:moveTo>
                    <a:pt x="44" y="0"/>
                  </a:moveTo>
                  <a:lnTo>
                    <a:pt x="228" y="0"/>
                  </a:lnTo>
                  <a:lnTo>
                    <a:pt x="243" y="3"/>
                  </a:lnTo>
                  <a:lnTo>
                    <a:pt x="255" y="9"/>
                  </a:lnTo>
                  <a:lnTo>
                    <a:pt x="264" y="18"/>
                  </a:lnTo>
                  <a:lnTo>
                    <a:pt x="270" y="30"/>
                  </a:lnTo>
                  <a:lnTo>
                    <a:pt x="273" y="45"/>
                  </a:lnTo>
                  <a:lnTo>
                    <a:pt x="270" y="58"/>
                  </a:lnTo>
                  <a:lnTo>
                    <a:pt x="264" y="70"/>
                  </a:lnTo>
                  <a:lnTo>
                    <a:pt x="255" y="80"/>
                  </a:lnTo>
                  <a:lnTo>
                    <a:pt x="243" y="86"/>
                  </a:lnTo>
                  <a:lnTo>
                    <a:pt x="228" y="88"/>
                  </a:lnTo>
                  <a:lnTo>
                    <a:pt x="44" y="88"/>
                  </a:lnTo>
                  <a:lnTo>
                    <a:pt x="30" y="86"/>
                  </a:lnTo>
                  <a:lnTo>
                    <a:pt x="18" y="80"/>
                  </a:lnTo>
                  <a:lnTo>
                    <a:pt x="8" y="70"/>
                  </a:lnTo>
                  <a:lnTo>
                    <a:pt x="3" y="58"/>
                  </a:lnTo>
                  <a:lnTo>
                    <a:pt x="0" y="45"/>
                  </a:lnTo>
                  <a:lnTo>
                    <a:pt x="3" y="30"/>
                  </a:lnTo>
                  <a:lnTo>
                    <a:pt x="8" y="18"/>
                  </a:lnTo>
                  <a:lnTo>
                    <a:pt x="18" y="9"/>
                  </a:lnTo>
                  <a:lnTo>
                    <a:pt x="30" y="3"/>
                  </a:lnTo>
                  <a:lnTo>
                    <a:pt x="44" y="0"/>
                  </a:lnTo>
                  <a:close/>
                </a:path>
              </a:pathLst>
            </a:custGeom>
            <a:solidFill>
              <a:schemeClr val="accent5"/>
            </a:solidFill>
            <a:ln>
              <a:noFill/>
            </a:ln>
          </p:spPr>
          <p:txBody>
            <a:bodyPr/>
            <a:lstStyle/>
            <a:p>
              <a:endParaRPr lang="de-DE" dirty="0"/>
            </a:p>
          </p:txBody>
        </p:sp>
        <p:sp>
          <p:nvSpPr>
            <p:cNvPr id="442" name="Freeform 348"/>
            <p:cNvSpPr>
              <a:spLocks/>
            </p:cNvSpPr>
            <p:nvPr/>
          </p:nvSpPr>
          <p:spPr bwMode="auto">
            <a:xfrm>
              <a:off x="11045778" y="5810837"/>
              <a:ext cx="52382" cy="15877"/>
            </a:xfrm>
            <a:custGeom>
              <a:avLst/>
              <a:gdLst>
                <a:gd name="T0" fmla="*/ 48 w 327"/>
                <a:gd name="T1" fmla="*/ 0 h 97"/>
                <a:gd name="T2" fmla="*/ 279 w 327"/>
                <a:gd name="T3" fmla="*/ 0 h 97"/>
                <a:gd name="T4" fmla="*/ 294 w 327"/>
                <a:gd name="T5" fmla="*/ 2 h 97"/>
                <a:gd name="T6" fmla="*/ 307 w 327"/>
                <a:gd name="T7" fmla="*/ 9 h 97"/>
                <a:gd name="T8" fmla="*/ 317 w 327"/>
                <a:gd name="T9" fmla="*/ 20 h 97"/>
                <a:gd name="T10" fmla="*/ 325 w 327"/>
                <a:gd name="T11" fmla="*/ 33 h 97"/>
                <a:gd name="T12" fmla="*/ 327 w 327"/>
                <a:gd name="T13" fmla="*/ 48 h 97"/>
                <a:gd name="T14" fmla="*/ 325 w 327"/>
                <a:gd name="T15" fmla="*/ 64 h 97"/>
                <a:gd name="T16" fmla="*/ 317 w 327"/>
                <a:gd name="T17" fmla="*/ 77 h 97"/>
                <a:gd name="T18" fmla="*/ 307 w 327"/>
                <a:gd name="T19" fmla="*/ 88 h 97"/>
                <a:gd name="T20" fmla="*/ 294 w 327"/>
                <a:gd name="T21" fmla="*/ 95 h 97"/>
                <a:gd name="T22" fmla="*/ 279 w 327"/>
                <a:gd name="T23" fmla="*/ 97 h 97"/>
                <a:gd name="T24" fmla="*/ 48 w 327"/>
                <a:gd name="T25" fmla="*/ 97 h 97"/>
                <a:gd name="T26" fmla="*/ 33 w 327"/>
                <a:gd name="T27" fmla="*/ 95 h 97"/>
                <a:gd name="T28" fmla="*/ 20 w 327"/>
                <a:gd name="T29" fmla="*/ 88 h 97"/>
                <a:gd name="T30" fmla="*/ 9 w 327"/>
                <a:gd name="T31" fmla="*/ 77 h 97"/>
                <a:gd name="T32" fmla="*/ 2 w 327"/>
                <a:gd name="T33" fmla="*/ 64 h 97"/>
                <a:gd name="T34" fmla="*/ 0 w 327"/>
                <a:gd name="T35" fmla="*/ 48 h 97"/>
                <a:gd name="T36" fmla="*/ 2 w 327"/>
                <a:gd name="T37" fmla="*/ 33 h 97"/>
                <a:gd name="T38" fmla="*/ 9 w 327"/>
                <a:gd name="T39" fmla="*/ 20 h 97"/>
                <a:gd name="T40" fmla="*/ 20 w 327"/>
                <a:gd name="T41" fmla="*/ 9 h 97"/>
                <a:gd name="T42" fmla="*/ 33 w 327"/>
                <a:gd name="T43" fmla="*/ 2 h 97"/>
                <a:gd name="T44" fmla="*/ 48 w 327"/>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7" h="97">
                  <a:moveTo>
                    <a:pt x="48" y="0"/>
                  </a:moveTo>
                  <a:lnTo>
                    <a:pt x="279" y="0"/>
                  </a:lnTo>
                  <a:lnTo>
                    <a:pt x="294" y="2"/>
                  </a:lnTo>
                  <a:lnTo>
                    <a:pt x="307" y="9"/>
                  </a:lnTo>
                  <a:lnTo>
                    <a:pt x="317" y="20"/>
                  </a:lnTo>
                  <a:lnTo>
                    <a:pt x="325" y="33"/>
                  </a:lnTo>
                  <a:lnTo>
                    <a:pt x="327" y="48"/>
                  </a:lnTo>
                  <a:lnTo>
                    <a:pt x="325" y="64"/>
                  </a:lnTo>
                  <a:lnTo>
                    <a:pt x="317" y="77"/>
                  </a:lnTo>
                  <a:lnTo>
                    <a:pt x="307" y="88"/>
                  </a:lnTo>
                  <a:lnTo>
                    <a:pt x="294" y="95"/>
                  </a:lnTo>
                  <a:lnTo>
                    <a:pt x="279" y="97"/>
                  </a:lnTo>
                  <a:lnTo>
                    <a:pt x="48" y="97"/>
                  </a:lnTo>
                  <a:lnTo>
                    <a:pt x="33" y="95"/>
                  </a:lnTo>
                  <a:lnTo>
                    <a:pt x="20" y="88"/>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443" name="Freeform 349"/>
            <p:cNvSpPr>
              <a:spLocks/>
            </p:cNvSpPr>
            <p:nvPr/>
          </p:nvSpPr>
          <p:spPr bwMode="auto">
            <a:xfrm>
              <a:off x="11117209" y="5814012"/>
              <a:ext cx="50795" cy="14289"/>
            </a:xfrm>
            <a:custGeom>
              <a:avLst/>
              <a:gdLst>
                <a:gd name="T0" fmla="*/ 50 w 326"/>
                <a:gd name="T1" fmla="*/ 0 h 98"/>
                <a:gd name="T2" fmla="*/ 278 w 326"/>
                <a:gd name="T3" fmla="*/ 0 h 98"/>
                <a:gd name="T4" fmla="*/ 293 w 326"/>
                <a:gd name="T5" fmla="*/ 3 h 98"/>
                <a:gd name="T6" fmla="*/ 306 w 326"/>
                <a:gd name="T7" fmla="*/ 9 h 98"/>
                <a:gd name="T8" fmla="*/ 317 w 326"/>
                <a:gd name="T9" fmla="*/ 20 h 98"/>
                <a:gd name="T10" fmla="*/ 324 w 326"/>
                <a:gd name="T11" fmla="*/ 34 h 98"/>
                <a:gd name="T12" fmla="*/ 326 w 326"/>
                <a:gd name="T13" fmla="*/ 49 h 98"/>
                <a:gd name="T14" fmla="*/ 324 w 326"/>
                <a:gd name="T15" fmla="*/ 65 h 98"/>
                <a:gd name="T16" fmla="*/ 317 w 326"/>
                <a:gd name="T17" fmla="*/ 78 h 98"/>
                <a:gd name="T18" fmla="*/ 306 w 326"/>
                <a:gd name="T19" fmla="*/ 89 h 98"/>
                <a:gd name="T20" fmla="*/ 293 w 326"/>
                <a:gd name="T21" fmla="*/ 95 h 98"/>
                <a:gd name="T22" fmla="*/ 278 w 326"/>
                <a:gd name="T23" fmla="*/ 98 h 98"/>
                <a:gd name="T24" fmla="*/ 50 w 326"/>
                <a:gd name="T25" fmla="*/ 98 h 98"/>
                <a:gd name="T26" fmla="*/ 34 w 326"/>
                <a:gd name="T27" fmla="*/ 95 h 98"/>
                <a:gd name="T28" fmla="*/ 20 w 326"/>
                <a:gd name="T29" fmla="*/ 89 h 98"/>
                <a:gd name="T30" fmla="*/ 10 w 326"/>
                <a:gd name="T31" fmla="*/ 78 h 98"/>
                <a:gd name="T32" fmla="*/ 3 w 326"/>
                <a:gd name="T33" fmla="*/ 65 h 98"/>
                <a:gd name="T34" fmla="*/ 0 w 326"/>
                <a:gd name="T35" fmla="*/ 49 h 98"/>
                <a:gd name="T36" fmla="*/ 3 w 326"/>
                <a:gd name="T37" fmla="*/ 34 h 98"/>
                <a:gd name="T38" fmla="*/ 10 w 326"/>
                <a:gd name="T39" fmla="*/ 20 h 98"/>
                <a:gd name="T40" fmla="*/ 20 w 326"/>
                <a:gd name="T41" fmla="*/ 9 h 98"/>
                <a:gd name="T42" fmla="*/ 34 w 326"/>
                <a:gd name="T43" fmla="*/ 3 h 98"/>
                <a:gd name="T44" fmla="*/ 50 w 326"/>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6" h="98">
                  <a:moveTo>
                    <a:pt x="50" y="0"/>
                  </a:moveTo>
                  <a:lnTo>
                    <a:pt x="278" y="0"/>
                  </a:lnTo>
                  <a:lnTo>
                    <a:pt x="293" y="3"/>
                  </a:lnTo>
                  <a:lnTo>
                    <a:pt x="306" y="9"/>
                  </a:lnTo>
                  <a:lnTo>
                    <a:pt x="317" y="20"/>
                  </a:lnTo>
                  <a:lnTo>
                    <a:pt x="324" y="34"/>
                  </a:lnTo>
                  <a:lnTo>
                    <a:pt x="326" y="49"/>
                  </a:lnTo>
                  <a:lnTo>
                    <a:pt x="324" y="65"/>
                  </a:lnTo>
                  <a:lnTo>
                    <a:pt x="317" y="78"/>
                  </a:lnTo>
                  <a:lnTo>
                    <a:pt x="306" y="89"/>
                  </a:lnTo>
                  <a:lnTo>
                    <a:pt x="293" y="95"/>
                  </a:lnTo>
                  <a:lnTo>
                    <a:pt x="278" y="98"/>
                  </a:lnTo>
                  <a:lnTo>
                    <a:pt x="50" y="98"/>
                  </a:lnTo>
                  <a:lnTo>
                    <a:pt x="34" y="95"/>
                  </a:lnTo>
                  <a:lnTo>
                    <a:pt x="20" y="89"/>
                  </a:lnTo>
                  <a:lnTo>
                    <a:pt x="10" y="78"/>
                  </a:lnTo>
                  <a:lnTo>
                    <a:pt x="3" y="65"/>
                  </a:lnTo>
                  <a:lnTo>
                    <a:pt x="0" y="49"/>
                  </a:lnTo>
                  <a:lnTo>
                    <a:pt x="3" y="34"/>
                  </a:lnTo>
                  <a:lnTo>
                    <a:pt x="10" y="20"/>
                  </a:lnTo>
                  <a:lnTo>
                    <a:pt x="20" y="9"/>
                  </a:lnTo>
                  <a:lnTo>
                    <a:pt x="34" y="3"/>
                  </a:lnTo>
                  <a:lnTo>
                    <a:pt x="50" y="0"/>
                  </a:lnTo>
                  <a:close/>
                </a:path>
              </a:pathLst>
            </a:custGeom>
            <a:solidFill>
              <a:schemeClr val="accent5"/>
            </a:solidFill>
            <a:ln>
              <a:noFill/>
            </a:ln>
          </p:spPr>
          <p:txBody>
            <a:bodyPr/>
            <a:lstStyle/>
            <a:p>
              <a:endParaRPr lang="de-DE" dirty="0"/>
            </a:p>
          </p:txBody>
        </p:sp>
        <p:sp>
          <p:nvSpPr>
            <p:cNvPr id="444" name="Freeform 350"/>
            <p:cNvSpPr>
              <a:spLocks/>
            </p:cNvSpPr>
            <p:nvPr/>
          </p:nvSpPr>
          <p:spPr bwMode="auto">
            <a:xfrm>
              <a:off x="11182290" y="5814012"/>
              <a:ext cx="42858" cy="14289"/>
            </a:xfrm>
            <a:custGeom>
              <a:avLst/>
              <a:gdLst>
                <a:gd name="T0" fmla="*/ 43 w 265"/>
                <a:gd name="T1" fmla="*/ 0 h 87"/>
                <a:gd name="T2" fmla="*/ 222 w 265"/>
                <a:gd name="T3" fmla="*/ 0 h 87"/>
                <a:gd name="T4" fmla="*/ 235 w 265"/>
                <a:gd name="T5" fmla="*/ 2 h 87"/>
                <a:gd name="T6" fmla="*/ 247 w 265"/>
                <a:gd name="T7" fmla="*/ 9 h 87"/>
                <a:gd name="T8" fmla="*/ 257 w 265"/>
                <a:gd name="T9" fmla="*/ 17 h 87"/>
                <a:gd name="T10" fmla="*/ 263 w 265"/>
                <a:gd name="T11" fmla="*/ 30 h 87"/>
                <a:gd name="T12" fmla="*/ 265 w 265"/>
                <a:gd name="T13" fmla="*/ 44 h 87"/>
                <a:gd name="T14" fmla="*/ 263 w 265"/>
                <a:gd name="T15" fmla="*/ 57 h 87"/>
                <a:gd name="T16" fmla="*/ 257 w 265"/>
                <a:gd name="T17" fmla="*/ 69 h 87"/>
                <a:gd name="T18" fmla="*/ 247 w 265"/>
                <a:gd name="T19" fmla="*/ 78 h 87"/>
                <a:gd name="T20" fmla="*/ 235 w 265"/>
                <a:gd name="T21" fmla="*/ 85 h 87"/>
                <a:gd name="T22" fmla="*/ 222 w 265"/>
                <a:gd name="T23" fmla="*/ 87 h 87"/>
                <a:gd name="T24" fmla="*/ 43 w 265"/>
                <a:gd name="T25" fmla="*/ 87 h 87"/>
                <a:gd name="T26" fmla="*/ 29 w 265"/>
                <a:gd name="T27" fmla="*/ 85 h 87"/>
                <a:gd name="T28" fmla="*/ 17 w 265"/>
                <a:gd name="T29" fmla="*/ 78 h 87"/>
                <a:gd name="T30" fmla="*/ 8 w 265"/>
                <a:gd name="T31" fmla="*/ 69 h 87"/>
                <a:gd name="T32" fmla="*/ 2 w 265"/>
                <a:gd name="T33" fmla="*/ 57 h 87"/>
                <a:gd name="T34" fmla="*/ 0 w 265"/>
                <a:gd name="T35" fmla="*/ 44 h 87"/>
                <a:gd name="T36" fmla="*/ 2 w 265"/>
                <a:gd name="T37" fmla="*/ 30 h 87"/>
                <a:gd name="T38" fmla="*/ 8 w 265"/>
                <a:gd name="T39" fmla="*/ 17 h 87"/>
                <a:gd name="T40" fmla="*/ 17 w 265"/>
                <a:gd name="T41" fmla="*/ 9 h 87"/>
                <a:gd name="T42" fmla="*/ 29 w 265"/>
                <a:gd name="T43" fmla="*/ 2 h 87"/>
                <a:gd name="T44" fmla="*/ 43 w 265"/>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5" h="87">
                  <a:moveTo>
                    <a:pt x="43" y="0"/>
                  </a:moveTo>
                  <a:lnTo>
                    <a:pt x="222" y="0"/>
                  </a:lnTo>
                  <a:lnTo>
                    <a:pt x="235" y="2"/>
                  </a:lnTo>
                  <a:lnTo>
                    <a:pt x="247" y="9"/>
                  </a:lnTo>
                  <a:lnTo>
                    <a:pt x="257" y="17"/>
                  </a:lnTo>
                  <a:lnTo>
                    <a:pt x="263" y="30"/>
                  </a:lnTo>
                  <a:lnTo>
                    <a:pt x="265" y="44"/>
                  </a:lnTo>
                  <a:lnTo>
                    <a:pt x="263" y="57"/>
                  </a:lnTo>
                  <a:lnTo>
                    <a:pt x="257" y="69"/>
                  </a:lnTo>
                  <a:lnTo>
                    <a:pt x="247" y="78"/>
                  </a:lnTo>
                  <a:lnTo>
                    <a:pt x="235" y="85"/>
                  </a:lnTo>
                  <a:lnTo>
                    <a:pt x="222" y="87"/>
                  </a:lnTo>
                  <a:lnTo>
                    <a:pt x="43" y="87"/>
                  </a:lnTo>
                  <a:lnTo>
                    <a:pt x="29" y="85"/>
                  </a:lnTo>
                  <a:lnTo>
                    <a:pt x="17" y="78"/>
                  </a:lnTo>
                  <a:lnTo>
                    <a:pt x="8" y="69"/>
                  </a:lnTo>
                  <a:lnTo>
                    <a:pt x="2" y="57"/>
                  </a:lnTo>
                  <a:lnTo>
                    <a:pt x="0" y="44"/>
                  </a:lnTo>
                  <a:lnTo>
                    <a:pt x="2" y="30"/>
                  </a:lnTo>
                  <a:lnTo>
                    <a:pt x="8" y="17"/>
                  </a:lnTo>
                  <a:lnTo>
                    <a:pt x="17" y="9"/>
                  </a:lnTo>
                  <a:lnTo>
                    <a:pt x="29" y="2"/>
                  </a:lnTo>
                  <a:lnTo>
                    <a:pt x="43" y="0"/>
                  </a:lnTo>
                  <a:close/>
                </a:path>
              </a:pathLst>
            </a:custGeom>
            <a:solidFill>
              <a:schemeClr val="accent5"/>
            </a:solidFill>
            <a:ln>
              <a:noFill/>
            </a:ln>
          </p:spPr>
          <p:txBody>
            <a:bodyPr/>
            <a:lstStyle/>
            <a:p>
              <a:endParaRPr lang="de-DE" dirty="0"/>
            </a:p>
          </p:txBody>
        </p:sp>
        <p:sp>
          <p:nvSpPr>
            <p:cNvPr id="445" name="Freeform 351"/>
            <p:cNvSpPr>
              <a:spLocks/>
            </p:cNvSpPr>
            <p:nvPr/>
          </p:nvSpPr>
          <p:spPr bwMode="auto">
            <a:xfrm>
              <a:off x="11253720" y="5810837"/>
              <a:ext cx="55557" cy="15877"/>
            </a:xfrm>
            <a:custGeom>
              <a:avLst/>
              <a:gdLst>
                <a:gd name="T0" fmla="*/ 51 w 350"/>
                <a:gd name="T1" fmla="*/ 0 h 101"/>
                <a:gd name="T2" fmla="*/ 300 w 350"/>
                <a:gd name="T3" fmla="*/ 0 h 101"/>
                <a:gd name="T4" fmla="*/ 315 w 350"/>
                <a:gd name="T5" fmla="*/ 2 h 101"/>
                <a:gd name="T6" fmla="*/ 329 w 350"/>
                <a:gd name="T7" fmla="*/ 10 h 101"/>
                <a:gd name="T8" fmla="*/ 340 w 350"/>
                <a:gd name="T9" fmla="*/ 21 h 101"/>
                <a:gd name="T10" fmla="*/ 348 w 350"/>
                <a:gd name="T11" fmla="*/ 34 h 101"/>
                <a:gd name="T12" fmla="*/ 350 w 350"/>
                <a:gd name="T13" fmla="*/ 50 h 101"/>
                <a:gd name="T14" fmla="*/ 348 w 350"/>
                <a:gd name="T15" fmla="*/ 66 h 101"/>
                <a:gd name="T16" fmla="*/ 340 w 350"/>
                <a:gd name="T17" fmla="*/ 80 h 101"/>
                <a:gd name="T18" fmla="*/ 329 w 350"/>
                <a:gd name="T19" fmla="*/ 91 h 101"/>
                <a:gd name="T20" fmla="*/ 315 w 350"/>
                <a:gd name="T21" fmla="*/ 99 h 101"/>
                <a:gd name="T22" fmla="*/ 300 w 350"/>
                <a:gd name="T23" fmla="*/ 101 h 101"/>
                <a:gd name="T24" fmla="*/ 51 w 350"/>
                <a:gd name="T25" fmla="*/ 101 h 101"/>
                <a:gd name="T26" fmla="*/ 34 w 350"/>
                <a:gd name="T27" fmla="*/ 99 h 101"/>
                <a:gd name="T28" fmla="*/ 21 w 350"/>
                <a:gd name="T29" fmla="*/ 91 h 101"/>
                <a:gd name="T30" fmla="*/ 10 w 350"/>
                <a:gd name="T31" fmla="*/ 80 h 101"/>
                <a:gd name="T32" fmla="*/ 2 w 350"/>
                <a:gd name="T33" fmla="*/ 66 h 101"/>
                <a:gd name="T34" fmla="*/ 0 w 350"/>
                <a:gd name="T35" fmla="*/ 50 h 101"/>
                <a:gd name="T36" fmla="*/ 2 w 350"/>
                <a:gd name="T37" fmla="*/ 34 h 101"/>
                <a:gd name="T38" fmla="*/ 10 w 350"/>
                <a:gd name="T39" fmla="*/ 21 h 101"/>
                <a:gd name="T40" fmla="*/ 21 w 350"/>
                <a:gd name="T41" fmla="*/ 10 h 101"/>
                <a:gd name="T42" fmla="*/ 34 w 350"/>
                <a:gd name="T43" fmla="*/ 2 h 101"/>
                <a:gd name="T44" fmla="*/ 51 w 350"/>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0" h="101">
                  <a:moveTo>
                    <a:pt x="51" y="0"/>
                  </a:moveTo>
                  <a:lnTo>
                    <a:pt x="300" y="0"/>
                  </a:lnTo>
                  <a:lnTo>
                    <a:pt x="315" y="2"/>
                  </a:lnTo>
                  <a:lnTo>
                    <a:pt x="329" y="10"/>
                  </a:lnTo>
                  <a:lnTo>
                    <a:pt x="340" y="21"/>
                  </a:lnTo>
                  <a:lnTo>
                    <a:pt x="348" y="34"/>
                  </a:lnTo>
                  <a:lnTo>
                    <a:pt x="350" y="50"/>
                  </a:lnTo>
                  <a:lnTo>
                    <a:pt x="348" y="66"/>
                  </a:lnTo>
                  <a:lnTo>
                    <a:pt x="340" y="80"/>
                  </a:lnTo>
                  <a:lnTo>
                    <a:pt x="329" y="91"/>
                  </a:lnTo>
                  <a:lnTo>
                    <a:pt x="315" y="99"/>
                  </a:lnTo>
                  <a:lnTo>
                    <a:pt x="300" y="101"/>
                  </a:lnTo>
                  <a:lnTo>
                    <a:pt x="51" y="101"/>
                  </a:lnTo>
                  <a:lnTo>
                    <a:pt x="34" y="99"/>
                  </a:lnTo>
                  <a:lnTo>
                    <a:pt x="21" y="91"/>
                  </a:lnTo>
                  <a:lnTo>
                    <a:pt x="10" y="80"/>
                  </a:lnTo>
                  <a:lnTo>
                    <a:pt x="2" y="66"/>
                  </a:lnTo>
                  <a:lnTo>
                    <a:pt x="0" y="50"/>
                  </a:lnTo>
                  <a:lnTo>
                    <a:pt x="2"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446" name="Freeform 352"/>
            <p:cNvSpPr>
              <a:spLocks/>
            </p:cNvSpPr>
            <p:nvPr/>
          </p:nvSpPr>
          <p:spPr bwMode="auto">
            <a:xfrm>
              <a:off x="11329913" y="5812424"/>
              <a:ext cx="41271" cy="12701"/>
            </a:xfrm>
            <a:custGeom>
              <a:avLst/>
              <a:gdLst>
                <a:gd name="T0" fmla="*/ 43 w 259"/>
                <a:gd name="T1" fmla="*/ 0 h 85"/>
                <a:gd name="T2" fmla="*/ 217 w 259"/>
                <a:gd name="T3" fmla="*/ 0 h 85"/>
                <a:gd name="T4" fmla="*/ 234 w 259"/>
                <a:gd name="T5" fmla="*/ 3 h 85"/>
                <a:gd name="T6" fmla="*/ 247 w 259"/>
                <a:gd name="T7" fmla="*/ 12 h 85"/>
                <a:gd name="T8" fmla="*/ 256 w 259"/>
                <a:gd name="T9" fmla="*/ 25 h 85"/>
                <a:gd name="T10" fmla="*/ 259 w 259"/>
                <a:gd name="T11" fmla="*/ 41 h 85"/>
                <a:gd name="T12" fmla="*/ 256 w 259"/>
                <a:gd name="T13" fmla="*/ 58 h 85"/>
                <a:gd name="T14" fmla="*/ 247 w 259"/>
                <a:gd name="T15" fmla="*/ 72 h 85"/>
                <a:gd name="T16" fmla="*/ 234 w 259"/>
                <a:gd name="T17" fmla="*/ 81 h 85"/>
                <a:gd name="T18" fmla="*/ 217 w 259"/>
                <a:gd name="T19" fmla="*/ 85 h 85"/>
                <a:gd name="T20" fmla="*/ 43 w 259"/>
                <a:gd name="T21" fmla="*/ 85 h 85"/>
                <a:gd name="T22" fmla="*/ 29 w 259"/>
                <a:gd name="T23" fmla="*/ 82 h 85"/>
                <a:gd name="T24" fmla="*/ 18 w 259"/>
                <a:gd name="T25" fmla="*/ 76 h 85"/>
                <a:gd name="T26" fmla="*/ 8 w 259"/>
                <a:gd name="T27" fmla="*/ 67 h 85"/>
                <a:gd name="T28" fmla="*/ 2 w 259"/>
                <a:gd name="T29" fmla="*/ 55 h 85"/>
                <a:gd name="T30" fmla="*/ 0 w 259"/>
                <a:gd name="T31" fmla="*/ 41 h 85"/>
                <a:gd name="T32" fmla="*/ 2 w 259"/>
                <a:gd name="T33" fmla="*/ 28 h 85"/>
                <a:gd name="T34" fmla="*/ 8 w 259"/>
                <a:gd name="T35" fmla="*/ 16 h 85"/>
                <a:gd name="T36" fmla="*/ 18 w 259"/>
                <a:gd name="T37" fmla="*/ 7 h 85"/>
                <a:gd name="T38" fmla="*/ 29 w 259"/>
                <a:gd name="T39" fmla="*/ 2 h 85"/>
                <a:gd name="T40" fmla="*/ 43 w 259"/>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85">
                  <a:moveTo>
                    <a:pt x="43" y="0"/>
                  </a:moveTo>
                  <a:lnTo>
                    <a:pt x="217" y="0"/>
                  </a:lnTo>
                  <a:lnTo>
                    <a:pt x="234" y="3"/>
                  </a:lnTo>
                  <a:lnTo>
                    <a:pt x="247" y="12"/>
                  </a:lnTo>
                  <a:lnTo>
                    <a:pt x="256" y="25"/>
                  </a:lnTo>
                  <a:lnTo>
                    <a:pt x="259" y="41"/>
                  </a:lnTo>
                  <a:lnTo>
                    <a:pt x="256" y="58"/>
                  </a:lnTo>
                  <a:lnTo>
                    <a:pt x="247" y="72"/>
                  </a:lnTo>
                  <a:lnTo>
                    <a:pt x="234" y="81"/>
                  </a:lnTo>
                  <a:lnTo>
                    <a:pt x="217" y="85"/>
                  </a:lnTo>
                  <a:lnTo>
                    <a:pt x="43" y="85"/>
                  </a:lnTo>
                  <a:lnTo>
                    <a:pt x="29" y="82"/>
                  </a:lnTo>
                  <a:lnTo>
                    <a:pt x="18" y="76"/>
                  </a:lnTo>
                  <a:lnTo>
                    <a:pt x="8" y="67"/>
                  </a:lnTo>
                  <a:lnTo>
                    <a:pt x="2" y="55"/>
                  </a:lnTo>
                  <a:lnTo>
                    <a:pt x="0" y="41"/>
                  </a:lnTo>
                  <a:lnTo>
                    <a:pt x="2" y="28"/>
                  </a:lnTo>
                  <a:lnTo>
                    <a:pt x="8" y="16"/>
                  </a:lnTo>
                  <a:lnTo>
                    <a:pt x="18" y="7"/>
                  </a:lnTo>
                  <a:lnTo>
                    <a:pt x="29" y="2"/>
                  </a:lnTo>
                  <a:lnTo>
                    <a:pt x="43" y="0"/>
                  </a:lnTo>
                  <a:close/>
                </a:path>
              </a:pathLst>
            </a:custGeom>
            <a:solidFill>
              <a:schemeClr val="accent5"/>
            </a:solidFill>
            <a:ln>
              <a:noFill/>
            </a:ln>
          </p:spPr>
          <p:txBody>
            <a:bodyPr/>
            <a:lstStyle/>
            <a:p>
              <a:endParaRPr lang="de-DE" dirty="0"/>
            </a:p>
          </p:txBody>
        </p:sp>
        <p:sp>
          <p:nvSpPr>
            <p:cNvPr id="447" name="Freeform 353"/>
            <p:cNvSpPr>
              <a:spLocks/>
            </p:cNvSpPr>
            <p:nvPr/>
          </p:nvSpPr>
          <p:spPr bwMode="auto">
            <a:xfrm>
              <a:off x="11388644" y="5810837"/>
              <a:ext cx="57144" cy="15877"/>
            </a:xfrm>
            <a:custGeom>
              <a:avLst/>
              <a:gdLst>
                <a:gd name="T0" fmla="*/ 52 w 359"/>
                <a:gd name="T1" fmla="*/ 0 h 103"/>
                <a:gd name="T2" fmla="*/ 307 w 359"/>
                <a:gd name="T3" fmla="*/ 0 h 103"/>
                <a:gd name="T4" fmla="*/ 324 w 359"/>
                <a:gd name="T5" fmla="*/ 3 h 103"/>
                <a:gd name="T6" fmla="*/ 338 w 359"/>
                <a:gd name="T7" fmla="*/ 10 h 103"/>
                <a:gd name="T8" fmla="*/ 349 w 359"/>
                <a:gd name="T9" fmla="*/ 22 h 103"/>
                <a:gd name="T10" fmla="*/ 356 w 359"/>
                <a:gd name="T11" fmla="*/ 35 h 103"/>
                <a:gd name="T12" fmla="*/ 359 w 359"/>
                <a:gd name="T13" fmla="*/ 51 h 103"/>
                <a:gd name="T14" fmla="*/ 356 w 359"/>
                <a:gd name="T15" fmla="*/ 68 h 103"/>
                <a:gd name="T16" fmla="*/ 349 w 359"/>
                <a:gd name="T17" fmla="*/ 82 h 103"/>
                <a:gd name="T18" fmla="*/ 338 w 359"/>
                <a:gd name="T19" fmla="*/ 93 h 103"/>
                <a:gd name="T20" fmla="*/ 324 w 359"/>
                <a:gd name="T21" fmla="*/ 100 h 103"/>
                <a:gd name="T22" fmla="*/ 307 w 359"/>
                <a:gd name="T23" fmla="*/ 103 h 103"/>
                <a:gd name="T24" fmla="*/ 52 w 359"/>
                <a:gd name="T25" fmla="*/ 103 h 103"/>
                <a:gd name="T26" fmla="*/ 35 w 359"/>
                <a:gd name="T27" fmla="*/ 100 h 103"/>
                <a:gd name="T28" fmla="*/ 21 w 359"/>
                <a:gd name="T29" fmla="*/ 93 h 103"/>
                <a:gd name="T30" fmla="*/ 10 w 359"/>
                <a:gd name="T31" fmla="*/ 82 h 103"/>
                <a:gd name="T32" fmla="*/ 3 w 359"/>
                <a:gd name="T33" fmla="*/ 68 h 103"/>
                <a:gd name="T34" fmla="*/ 0 w 359"/>
                <a:gd name="T35" fmla="*/ 51 h 103"/>
                <a:gd name="T36" fmla="*/ 3 w 359"/>
                <a:gd name="T37" fmla="*/ 35 h 103"/>
                <a:gd name="T38" fmla="*/ 10 w 359"/>
                <a:gd name="T39" fmla="*/ 22 h 103"/>
                <a:gd name="T40" fmla="*/ 21 w 359"/>
                <a:gd name="T41" fmla="*/ 10 h 103"/>
                <a:gd name="T42" fmla="*/ 35 w 359"/>
                <a:gd name="T43" fmla="*/ 3 h 103"/>
                <a:gd name="T44" fmla="*/ 52 w 359"/>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9" h="103">
                  <a:moveTo>
                    <a:pt x="52" y="0"/>
                  </a:moveTo>
                  <a:lnTo>
                    <a:pt x="307" y="0"/>
                  </a:lnTo>
                  <a:lnTo>
                    <a:pt x="324" y="3"/>
                  </a:lnTo>
                  <a:lnTo>
                    <a:pt x="338" y="10"/>
                  </a:lnTo>
                  <a:lnTo>
                    <a:pt x="349" y="22"/>
                  </a:lnTo>
                  <a:lnTo>
                    <a:pt x="356" y="35"/>
                  </a:lnTo>
                  <a:lnTo>
                    <a:pt x="359" y="51"/>
                  </a:lnTo>
                  <a:lnTo>
                    <a:pt x="356" y="68"/>
                  </a:lnTo>
                  <a:lnTo>
                    <a:pt x="349" y="82"/>
                  </a:lnTo>
                  <a:lnTo>
                    <a:pt x="338" y="93"/>
                  </a:lnTo>
                  <a:lnTo>
                    <a:pt x="324" y="100"/>
                  </a:lnTo>
                  <a:lnTo>
                    <a:pt x="307" y="103"/>
                  </a:lnTo>
                  <a:lnTo>
                    <a:pt x="52" y="103"/>
                  </a:lnTo>
                  <a:lnTo>
                    <a:pt x="35" y="100"/>
                  </a:lnTo>
                  <a:lnTo>
                    <a:pt x="21" y="93"/>
                  </a:lnTo>
                  <a:lnTo>
                    <a:pt x="10" y="82"/>
                  </a:lnTo>
                  <a:lnTo>
                    <a:pt x="3" y="68"/>
                  </a:lnTo>
                  <a:lnTo>
                    <a:pt x="0" y="51"/>
                  </a:lnTo>
                  <a:lnTo>
                    <a:pt x="3" y="35"/>
                  </a:lnTo>
                  <a:lnTo>
                    <a:pt x="10" y="22"/>
                  </a:lnTo>
                  <a:lnTo>
                    <a:pt x="21" y="10"/>
                  </a:lnTo>
                  <a:lnTo>
                    <a:pt x="35" y="3"/>
                  </a:lnTo>
                  <a:lnTo>
                    <a:pt x="52" y="0"/>
                  </a:lnTo>
                  <a:close/>
                </a:path>
              </a:pathLst>
            </a:custGeom>
            <a:solidFill>
              <a:schemeClr val="accent5"/>
            </a:solidFill>
            <a:ln>
              <a:noFill/>
            </a:ln>
          </p:spPr>
          <p:txBody>
            <a:bodyPr/>
            <a:lstStyle/>
            <a:p>
              <a:endParaRPr lang="de-DE" dirty="0"/>
            </a:p>
          </p:txBody>
        </p:sp>
        <p:sp>
          <p:nvSpPr>
            <p:cNvPr id="448" name="Freeform 354"/>
            <p:cNvSpPr>
              <a:spLocks/>
            </p:cNvSpPr>
            <p:nvPr/>
          </p:nvSpPr>
          <p:spPr bwMode="auto">
            <a:xfrm>
              <a:off x="10974348" y="5864818"/>
              <a:ext cx="49208" cy="14289"/>
            </a:xfrm>
            <a:custGeom>
              <a:avLst/>
              <a:gdLst>
                <a:gd name="T0" fmla="*/ 47 w 312"/>
                <a:gd name="T1" fmla="*/ 0 h 95"/>
                <a:gd name="T2" fmla="*/ 264 w 312"/>
                <a:gd name="T3" fmla="*/ 0 h 95"/>
                <a:gd name="T4" fmla="*/ 280 w 312"/>
                <a:gd name="T5" fmla="*/ 2 h 95"/>
                <a:gd name="T6" fmla="*/ 293 w 312"/>
                <a:gd name="T7" fmla="*/ 8 h 95"/>
                <a:gd name="T8" fmla="*/ 303 w 312"/>
                <a:gd name="T9" fmla="*/ 20 h 95"/>
                <a:gd name="T10" fmla="*/ 310 w 312"/>
                <a:gd name="T11" fmla="*/ 32 h 95"/>
                <a:gd name="T12" fmla="*/ 312 w 312"/>
                <a:gd name="T13" fmla="*/ 47 h 95"/>
                <a:gd name="T14" fmla="*/ 310 w 312"/>
                <a:gd name="T15" fmla="*/ 63 h 95"/>
                <a:gd name="T16" fmla="*/ 303 w 312"/>
                <a:gd name="T17" fmla="*/ 76 h 95"/>
                <a:gd name="T18" fmla="*/ 293 w 312"/>
                <a:gd name="T19" fmla="*/ 86 h 95"/>
                <a:gd name="T20" fmla="*/ 280 w 312"/>
                <a:gd name="T21" fmla="*/ 92 h 95"/>
                <a:gd name="T22" fmla="*/ 264 w 312"/>
                <a:gd name="T23" fmla="*/ 95 h 95"/>
                <a:gd name="T24" fmla="*/ 47 w 312"/>
                <a:gd name="T25" fmla="*/ 95 h 95"/>
                <a:gd name="T26" fmla="*/ 32 w 312"/>
                <a:gd name="T27" fmla="*/ 92 h 95"/>
                <a:gd name="T28" fmla="*/ 19 w 312"/>
                <a:gd name="T29" fmla="*/ 86 h 95"/>
                <a:gd name="T30" fmla="*/ 9 w 312"/>
                <a:gd name="T31" fmla="*/ 76 h 95"/>
                <a:gd name="T32" fmla="*/ 2 w 312"/>
                <a:gd name="T33" fmla="*/ 63 h 95"/>
                <a:gd name="T34" fmla="*/ 0 w 312"/>
                <a:gd name="T35" fmla="*/ 47 h 95"/>
                <a:gd name="T36" fmla="*/ 2 w 312"/>
                <a:gd name="T37" fmla="*/ 32 h 95"/>
                <a:gd name="T38" fmla="*/ 9 w 312"/>
                <a:gd name="T39" fmla="*/ 20 h 95"/>
                <a:gd name="T40" fmla="*/ 19 w 312"/>
                <a:gd name="T41" fmla="*/ 8 h 95"/>
                <a:gd name="T42" fmla="*/ 32 w 312"/>
                <a:gd name="T43" fmla="*/ 2 h 95"/>
                <a:gd name="T44" fmla="*/ 47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7" y="0"/>
                  </a:moveTo>
                  <a:lnTo>
                    <a:pt x="264" y="0"/>
                  </a:lnTo>
                  <a:lnTo>
                    <a:pt x="280" y="2"/>
                  </a:lnTo>
                  <a:lnTo>
                    <a:pt x="293" y="8"/>
                  </a:lnTo>
                  <a:lnTo>
                    <a:pt x="303" y="20"/>
                  </a:lnTo>
                  <a:lnTo>
                    <a:pt x="310" y="32"/>
                  </a:lnTo>
                  <a:lnTo>
                    <a:pt x="312" y="47"/>
                  </a:lnTo>
                  <a:lnTo>
                    <a:pt x="310" y="63"/>
                  </a:lnTo>
                  <a:lnTo>
                    <a:pt x="303" y="76"/>
                  </a:lnTo>
                  <a:lnTo>
                    <a:pt x="293" y="86"/>
                  </a:lnTo>
                  <a:lnTo>
                    <a:pt x="280" y="92"/>
                  </a:lnTo>
                  <a:lnTo>
                    <a:pt x="264" y="95"/>
                  </a:lnTo>
                  <a:lnTo>
                    <a:pt x="47" y="95"/>
                  </a:lnTo>
                  <a:lnTo>
                    <a:pt x="32" y="92"/>
                  </a:lnTo>
                  <a:lnTo>
                    <a:pt x="19" y="86"/>
                  </a:lnTo>
                  <a:lnTo>
                    <a:pt x="9" y="76"/>
                  </a:lnTo>
                  <a:lnTo>
                    <a:pt x="2" y="63"/>
                  </a:lnTo>
                  <a:lnTo>
                    <a:pt x="0" y="47"/>
                  </a:lnTo>
                  <a:lnTo>
                    <a:pt x="2" y="32"/>
                  </a:lnTo>
                  <a:lnTo>
                    <a:pt x="9" y="20"/>
                  </a:lnTo>
                  <a:lnTo>
                    <a:pt x="19" y="8"/>
                  </a:lnTo>
                  <a:lnTo>
                    <a:pt x="32" y="2"/>
                  </a:lnTo>
                  <a:lnTo>
                    <a:pt x="47" y="0"/>
                  </a:lnTo>
                  <a:close/>
                </a:path>
              </a:pathLst>
            </a:custGeom>
            <a:solidFill>
              <a:schemeClr val="accent5"/>
            </a:solidFill>
            <a:ln>
              <a:noFill/>
            </a:ln>
          </p:spPr>
          <p:txBody>
            <a:bodyPr/>
            <a:lstStyle/>
            <a:p>
              <a:endParaRPr lang="de-DE" dirty="0"/>
            </a:p>
          </p:txBody>
        </p:sp>
        <p:sp>
          <p:nvSpPr>
            <p:cNvPr id="449" name="Freeform 355"/>
            <p:cNvSpPr>
              <a:spLocks/>
            </p:cNvSpPr>
            <p:nvPr/>
          </p:nvSpPr>
          <p:spPr bwMode="auto">
            <a:xfrm>
              <a:off x="11052128" y="5867993"/>
              <a:ext cx="47620" cy="14289"/>
            </a:xfrm>
            <a:custGeom>
              <a:avLst/>
              <a:gdLst>
                <a:gd name="T0" fmla="*/ 46 w 301"/>
                <a:gd name="T1" fmla="*/ 0 h 94"/>
                <a:gd name="T2" fmla="*/ 254 w 301"/>
                <a:gd name="T3" fmla="*/ 0 h 94"/>
                <a:gd name="T4" fmla="*/ 269 w 301"/>
                <a:gd name="T5" fmla="*/ 3 h 94"/>
                <a:gd name="T6" fmla="*/ 282 w 301"/>
                <a:gd name="T7" fmla="*/ 9 h 94"/>
                <a:gd name="T8" fmla="*/ 292 w 301"/>
                <a:gd name="T9" fmla="*/ 20 h 94"/>
                <a:gd name="T10" fmla="*/ 298 w 301"/>
                <a:gd name="T11" fmla="*/ 32 h 94"/>
                <a:gd name="T12" fmla="*/ 301 w 301"/>
                <a:gd name="T13" fmla="*/ 47 h 94"/>
                <a:gd name="T14" fmla="*/ 298 w 301"/>
                <a:gd name="T15" fmla="*/ 62 h 94"/>
                <a:gd name="T16" fmla="*/ 292 w 301"/>
                <a:gd name="T17" fmla="*/ 74 h 94"/>
                <a:gd name="T18" fmla="*/ 282 w 301"/>
                <a:gd name="T19" fmla="*/ 84 h 94"/>
                <a:gd name="T20" fmla="*/ 269 w 301"/>
                <a:gd name="T21" fmla="*/ 91 h 94"/>
                <a:gd name="T22" fmla="*/ 254 w 301"/>
                <a:gd name="T23" fmla="*/ 94 h 94"/>
                <a:gd name="T24" fmla="*/ 46 w 301"/>
                <a:gd name="T25" fmla="*/ 94 h 94"/>
                <a:gd name="T26" fmla="*/ 32 w 301"/>
                <a:gd name="T27" fmla="*/ 91 h 94"/>
                <a:gd name="T28" fmla="*/ 18 w 301"/>
                <a:gd name="T29" fmla="*/ 84 h 94"/>
                <a:gd name="T30" fmla="*/ 8 w 301"/>
                <a:gd name="T31" fmla="*/ 74 h 94"/>
                <a:gd name="T32" fmla="*/ 2 w 301"/>
                <a:gd name="T33" fmla="*/ 62 h 94"/>
                <a:gd name="T34" fmla="*/ 0 w 301"/>
                <a:gd name="T35" fmla="*/ 47 h 94"/>
                <a:gd name="T36" fmla="*/ 2 w 301"/>
                <a:gd name="T37" fmla="*/ 32 h 94"/>
                <a:gd name="T38" fmla="*/ 8 w 301"/>
                <a:gd name="T39" fmla="*/ 20 h 94"/>
                <a:gd name="T40" fmla="*/ 18 w 301"/>
                <a:gd name="T41" fmla="*/ 9 h 94"/>
                <a:gd name="T42" fmla="*/ 32 w 301"/>
                <a:gd name="T43" fmla="*/ 3 h 94"/>
                <a:gd name="T44" fmla="*/ 46 w 301"/>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1" h="94">
                  <a:moveTo>
                    <a:pt x="46" y="0"/>
                  </a:moveTo>
                  <a:lnTo>
                    <a:pt x="254" y="0"/>
                  </a:lnTo>
                  <a:lnTo>
                    <a:pt x="269" y="3"/>
                  </a:lnTo>
                  <a:lnTo>
                    <a:pt x="282" y="9"/>
                  </a:lnTo>
                  <a:lnTo>
                    <a:pt x="292" y="20"/>
                  </a:lnTo>
                  <a:lnTo>
                    <a:pt x="298" y="32"/>
                  </a:lnTo>
                  <a:lnTo>
                    <a:pt x="301" y="47"/>
                  </a:lnTo>
                  <a:lnTo>
                    <a:pt x="298" y="62"/>
                  </a:lnTo>
                  <a:lnTo>
                    <a:pt x="292" y="74"/>
                  </a:lnTo>
                  <a:lnTo>
                    <a:pt x="282" y="84"/>
                  </a:lnTo>
                  <a:lnTo>
                    <a:pt x="269" y="91"/>
                  </a:lnTo>
                  <a:lnTo>
                    <a:pt x="254" y="94"/>
                  </a:lnTo>
                  <a:lnTo>
                    <a:pt x="46" y="94"/>
                  </a:lnTo>
                  <a:lnTo>
                    <a:pt x="32" y="91"/>
                  </a:lnTo>
                  <a:lnTo>
                    <a:pt x="18" y="84"/>
                  </a:lnTo>
                  <a:lnTo>
                    <a:pt x="8" y="74"/>
                  </a:lnTo>
                  <a:lnTo>
                    <a:pt x="2" y="62"/>
                  </a:lnTo>
                  <a:lnTo>
                    <a:pt x="0" y="47"/>
                  </a:lnTo>
                  <a:lnTo>
                    <a:pt x="2" y="32"/>
                  </a:lnTo>
                  <a:lnTo>
                    <a:pt x="8" y="20"/>
                  </a:lnTo>
                  <a:lnTo>
                    <a:pt x="18" y="9"/>
                  </a:lnTo>
                  <a:lnTo>
                    <a:pt x="32" y="3"/>
                  </a:lnTo>
                  <a:lnTo>
                    <a:pt x="46" y="0"/>
                  </a:lnTo>
                  <a:close/>
                </a:path>
              </a:pathLst>
            </a:custGeom>
            <a:solidFill>
              <a:schemeClr val="accent5"/>
            </a:solidFill>
            <a:ln>
              <a:noFill/>
            </a:ln>
          </p:spPr>
          <p:txBody>
            <a:bodyPr/>
            <a:lstStyle/>
            <a:p>
              <a:endParaRPr lang="de-DE" dirty="0"/>
            </a:p>
          </p:txBody>
        </p:sp>
        <p:sp>
          <p:nvSpPr>
            <p:cNvPr id="450" name="Freeform 356"/>
            <p:cNvSpPr>
              <a:spLocks/>
            </p:cNvSpPr>
            <p:nvPr/>
          </p:nvSpPr>
          <p:spPr bwMode="auto">
            <a:xfrm>
              <a:off x="11120383" y="5866405"/>
              <a:ext cx="41271" cy="12701"/>
            </a:xfrm>
            <a:custGeom>
              <a:avLst/>
              <a:gdLst>
                <a:gd name="T0" fmla="*/ 42 w 252"/>
                <a:gd name="T1" fmla="*/ 0 h 84"/>
                <a:gd name="T2" fmla="*/ 210 w 252"/>
                <a:gd name="T3" fmla="*/ 0 h 84"/>
                <a:gd name="T4" fmla="*/ 226 w 252"/>
                <a:gd name="T5" fmla="*/ 3 h 84"/>
                <a:gd name="T6" fmla="*/ 240 w 252"/>
                <a:gd name="T7" fmla="*/ 12 h 84"/>
                <a:gd name="T8" fmla="*/ 249 w 252"/>
                <a:gd name="T9" fmla="*/ 25 h 84"/>
                <a:gd name="T10" fmla="*/ 252 w 252"/>
                <a:gd name="T11" fmla="*/ 42 h 84"/>
                <a:gd name="T12" fmla="*/ 249 w 252"/>
                <a:gd name="T13" fmla="*/ 57 h 84"/>
                <a:gd name="T14" fmla="*/ 240 w 252"/>
                <a:gd name="T15" fmla="*/ 71 h 84"/>
                <a:gd name="T16" fmla="*/ 226 w 252"/>
                <a:gd name="T17" fmla="*/ 81 h 84"/>
                <a:gd name="T18" fmla="*/ 210 w 252"/>
                <a:gd name="T19" fmla="*/ 84 h 84"/>
                <a:gd name="T20" fmla="*/ 42 w 252"/>
                <a:gd name="T21" fmla="*/ 84 h 84"/>
                <a:gd name="T22" fmla="*/ 25 w 252"/>
                <a:gd name="T23" fmla="*/ 81 h 84"/>
                <a:gd name="T24" fmla="*/ 12 w 252"/>
                <a:gd name="T25" fmla="*/ 71 h 84"/>
                <a:gd name="T26" fmla="*/ 3 w 252"/>
                <a:gd name="T27" fmla="*/ 57 h 84"/>
                <a:gd name="T28" fmla="*/ 0 w 252"/>
                <a:gd name="T29" fmla="*/ 42 h 84"/>
                <a:gd name="T30" fmla="*/ 3 w 252"/>
                <a:gd name="T31" fmla="*/ 25 h 84"/>
                <a:gd name="T32" fmla="*/ 12 w 252"/>
                <a:gd name="T33" fmla="*/ 12 h 84"/>
                <a:gd name="T34" fmla="*/ 25 w 252"/>
                <a:gd name="T35" fmla="*/ 3 h 84"/>
                <a:gd name="T36" fmla="*/ 42 w 252"/>
                <a:gd name="T3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84">
                  <a:moveTo>
                    <a:pt x="42" y="0"/>
                  </a:moveTo>
                  <a:lnTo>
                    <a:pt x="210" y="0"/>
                  </a:lnTo>
                  <a:lnTo>
                    <a:pt x="226" y="3"/>
                  </a:lnTo>
                  <a:lnTo>
                    <a:pt x="240" y="12"/>
                  </a:lnTo>
                  <a:lnTo>
                    <a:pt x="249" y="25"/>
                  </a:lnTo>
                  <a:lnTo>
                    <a:pt x="252" y="42"/>
                  </a:lnTo>
                  <a:lnTo>
                    <a:pt x="249" y="57"/>
                  </a:lnTo>
                  <a:lnTo>
                    <a:pt x="240" y="71"/>
                  </a:lnTo>
                  <a:lnTo>
                    <a:pt x="226" y="81"/>
                  </a:lnTo>
                  <a:lnTo>
                    <a:pt x="210" y="84"/>
                  </a:lnTo>
                  <a:lnTo>
                    <a:pt x="42" y="84"/>
                  </a:lnTo>
                  <a:lnTo>
                    <a:pt x="25" y="81"/>
                  </a:lnTo>
                  <a:lnTo>
                    <a:pt x="12" y="71"/>
                  </a:lnTo>
                  <a:lnTo>
                    <a:pt x="3" y="57"/>
                  </a:lnTo>
                  <a:lnTo>
                    <a:pt x="0" y="42"/>
                  </a:lnTo>
                  <a:lnTo>
                    <a:pt x="3" y="25"/>
                  </a:lnTo>
                  <a:lnTo>
                    <a:pt x="12" y="12"/>
                  </a:lnTo>
                  <a:lnTo>
                    <a:pt x="25" y="3"/>
                  </a:lnTo>
                  <a:lnTo>
                    <a:pt x="42" y="0"/>
                  </a:lnTo>
                  <a:close/>
                </a:path>
              </a:pathLst>
            </a:custGeom>
            <a:solidFill>
              <a:schemeClr val="accent5"/>
            </a:solidFill>
            <a:ln>
              <a:noFill/>
            </a:ln>
          </p:spPr>
          <p:txBody>
            <a:bodyPr/>
            <a:lstStyle/>
            <a:p>
              <a:endParaRPr lang="de-DE" dirty="0"/>
            </a:p>
          </p:txBody>
        </p:sp>
        <p:sp>
          <p:nvSpPr>
            <p:cNvPr id="451" name="Freeform 357"/>
            <p:cNvSpPr>
              <a:spLocks/>
            </p:cNvSpPr>
            <p:nvPr/>
          </p:nvSpPr>
          <p:spPr bwMode="auto">
            <a:xfrm>
              <a:off x="11182290" y="5864818"/>
              <a:ext cx="55557" cy="15877"/>
            </a:xfrm>
            <a:custGeom>
              <a:avLst/>
              <a:gdLst>
                <a:gd name="T0" fmla="*/ 51 w 345"/>
                <a:gd name="T1" fmla="*/ 0 h 101"/>
                <a:gd name="T2" fmla="*/ 294 w 345"/>
                <a:gd name="T3" fmla="*/ 0 h 101"/>
                <a:gd name="T4" fmla="*/ 310 w 345"/>
                <a:gd name="T5" fmla="*/ 3 h 101"/>
                <a:gd name="T6" fmla="*/ 324 w 345"/>
                <a:gd name="T7" fmla="*/ 9 h 101"/>
                <a:gd name="T8" fmla="*/ 335 w 345"/>
                <a:gd name="T9" fmla="*/ 20 h 101"/>
                <a:gd name="T10" fmla="*/ 342 w 345"/>
                <a:gd name="T11" fmla="*/ 35 h 101"/>
                <a:gd name="T12" fmla="*/ 345 w 345"/>
                <a:gd name="T13" fmla="*/ 50 h 101"/>
                <a:gd name="T14" fmla="*/ 342 w 345"/>
                <a:gd name="T15" fmla="*/ 67 h 101"/>
                <a:gd name="T16" fmla="*/ 335 w 345"/>
                <a:gd name="T17" fmla="*/ 80 h 101"/>
                <a:gd name="T18" fmla="*/ 324 w 345"/>
                <a:gd name="T19" fmla="*/ 91 h 101"/>
                <a:gd name="T20" fmla="*/ 310 w 345"/>
                <a:gd name="T21" fmla="*/ 99 h 101"/>
                <a:gd name="T22" fmla="*/ 294 w 345"/>
                <a:gd name="T23" fmla="*/ 101 h 101"/>
                <a:gd name="T24" fmla="*/ 51 w 345"/>
                <a:gd name="T25" fmla="*/ 101 h 101"/>
                <a:gd name="T26" fmla="*/ 34 w 345"/>
                <a:gd name="T27" fmla="*/ 99 h 101"/>
                <a:gd name="T28" fmla="*/ 21 w 345"/>
                <a:gd name="T29" fmla="*/ 91 h 101"/>
                <a:gd name="T30" fmla="*/ 10 w 345"/>
                <a:gd name="T31" fmla="*/ 80 h 101"/>
                <a:gd name="T32" fmla="*/ 3 w 345"/>
                <a:gd name="T33" fmla="*/ 67 h 101"/>
                <a:gd name="T34" fmla="*/ 0 w 345"/>
                <a:gd name="T35" fmla="*/ 50 h 101"/>
                <a:gd name="T36" fmla="*/ 3 w 345"/>
                <a:gd name="T37" fmla="*/ 35 h 101"/>
                <a:gd name="T38" fmla="*/ 10 w 345"/>
                <a:gd name="T39" fmla="*/ 20 h 101"/>
                <a:gd name="T40" fmla="*/ 21 w 345"/>
                <a:gd name="T41" fmla="*/ 9 h 101"/>
                <a:gd name="T42" fmla="*/ 34 w 345"/>
                <a:gd name="T43" fmla="*/ 3 h 101"/>
                <a:gd name="T44" fmla="*/ 51 w 345"/>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101">
                  <a:moveTo>
                    <a:pt x="51" y="0"/>
                  </a:moveTo>
                  <a:lnTo>
                    <a:pt x="294" y="0"/>
                  </a:lnTo>
                  <a:lnTo>
                    <a:pt x="310" y="3"/>
                  </a:lnTo>
                  <a:lnTo>
                    <a:pt x="324" y="9"/>
                  </a:lnTo>
                  <a:lnTo>
                    <a:pt x="335" y="20"/>
                  </a:lnTo>
                  <a:lnTo>
                    <a:pt x="342" y="35"/>
                  </a:lnTo>
                  <a:lnTo>
                    <a:pt x="345" y="50"/>
                  </a:lnTo>
                  <a:lnTo>
                    <a:pt x="342" y="67"/>
                  </a:lnTo>
                  <a:lnTo>
                    <a:pt x="335" y="80"/>
                  </a:lnTo>
                  <a:lnTo>
                    <a:pt x="324" y="91"/>
                  </a:lnTo>
                  <a:lnTo>
                    <a:pt x="310" y="99"/>
                  </a:lnTo>
                  <a:lnTo>
                    <a:pt x="294" y="101"/>
                  </a:lnTo>
                  <a:lnTo>
                    <a:pt x="51" y="101"/>
                  </a:lnTo>
                  <a:lnTo>
                    <a:pt x="34" y="99"/>
                  </a:lnTo>
                  <a:lnTo>
                    <a:pt x="21" y="91"/>
                  </a:lnTo>
                  <a:lnTo>
                    <a:pt x="10" y="80"/>
                  </a:lnTo>
                  <a:lnTo>
                    <a:pt x="3" y="67"/>
                  </a:lnTo>
                  <a:lnTo>
                    <a:pt x="0" y="50"/>
                  </a:lnTo>
                  <a:lnTo>
                    <a:pt x="3" y="35"/>
                  </a:lnTo>
                  <a:lnTo>
                    <a:pt x="10" y="20"/>
                  </a:lnTo>
                  <a:lnTo>
                    <a:pt x="21" y="9"/>
                  </a:lnTo>
                  <a:lnTo>
                    <a:pt x="34" y="3"/>
                  </a:lnTo>
                  <a:lnTo>
                    <a:pt x="51" y="0"/>
                  </a:lnTo>
                  <a:close/>
                </a:path>
              </a:pathLst>
            </a:custGeom>
            <a:solidFill>
              <a:schemeClr val="accent5"/>
            </a:solidFill>
            <a:ln>
              <a:noFill/>
            </a:ln>
          </p:spPr>
          <p:txBody>
            <a:bodyPr/>
            <a:lstStyle/>
            <a:p>
              <a:endParaRPr lang="de-DE" dirty="0"/>
            </a:p>
          </p:txBody>
        </p:sp>
        <p:sp>
          <p:nvSpPr>
            <p:cNvPr id="452" name="Freeform 358"/>
            <p:cNvSpPr>
              <a:spLocks/>
            </p:cNvSpPr>
            <p:nvPr/>
          </p:nvSpPr>
          <p:spPr bwMode="auto">
            <a:xfrm>
              <a:off x="11258482" y="5869581"/>
              <a:ext cx="49208" cy="14289"/>
            </a:xfrm>
            <a:custGeom>
              <a:avLst/>
              <a:gdLst>
                <a:gd name="T0" fmla="*/ 47 w 309"/>
                <a:gd name="T1" fmla="*/ 0 h 95"/>
                <a:gd name="T2" fmla="*/ 261 w 309"/>
                <a:gd name="T3" fmla="*/ 0 h 95"/>
                <a:gd name="T4" fmla="*/ 276 w 309"/>
                <a:gd name="T5" fmla="*/ 2 h 95"/>
                <a:gd name="T6" fmla="*/ 289 w 309"/>
                <a:gd name="T7" fmla="*/ 8 h 95"/>
                <a:gd name="T8" fmla="*/ 300 w 309"/>
                <a:gd name="T9" fmla="*/ 19 h 95"/>
                <a:gd name="T10" fmla="*/ 306 w 309"/>
                <a:gd name="T11" fmla="*/ 32 h 95"/>
                <a:gd name="T12" fmla="*/ 309 w 309"/>
                <a:gd name="T13" fmla="*/ 47 h 95"/>
                <a:gd name="T14" fmla="*/ 306 w 309"/>
                <a:gd name="T15" fmla="*/ 61 h 95"/>
                <a:gd name="T16" fmla="*/ 300 w 309"/>
                <a:gd name="T17" fmla="*/ 75 h 95"/>
                <a:gd name="T18" fmla="*/ 289 w 309"/>
                <a:gd name="T19" fmla="*/ 85 h 95"/>
                <a:gd name="T20" fmla="*/ 276 w 309"/>
                <a:gd name="T21" fmla="*/ 92 h 95"/>
                <a:gd name="T22" fmla="*/ 261 w 309"/>
                <a:gd name="T23" fmla="*/ 95 h 95"/>
                <a:gd name="T24" fmla="*/ 47 w 309"/>
                <a:gd name="T25" fmla="*/ 95 h 95"/>
                <a:gd name="T26" fmla="*/ 33 w 309"/>
                <a:gd name="T27" fmla="*/ 92 h 95"/>
                <a:gd name="T28" fmla="*/ 20 w 309"/>
                <a:gd name="T29" fmla="*/ 85 h 95"/>
                <a:gd name="T30" fmla="*/ 10 w 309"/>
                <a:gd name="T31" fmla="*/ 75 h 95"/>
                <a:gd name="T32" fmla="*/ 3 w 309"/>
                <a:gd name="T33" fmla="*/ 61 h 95"/>
                <a:gd name="T34" fmla="*/ 0 w 309"/>
                <a:gd name="T35" fmla="*/ 47 h 95"/>
                <a:gd name="T36" fmla="*/ 3 w 309"/>
                <a:gd name="T37" fmla="*/ 32 h 95"/>
                <a:gd name="T38" fmla="*/ 10 w 309"/>
                <a:gd name="T39" fmla="*/ 19 h 95"/>
                <a:gd name="T40" fmla="*/ 20 w 309"/>
                <a:gd name="T41" fmla="*/ 8 h 95"/>
                <a:gd name="T42" fmla="*/ 33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6" y="2"/>
                  </a:lnTo>
                  <a:lnTo>
                    <a:pt x="289" y="8"/>
                  </a:lnTo>
                  <a:lnTo>
                    <a:pt x="300" y="19"/>
                  </a:lnTo>
                  <a:lnTo>
                    <a:pt x="306" y="32"/>
                  </a:lnTo>
                  <a:lnTo>
                    <a:pt x="309" y="47"/>
                  </a:lnTo>
                  <a:lnTo>
                    <a:pt x="306" y="61"/>
                  </a:lnTo>
                  <a:lnTo>
                    <a:pt x="300" y="75"/>
                  </a:lnTo>
                  <a:lnTo>
                    <a:pt x="289" y="85"/>
                  </a:lnTo>
                  <a:lnTo>
                    <a:pt x="276" y="92"/>
                  </a:lnTo>
                  <a:lnTo>
                    <a:pt x="261" y="95"/>
                  </a:lnTo>
                  <a:lnTo>
                    <a:pt x="47" y="95"/>
                  </a:lnTo>
                  <a:lnTo>
                    <a:pt x="33" y="92"/>
                  </a:lnTo>
                  <a:lnTo>
                    <a:pt x="20" y="85"/>
                  </a:lnTo>
                  <a:lnTo>
                    <a:pt x="10" y="75"/>
                  </a:lnTo>
                  <a:lnTo>
                    <a:pt x="3" y="61"/>
                  </a:lnTo>
                  <a:lnTo>
                    <a:pt x="0" y="47"/>
                  </a:lnTo>
                  <a:lnTo>
                    <a:pt x="3" y="32"/>
                  </a:lnTo>
                  <a:lnTo>
                    <a:pt x="10" y="19"/>
                  </a:lnTo>
                  <a:lnTo>
                    <a:pt x="20" y="8"/>
                  </a:lnTo>
                  <a:lnTo>
                    <a:pt x="33" y="2"/>
                  </a:lnTo>
                  <a:lnTo>
                    <a:pt x="47" y="0"/>
                  </a:lnTo>
                  <a:close/>
                </a:path>
              </a:pathLst>
            </a:custGeom>
            <a:solidFill>
              <a:schemeClr val="accent5"/>
            </a:solidFill>
            <a:ln>
              <a:noFill/>
            </a:ln>
          </p:spPr>
          <p:txBody>
            <a:bodyPr/>
            <a:lstStyle/>
            <a:p>
              <a:endParaRPr lang="de-DE" dirty="0"/>
            </a:p>
          </p:txBody>
        </p:sp>
        <p:sp>
          <p:nvSpPr>
            <p:cNvPr id="453" name="Freeform 359"/>
            <p:cNvSpPr>
              <a:spLocks/>
            </p:cNvSpPr>
            <p:nvPr/>
          </p:nvSpPr>
          <p:spPr bwMode="auto">
            <a:xfrm>
              <a:off x="11318801" y="5866405"/>
              <a:ext cx="49208" cy="14289"/>
            </a:xfrm>
            <a:custGeom>
              <a:avLst/>
              <a:gdLst>
                <a:gd name="T0" fmla="*/ 47 w 309"/>
                <a:gd name="T1" fmla="*/ 0 h 95"/>
                <a:gd name="T2" fmla="*/ 261 w 309"/>
                <a:gd name="T3" fmla="*/ 0 h 95"/>
                <a:gd name="T4" fmla="*/ 277 w 309"/>
                <a:gd name="T5" fmla="*/ 2 h 95"/>
                <a:gd name="T6" fmla="*/ 289 w 309"/>
                <a:gd name="T7" fmla="*/ 9 h 95"/>
                <a:gd name="T8" fmla="*/ 300 w 309"/>
                <a:gd name="T9" fmla="*/ 20 h 95"/>
                <a:gd name="T10" fmla="*/ 307 w 309"/>
                <a:gd name="T11" fmla="*/ 32 h 95"/>
                <a:gd name="T12" fmla="*/ 309 w 309"/>
                <a:gd name="T13" fmla="*/ 47 h 95"/>
                <a:gd name="T14" fmla="*/ 307 w 309"/>
                <a:gd name="T15" fmla="*/ 62 h 95"/>
                <a:gd name="T16" fmla="*/ 300 w 309"/>
                <a:gd name="T17" fmla="*/ 75 h 95"/>
                <a:gd name="T18" fmla="*/ 289 w 309"/>
                <a:gd name="T19" fmla="*/ 85 h 95"/>
                <a:gd name="T20" fmla="*/ 277 w 309"/>
                <a:gd name="T21" fmla="*/ 91 h 95"/>
                <a:gd name="T22" fmla="*/ 261 w 309"/>
                <a:gd name="T23" fmla="*/ 95 h 95"/>
                <a:gd name="T24" fmla="*/ 47 w 309"/>
                <a:gd name="T25" fmla="*/ 95 h 95"/>
                <a:gd name="T26" fmla="*/ 32 w 309"/>
                <a:gd name="T27" fmla="*/ 91 h 95"/>
                <a:gd name="T28" fmla="*/ 19 w 309"/>
                <a:gd name="T29" fmla="*/ 85 h 95"/>
                <a:gd name="T30" fmla="*/ 9 w 309"/>
                <a:gd name="T31" fmla="*/ 75 h 95"/>
                <a:gd name="T32" fmla="*/ 2 w 309"/>
                <a:gd name="T33" fmla="*/ 62 h 95"/>
                <a:gd name="T34" fmla="*/ 0 w 309"/>
                <a:gd name="T35" fmla="*/ 47 h 95"/>
                <a:gd name="T36" fmla="*/ 2 w 309"/>
                <a:gd name="T37" fmla="*/ 32 h 95"/>
                <a:gd name="T38" fmla="*/ 9 w 309"/>
                <a:gd name="T39" fmla="*/ 20 h 95"/>
                <a:gd name="T40" fmla="*/ 19 w 309"/>
                <a:gd name="T41" fmla="*/ 9 h 95"/>
                <a:gd name="T42" fmla="*/ 32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7" y="2"/>
                  </a:lnTo>
                  <a:lnTo>
                    <a:pt x="289" y="9"/>
                  </a:lnTo>
                  <a:lnTo>
                    <a:pt x="300" y="20"/>
                  </a:lnTo>
                  <a:lnTo>
                    <a:pt x="307" y="32"/>
                  </a:lnTo>
                  <a:lnTo>
                    <a:pt x="309" y="47"/>
                  </a:lnTo>
                  <a:lnTo>
                    <a:pt x="307" y="62"/>
                  </a:lnTo>
                  <a:lnTo>
                    <a:pt x="300" y="75"/>
                  </a:lnTo>
                  <a:lnTo>
                    <a:pt x="289" y="85"/>
                  </a:lnTo>
                  <a:lnTo>
                    <a:pt x="277" y="91"/>
                  </a:lnTo>
                  <a:lnTo>
                    <a:pt x="261" y="95"/>
                  </a:lnTo>
                  <a:lnTo>
                    <a:pt x="47" y="95"/>
                  </a:lnTo>
                  <a:lnTo>
                    <a:pt x="32" y="91"/>
                  </a:lnTo>
                  <a:lnTo>
                    <a:pt x="19" y="85"/>
                  </a:lnTo>
                  <a:lnTo>
                    <a:pt x="9" y="75"/>
                  </a:lnTo>
                  <a:lnTo>
                    <a:pt x="2" y="62"/>
                  </a:lnTo>
                  <a:lnTo>
                    <a:pt x="0" y="47"/>
                  </a:lnTo>
                  <a:lnTo>
                    <a:pt x="2" y="32"/>
                  </a:lnTo>
                  <a:lnTo>
                    <a:pt x="9" y="20"/>
                  </a:lnTo>
                  <a:lnTo>
                    <a:pt x="19" y="9"/>
                  </a:lnTo>
                  <a:lnTo>
                    <a:pt x="32" y="2"/>
                  </a:lnTo>
                  <a:lnTo>
                    <a:pt x="47" y="0"/>
                  </a:lnTo>
                  <a:close/>
                </a:path>
              </a:pathLst>
            </a:custGeom>
            <a:solidFill>
              <a:schemeClr val="accent5"/>
            </a:solidFill>
            <a:ln>
              <a:noFill/>
            </a:ln>
          </p:spPr>
          <p:txBody>
            <a:bodyPr/>
            <a:lstStyle/>
            <a:p>
              <a:endParaRPr lang="de-DE" dirty="0"/>
            </a:p>
          </p:txBody>
        </p:sp>
        <p:sp>
          <p:nvSpPr>
            <p:cNvPr id="454" name="Freeform 360"/>
            <p:cNvSpPr>
              <a:spLocks/>
            </p:cNvSpPr>
            <p:nvPr/>
          </p:nvSpPr>
          <p:spPr bwMode="auto">
            <a:xfrm>
              <a:off x="11390232" y="5863230"/>
              <a:ext cx="47620" cy="14289"/>
            </a:xfrm>
            <a:custGeom>
              <a:avLst/>
              <a:gdLst>
                <a:gd name="T0" fmla="*/ 46 w 302"/>
                <a:gd name="T1" fmla="*/ 0 h 94"/>
                <a:gd name="T2" fmla="*/ 255 w 302"/>
                <a:gd name="T3" fmla="*/ 0 h 94"/>
                <a:gd name="T4" fmla="*/ 270 w 302"/>
                <a:gd name="T5" fmla="*/ 2 h 94"/>
                <a:gd name="T6" fmla="*/ 283 w 302"/>
                <a:gd name="T7" fmla="*/ 9 h 94"/>
                <a:gd name="T8" fmla="*/ 293 w 302"/>
                <a:gd name="T9" fmla="*/ 19 h 94"/>
                <a:gd name="T10" fmla="*/ 299 w 302"/>
                <a:gd name="T11" fmla="*/ 32 h 94"/>
                <a:gd name="T12" fmla="*/ 302 w 302"/>
                <a:gd name="T13" fmla="*/ 48 h 94"/>
                <a:gd name="T14" fmla="*/ 299 w 302"/>
                <a:gd name="T15" fmla="*/ 62 h 94"/>
                <a:gd name="T16" fmla="*/ 293 w 302"/>
                <a:gd name="T17" fmla="*/ 74 h 94"/>
                <a:gd name="T18" fmla="*/ 283 w 302"/>
                <a:gd name="T19" fmla="*/ 85 h 94"/>
                <a:gd name="T20" fmla="*/ 270 w 302"/>
                <a:gd name="T21" fmla="*/ 92 h 94"/>
                <a:gd name="T22" fmla="*/ 255 w 302"/>
                <a:gd name="T23" fmla="*/ 94 h 94"/>
                <a:gd name="T24" fmla="*/ 46 w 302"/>
                <a:gd name="T25" fmla="*/ 94 h 94"/>
                <a:gd name="T26" fmla="*/ 32 w 302"/>
                <a:gd name="T27" fmla="*/ 92 h 94"/>
                <a:gd name="T28" fmla="*/ 18 w 302"/>
                <a:gd name="T29" fmla="*/ 85 h 94"/>
                <a:gd name="T30" fmla="*/ 8 w 302"/>
                <a:gd name="T31" fmla="*/ 74 h 94"/>
                <a:gd name="T32" fmla="*/ 2 w 302"/>
                <a:gd name="T33" fmla="*/ 62 h 94"/>
                <a:gd name="T34" fmla="*/ 0 w 302"/>
                <a:gd name="T35" fmla="*/ 48 h 94"/>
                <a:gd name="T36" fmla="*/ 2 w 302"/>
                <a:gd name="T37" fmla="*/ 32 h 94"/>
                <a:gd name="T38" fmla="*/ 8 w 302"/>
                <a:gd name="T39" fmla="*/ 19 h 94"/>
                <a:gd name="T40" fmla="*/ 18 w 302"/>
                <a:gd name="T41" fmla="*/ 9 h 94"/>
                <a:gd name="T42" fmla="*/ 32 w 302"/>
                <a:gd name="T43" fmla="*/ 2 h 94"/>
                <a:gd name="T44" fmla="*/ 46 w 302"/>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2" h="94">
                  <a:moveTo>
                    <a:pt x="46" y="0"/>
                  </a:moveTo>
                  <a:lnTo>
                    <a:pt x="255" y="0"/>
                  </a:lnTo>
                  <a:lnTo>
                    <a:pt x="270" y="2"/>
                  </a:lnTo>
                  <a:lnTo>
                    <a:pt x="283" y="9"/>
                  </a:lnTo>
                  <a:lnTo>
                    <a:pt x="293" y="19"/>
                  </a:lnTo>
                  <a:lnTo>
                    <a:pt x="299" y="32"/>
                  </a:lnTo>
                  <a:lnTo>
                    <a:pt x="302" y="48"/>
                  </a:lnTo>
                  <a:lnTo>
                    <a:pt x="299" y="62"/>
                  </a:lnTo>
                  <a:lnTo>
                    <a:pt x="293" y="74"/>
                  </a:lnTo>
                  <a:lnTo>
                    <a:pt x="283" y="85"/>
                  </a:lnTo>
                  <a:lnTo>
                    <a:pt x="270" y="92"/>
                  </a:lnTo>
                  <a:lnTo>
                    <a:pt x="255" y="94"/>
                  </a:lnTo>
                  <a:lnTo>
                    <a:pt x="46" y="94"/>
                  </a:lnTo>
                  <a:lnTo>
                    <a:pt x="32" y="92"/>
                  </a:lnTo>
                  <a:lnTo>
                    <a:pt x="18" y="85"/>
                  </a:lnTo>
                  <a:lnTo>
                    <a:pt x="8" y="74"/>
                  </a:lnTo>
                  <a:lnTo>
                    <a:pt x="2" y="62"/>
                  </a:lnTo>
                  <a:lnTo>
                    <a:pt x="0" y="48"/>
                  </a:lnTo>
                  <a:lnTo>
                    <a:pt x="2" y="32"/>
                  </a:lnTo>
                  <a:lnTo>
                    <a:pt x="8" y="19"/>
                  </a:lnTo>
                  <a:lnTo>
                    <a:pt x="18" y="9"/>
                  </a:lnTo>
                  <a:lnTo>
                    <a:pt x="32" y="2"/>
                  </a:lnTo>
                  <a:lnTo>
                    <a:pt x="46" y="0"/>
                  </a:lnTo>
                  <a:close/>
                </a:path>
              </a:pathLst>
            </a:custGeom>
            <a:solidFill>
              <a:schemeClr val="accent5"/>
            </a:solidFill>
            <a:ln>
              <a:noFill/>
            </a:ln>
          </p:spPr>
          <p:txBody>
            <a:bodyPr/>
            <a:lstStyle/>
            <a:p>
              <a:endParaRPr lang="de-DE" dirty="0"/>
            </a:p>
          </p:txBody>
        </p:sp>
        <p:sp>
          <p:nvSpPr>
            <p:cNvPr id="455" name="Freeform 361"/>
            <p:cNvSpPr>
              <a:spLocks/>
            </p:cNvSpPr>
            <p:nvPr/>
          </p:nvSpPr>
          <p:spPr bwMode="auto">
            <a:xfrm>
              <a:off x="10979110" y="5918799"/>
              <a:ext cx="42858" cy="14289"/>
            </a:xfrm>
            <a:custGeom>
              <a:avLst/>
              <a:gdLst>
                <a:gd name="T0" fmla="*/ 45 w 271"/>
                <a:gd name="T1" fmla="*/ 0 h 87"/>
                <a:gd name="T2" fmla="*/ 228 w 271"/>
                <a:gd name="T3" fmla="*/ 0 h 87"/>
                <a:gd name="T4" fmla="*/ 242 w 271"/>
                <a:gd name="T5" fmla="*/ 2 h 87"/>
                <a:gd name="T6" fmla="*/ 254 w 271"/>
                <a:gd name="T7" fmla="*/ 7 h 87"/>
                <a:gd name="T8" fmla="*/ 264 w 271"/>
                <a:gd name="T9" fmla="*/ 17 h 87"/>
                <a:gd name="T10" fmla="*/ 269 w 271"/>
                <a:gd name="T11" fmla="*/ 29 h 87"/>
                <a:gd name="T12" fmla="*/ 271 w 271"/>
                <a:gd name="T13" fmla="*/ 44 h 87"/>
                <a:gd name="T14" fmla="*/ 269 w 271"/>
                <a:gd name="T15" fmla="*/ 57 h 87"/>
                <a:gd name="T16" fmla="*/ 264 w 271"/>
                <a:gd name="T17" fmla="*/ 69 h 87"/>
                <a:gd name="T18" fmla="*/ 254 w 271"/>
                <a:gd name="T19" fmla="*/ 78 h 87"/>
                <a:gd name="T20" fmla="*/ 242 w 271"/>
                <a:gd name="T21" fmla="*/ 85 h 87"/>
                <a:gd name="T22" fmla="*/ 228 w 271"/>
                <a:gd name="T23" fmla="*/ 87 h 87"/>
                <a:gd name="T24" fmla="*/ 45 w 271"/>
                <a:gd name="T25" fmla="*/ 87 h 87"/>
                <a:gd name="T26" fmla="*/ 30 w 271"/>
                <a:gd name="T27" fmla="*/ 85 h 87"/>
                <a:gd name="T28" fmla="*/ 19 w 271"/>
                <a:gd name="T29" fmla="*/ 78 h 87"/>
                <a:gd name="T30" fmla="*/ 9 w 271"/>
                <a:gd name="T31" fmla="*/ 69 h 87"/>
                <a:gd name="T32" fmla="*/ 3 w 271"/>
                <a:gd name="T33" fmla="*/ 57 h 87"/>
                <a:gd name="T34" fmla="*/ 0 w 271"/>
                <a:gd name="T35" fmla="*/ 44 h 87"/>
                <a:gd name="T36" fmla="*/ 3 w 271"/>
                <a:gd name="T37" fmla="*/ 29 h 87"/>
                <a:gd name="T38" fmla="*/ 9 w 271"/>
                <a:gd name="T39" fmla="*/ 17 h 87"/>
                <a:gd name="T40" fmla="*/ 19 w 271"/>
                <a:gd name="T41" fmla="*/ 7 h 87"/>
                <a:gd name="T42" fmla="*/ 30 w 271"/>
                <a:gd name="T43" fmla="*/ 2 h 87"/>
                <a:gd name="T44" fmla="*/ 45 w 27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87">
                  <a:moveTo>
                    <a:pt x="45" y="0"/>
                  </a:moveTo>
                  <a:lnTo>
                    <a:pt x="228" y="0"/>
                  </a:lnTo>
                  <a:lnTo>
                    <a:pt x="242" y="2"/>
                  </a:lnTo>
                  <a:lnTo>
                    <a:pt x="254" y="7"/>
                  </a:lnTo>
                  <a:lnTo>
                    <a:pt x="264" y="17"/>
                  </a:lnTo>
                  <a:lnTo>
                    <a:pt x="269" y="29"/>
                  </a:lnTo>
                  <a:lnTo>
                    <a:pt x="271" y="44"/>
                  </a:lnTo>
                  <a:lnTo>
                    <a:pt x="269" y="57"/>
                  </a:lnTo>
                  <a:lnTo>
                    <a:pt x="264" y="69"/>
                  </a:lnTo>
                  <a:lnTo>
                    <a:pt x="254" y="78"/>
                  </a:lnTo>
                  <a:lnTo>
                    <a:pt x="242" y="85"/>
                  </a:lnTo>
                  <a:lnTo>
                    <a:pt x="228" y="87"/>
                  </a:lnTo>
                  <a:lnTo>
                    <a:pt x="45" y="87"/>
                  </a:lnTo>
                  <a:lnTo>
                    <a:pt x="30" y="85"/>
                  </a:lnTo>
                  <a:lnTo>
                    <a:pt x="19" y="78"/>
                  </a:lnTo>
                  <a:lnTo>
                    <a:pt x="9" y="69"/>
                  </a:lnTo>
                  <a:lnTo>
                    <a:pt x="3" y="57"/>
                  </a:lnTo>
                  <a:lnTo>
                    <a:pt x="0" y="44"/>
                  </a:lnTo>
                  <a:lnTo>
                    <a:pt x="3" y="29"/>
                  </a:lnTo>
                  <a:lnTo>
                    <a:pt x="9" y="17"/>
                  </a:lnTo>
                  <a:lnTo>
                    <a:pt x="19" y="7"/>
                  </a:lnTo>
                  <a:lnTo>
                    <a:pt x="30" y="2"/>
                  </a:lnTo>
                  <a:lnTo>
                    <a:pt x="45" y="0"/>
                  </a:lnTo>
                  <a:close/>
                </a:path>
              </a:pathLst>
            </a:custGeom>
            <a:solidFill>
              <a:schemeClr val="accent5"/>
            </a:solidFill>
            <a:ln>
              <a:noFill/>
            </a:ln>
          </p:spPr>
          <p:txBody>
            <a:bodyPr/>
            <a:lstStyle/>
            <a:p>
              <a:endParaRPr lang="de-DE" dirty="0"/>
            </a:p>
          </p:txBody>
        </p:sp>
        <p:sp>
          <p:nvSpPr>
            <p:cNvPr id="456" name="Freeform 362"/>
            <p:cNvSpPr>
              <a:spLocks/>
            </p:cNvSpPr>
            <p:nvPr/>
          </p:nvSpPr>
          <p:spPr bwMode="auto">
            <a:xfrm>
              <a:off x="11052128" y="5920387"/>
              <a:ext cx="50795" cy="14289"/>
            </a:xfrm>
            <a:custGeom>
              <a:avLst/>
              <a:gdLst>
                <a:gd name="T0" fmla="*/ 48 w 317"/>
                <a:gd name="T1" fmla="*/ 0 h 96"/>
                <a:gd name="T2" fmla="*/ 270 w 317"/>
                <a:gd name="T3" fmla="*/ 0 h 96"/>
                <a:gd name="T4" fmla="*/ 284 w 317"/>
                <a:gd name="T5" fmla="*/ 3 h 96"/>
                <a:gd name="T6" fmla="*/ 297 w 317"/>
                <a:gd name="T7" fmla="*/ 10 h 96"/>
                <a:gd name="T8" fmla="*/ 308 w 317"/>
                <a:gd name="T9" fmla="*/ 20 h 96"/>
                <a:gd name="T10" fmla="*/ 315 w 317"/>
                <a:gd name="T11" fmla="*/ 33 h 96"/>
                <a:gd name="T12" fmla="*/ 317 w 317"/>
                <a:gd name="T13" fmla="*/ 48 h 96"/>
                <a:gd name="T14" fmla="*/ 315 w 317"/>
                <a:gd name="T15" fmla="*/ 64 h 96"/>
                <a:gd name="T16" fmla="*/ 308 w 317"/>
                <a:gd name="T17" fmla="*/ 77 h 96"/>
                <a:gd name="T18" fmla="*/ 297 w 317"/>
                <a:gd name="T19" fmla="*/ 87 h 96"/>
                <a:gd name="T20" fmla="*/ 285 w 317"/>
                <a:gd name="T21" fmla="*/ 94 h 96"/>
                <a:gd name="T22" fmla="*/ 270 w 317"/>
                <a:gd name="T23" fmla="*/ 96 h 96"/>
                <a:gd name="T24" fmla="*/ 48 w 317"/>
                <a:gd name="T25" fmla="*/ 96 h 96"/>
                <a:gd name="T26" fmla="*/ 33 w 317"/>
                <a:gd name="T27" fmla="*/ 94 h 96"/>
                <a:gd name="T28" fmla="*/ 20 w 317"/>
                <a:gd name="T29" fmla="*/ 87 h 96"/>
                <a:gd name="T30" fmla="*/ 10 w 317"/>
                <a:gd name="T31" fmla="*/ 77 h 96"/>
                <a:gd name="T32" fmla="*/ 2 w 317"/>
                <a:gd name="T33" fmla="*/ 64 h 96"/>
                <a:gd name="T34" fmla="*/ 0 w 317"/>
                <a:gd name="T35" fmla="*/ 48 h 96"/>
                <a:gd name="T36" fmla="*/ 2 w 317"/>
                <a:gd name="T37" fmla="*/ 33 h 96"/>
                <a:gd name="T38" fmla="*/ 10 w 317"/>
                <a:gd name="T39" fmla="*/ 20 h 96"/>
                <a:gd name="T40" fmla="*/ 20 w 317"/>
                <a:gd name="T41" fmla="*/ 10 h 96"/>
                <a:gd name="T42" fmla="*/ 33 w 317"/>
                <a:gd name="T43" fmla="*/ 3 h 96"/>
                <a:gd name="T44" fmla="*/ 48 w 317"/>
                <a:gd name="T4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96">
                  <a:moveTo>
                    <a:pt x="48" y="0"/>
                  </a:moveTo>
                  <a:lnTo>
                    <a:pt x="270" y="0"/>
                  </a:lnTo>
                  <a:lnTo>
                    <a:pt x="284" y="3"/>
                  </a:lnTo>
                  <a:lnTo>
                    <a:pt x="297" y="10"/>
                  </a:lnTo>
                  <a:lnTo>
                    <a:pt x="308" y="20"/>
                  </a:lnTo>
                  <a:lnTo>
                    <a:pt x="315" y="33"/>
                  </a:lnTo>
                  <a:lnTo>
                    <a:pt x="317" y="48"/>
                  </a:lnTo>
                  <a:lnTo>
                    <a:pt x="315" y="64"/>
                  </a:lnTo>
                  <a:lnTo>
                    <a:pt x="308" y="77"/>
                  </a:lnTo>
                  <a:lnTo>
                    <a:pt x="297" y="87"/>
                  </a:lnTo>
                  <a:lnTo>
                    <a:pt x="285" y="94"/>
                  </a:lnTo>
                  <a:lnTo>
                    <a:pt x="270" y="96"/>
                  </a:lnTo>
                  <a:lnTo>
                    <a:pt x="48" y="96"/>
                  </a:lnTo>
                  <a:lnTo>
                    <a:pt x="33" y="94"/>
                  </a:lnTo>
                  <a:lnTo>
                    <a:pt x="20" y="87"/>
                  </a:lnTo>
                  <a:lnTo>
                    <a:pt x="10" y="77"/>
                  </a:lnTo>
                  <a:lnTo>
                    <a:pt x="2" y="64"/>
                  </a:lnTo>
                  <a:lnTo>
                    <a:pt x="0" y="48"/>
                  </a:lnTo>
                  <a:lnTo>
                    <a:pt x="2" y="33"/>
                  </a:lnTo>
                  <a:lnTo>
                    <a:pt x="10" y="20"/>
                  </a:lnTo>
                  <a:lnTo>
                    <a:pt x="20" y="10"/>
                  </a:lnTo>
                  <a:lnTo>
                    <a:pt x="33" y="3"/>
                  </a:lnTo>
                  <a:lnTo>
                    <a:pt x="48" y="0"/>
                  </a:lnTo>
                  <a:close/>
                </a:path>
              </a:pathLst>
            </a:custGeom>
            <a:solidFill>
              <a:schemeClr val="accent5"/>
            </a:solidFill>
            <a:ln>
              <a:noFill/>
            </a:ln>
          </p:spPr>
          <p:txBody>
            <a:bodyPr/>
            <a:lstStyle/>
            <a:p>
              <a:endParaRPr lang="de-DE" dirty="0"/>
            </a:p>
          </p:txBody>
        </p:sp>
        <p:sp>
          <p:nvSpPr>
            <p:cNvPr id="457" name="Freeform 363"/>
            <p:cNvSpPr>
              <a:spLocks/>
            </p:cNvSpPr>
            <p:nvPr/>
          </p:nvSpPr>
          <p:spPr bwMode="auto">
            <a:xfrm>
              <a:off x="11117209" y="5921974"/>
              <a:ext cx="41271" cy="12701"/>
            </a:xfrm>
            <a:custGeom>
              <a:avLst/>
              <a:gdLst>
                <a:gd name="T0" fmla="*/ 43 w 261"/>
                <a:gd name="T1" fmla="*/ 0 h 85"/>
                <a:gd name="T2" fmla="*/ 218 w 261"/>
                <a:gd name="T3" fmla="*/ 0 h 85"/>
                <a:gd name="T4" fmla="*/ 233 w 261"/>
                <a:gd name="T5" fmla="*/ 2 h 85"/>
                <a:gd name="T6" fmla="*/ 244 w 261"/>
                <a:gd name="T7" fmla="*/ 7 h 85"/>
                <a:gd name="T8" fmla="*/ 254 w 261"/>
                <a:gd name="T9" fmla="*/ 17 h 85"/>
                <a:gd name="T10" fmla="*/ 259 w 261"/>
                <a:gd name="T11" fmla="*/ 28 h 85"/>
                <a:gd name="T12" fmla="*/ 261 w 261"/>
                <a:gd name="T13" fmla="*/ 43 h 85"/>
                <a:gd name="T14" fmla="*/ 259 w 261"/>
                <a:gd name="T15" fmla="*/ 56 h 85"/>
                <a:gd name="T16" fmla="*/ 254 w 261"/>
                <a:gd name="T17" fmla="*/ 67 h 85"/>
                <a:gd name="T18" fmla="*/ 244 w 261"/>
                <a:gd name="T19" fmla="*/ 77 h 85"/>
                <a:gd name="T20" fmla="*/ 233 w 261"/>
                <a:gd name="T21" fmla="*/ 83 h 85"/>
                <a:gd name="T22" fmla="*/ 218 w 261"/>
                <a:gd name="T23" fmla="*/ 85 h 85"/>
                <a:gd name="T24" fmla="*/ 43 w 261"/>
                <a:gd name="T25" fmla="*/ 85 h 85"/>
                <a:gd name="T26" fmla="*/ 29 w 261"/>
                <a:gd name="T27" fmla="*/ 83 h 85"/>
                <a:gd name="T28" fmla="*/ 18 w 261"/>
                <a:gd name="T29" fmla="*/ 77 h 85"/>
                <a:gd name="T30" fmla="*/ 8 w 261"/>
                <a:gd name="T31" fmla="*/ 67 h 85"/>
                <a:gd name="T32" fmla="*/ 3 w 261"/>
                <a:gd name="T33" fmla="*/ 56 h 85"/>
                <a:gd name="T34" fmla="*/ 0 w 261"/>
                <a:gd name="T35" fmla="*/ 43 h 85"/>
                <a:gd name="T36" fmla="*/ 3 w 261"/>
                <a:gd name="T37" fmla="*/ 28 h 85"/>
                <a:gd name="T38" fmla="*/ 8 w 261"/>
                <a:gd name="T39" fmla="*/ 17 h 85"/>
                <a:gd name="T40" fmla="*/ 18 w 261"/>
                <a:gd name="T41" fmla="*/ 7 h 85"/>
                <a:gd name="T42" fmla="*/ 29 w 261"/>
                <a:gd name="T43" fmla="*/ 2 h 85"/>
                <a:gd name="T44" fmla="*/ 43 w 261"/>
                <a:gd name="T4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5">
                  <a:moveTo>
                    <a:pt x="43" y="0"/>
                  </a:moveTo>
                  <a:lnTo>
                    <a:pt x="218" y="0"/>
                  </a:lnTo>
                  <a:lnTo>
                    <a:pt x="233" y="2"/>
                  </a:lnTo>
                  <a:lnTo>
                    <a:pt x="244" y="7"/>
                  </a:lnTo>
                  <a:lnTo>
                    <a:pt x="254" y="17"/>
                  </a:lnTo>
                  <a:lnTo>
                    <a:pt x="259" y="28"/>
                  </a:lnTo>
                  <a:lnTo>
                    <a:pt x="261" y="43"/>
                  </a:lnTo>
                  <a:lnTo>
                    <a:pt x="259" y="56"/>
                  </a:lnTo>
                  <a:lnTo>
                    <a:pt x="254" y="67"/>
                  </a:lnTo>
                  <a:lnTo>
                    <a:pt x="244" y="77"/>
                  </a:lnTo>
                  <a:lnTo>
                    <a:pt x="233" y="83"/>
                  </a:lnTo>
                  <a:lnTo>
                    <a:pt x="218" y="85"/>
                  </a:lnTo>
                  <a:lnTo>
                    <a:pt x="43" y="85"/>
                  </a:lnTo>
                  <a:lnTo>
                    <a:pt x="29" y="83"/>
                  </a:lnTo>
                  <a:lnTo>
                    <a:pt x="18" y="77"/>
                  </a:lnTo>
                  <a:lnTo>
                    <a:pt x="8" y="67"/>
                  </a:lnTo>
                  <a:lnTo>
                    <a:pt x="3" y="56"/>
                  </a:lnTo>
                  <a:lnTo>
                    <a:pt x="0" y="43"/>
                  </a:lnTo>
                  <a:lnTo>
                    <a:pt x="3" y="28"/>
                  </a:lnTo>
                  <a:lnTo>
                    <a:pt x="8" y="17"/>
                  </a:lnTo>
                  <a:lnTo>
                    <a:pt x="18" y="7"/>
                  </a:lnTo>
                  <a:lnTo>
                    <a:pt x="29" y="2"/>
                  </a:lnTo>
                  <a:lnTo>
                    <a:pt x="43" y="0"/>
                  </a:lnTo>
                  <a:close/>
                </a:path>
              </a:pathLst>
            </a:custGeom>
            <a:solidFill>
              <a:schemeClr val="accent5"/>
            </a:solidFill>
            <a:ln>
              <a:noFill/>
            </a:ln>
          </p:spPr>
          <p:txBody>
            <a:bodyPr/>
            <a:lstStyle/>
            <a:p>
              <a:endParaRPr lang="de-DE" dirty="0"/>
            </a:p>
          </p:txBody>
        </p:sp>
        <p:sp>
          <p:nvSpPr>
            <p:cNvPr id="458" name="Freeform 364"/>
            <p:cNvSpPr>
              <a:spLocks/>
            </p:cNvSpPr>
            <p:nvPr/>
          </p:nvSpPr>
          <p:spPr bwMode="auto">
            <a:xfrm>
              <a:off x="11179115" y="5917211"/>
              <a:ext cx="55557" cy="17464"/>
            </a:xfrm>
            <a:custGeom>
              <a:avLst/>
              <a:gdLst>
                <a:gd name="T0" fmla="*/ 50 w 348"/>
                <a:gd name="T1" fmla="*/ 0 h 102"/>
                <a:gd name="T2" fmla="*/ 297 w 348"/>
                <a:gd name="T3" fmla="*/ 0 h 102"/>
                <a:gd name="T4" fmla="*/ 314 w 348"/>
                <a:gd name="T5" fmla="*/ 3 h 102"/>
                <a:gd name="T6" fmla="*/ 327 w 348"/>
                <a:gd name="T7" fmla="*/ 10 h 102"/>
                <a:gd name="T8" fmla="*/ 338 w 348"/>
                <a:gd name="T9" fmla="*/ 21 h 102"/>
                <a:gd name="T10" fmla="*/ 346 w 348"/>
                <a:gd name="T11" fmla="*/ 35 h 102"/>
                <a:gd name="T12" fmla="*/ 348 w 348"/>
                <a:gd name="T13" fmla="*/ 51 h 102"/>
                <a:gd name="T14" fmla="*/ 346 w 348"/>
                <a:gd name="T15" fmla="*/ 67 h 102"/>
                <a:gd name="T16" fmla="*/ 338 w 348"/>
                <a:gd name="T17" fmla="*/ 81 h 102"/>
                <a:gd name="T18" fmla="*/ 327 w 348"/>
                <a:gd name="T19" fmla="*/ 92 h 102"/>
                <a:gd name="T20" fmla="*/ 314 w 348"/>
                <a:gd name="T21" fmla="*/ 99 h 102"/>
                <a:gd name="T22" fmla="*/ 297 w 348"/>
                <a:gd name="T23" fmla="*/ 102 h 102"/>
                <a:gd name="T24" fmla="*/ 50 w 348"/>
                <a:gd name="T25" fmla="*/ 102 h 102"/>
                <a:gd name="T26" fmla="*/ 35 w 348"/>
                <a:gd name="T27" fmla="*/ 99 h 102"/>
                <a:gd name="T28" fmla="*/ 21 w 348"/>
                <a:gd name="T29" fmla="*/ 92 h 102"/>
                <a:gd name="T30" fmla="*/ 10 w 348"/>
                <a:gd name="T31" fmla="*/ 81 h 102"/>
                <a:gd name="T32" fmla="*/ 3 w 348"/>
                <a:gd name="T33" fmla="*/ 67 h 102"/>
                <a:gd name="T34" fmla="*/ 0 w 348"/>
                <a:gd name="T35" fmla="*/ 51 h 102"/>
                <a:gd name="T36" fmla="*/ 3 w 348"/>
                <a:gd name="T37" fmla="*/ 35 h 102"/>
                <a:gd name="T38" fmla="*/ 10 w 348"/>
                <a:gd name="T39" fmla="*/ 21 h 102"/>
                <a:gd name="T40" fmla="*/ 21 w 348"/>
                <a:gd name="T41" fmla="*/ 10 h 102"/>
                <a:gd name="T42" fmla="*/ 35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4" y="3"/>
                  </a:lnTo>
                  <a:lnTo>
                    <a:pt x="327" y="10"/>
                  </a:lnTo>
                  <a:lnTo>
                    <a:pt x="338" y="21"/>
                  </a:lnTo>
                  <a:lnTo>
                    <a:pt x="346" y="35"/>
                  </a:lnTo>
                  <a:lnTo>
                    <a:pt x="348" y="51"/>
                  </a:lnTo>
                  <a:lnTo>
                    <a:pt x="346" y="67"/>
                  </a:lnTo>
                  <a:lnTo>
                    <a:pt x="338" y="81"/>
                  </a:lnTo>
                  <a:lnTo>
                    <a:pt x="327" y="92"/>
                  </a:lnTo>
                  <a:lnTo>
                    <a:pt x="314" y="99"/>
                  </a:lnTo>
                  <a:lnTo>
                    <a:pt x="297" y="102"/>
                  </a:lnTo>
                  <a:lnTo>
                    <a:pt x="50" y="102"/>
                  </a:lnTo>
                  <a:lnTo>
                    <a:pt x="35" y="99"/>
                  </a:lnTo>
                  <a:lnTo>
                    <a:pt x="21" y="92"/>
                  </a:lnTo>
                  <a:lnTo>
                    <a:pt x="10" y="81"/>
                  </a:lnTo>
                  <a:lnTo>
                    <a:pt x="3" y="67"/>
                  </a:lnTo>
                  <a:lnTo>
                    <a:pt x="0" y="51"/>
                  </a:lnTo>
                  <a:lnTo>
                    <a:pt x="3" y="35"/>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459" name="Freeform 365"/>
            <p:cNvSpPr>
              <a:spLocks/>
            </p:cNvSpPr>
            <p:nvPr/>
          </p:nvSpPr>
          <p:spPr bwMode="auto">
            <a:xfrm>
              <a:off x="11253720" y="5917211"/>
              <a:ext cx="55557" cy="15877"/>
            </a:xfrm>
            <a:custGeom>
              <a:avLst/>
              <a:gdLst>
                <a:gd name="T0" fmla="*/ 51 w 351"/>
                <a:gd name="T1" fmla="*/ 0 h 102"/>
                <a:gd name="T2" fmla="*/ 300 w 351"/>
                <a:gd name="T3" fmla="*/ 0 h 102"/>
                <a:gd name="T4" fmla="*/ 317 w 351"/>
                <a:gd name="T5" fmla="*/ 2 h 102"/>
                <a:gd name="T6" fmla="*/ 330 w 351"/>
                <a:gd name="T7" fmla="*/ 10 h 102"/>
                <a:gd name="T8" fmla="*/ 341 w 351"/>
                <a:gd name="T9" fmla="*/ 21 h 102"/>
                <a:gd name="T10" fmla="*/ 349 w 351"/>
                <a:gd name="T11" fmla="*/ 35 h 102"/>
                <a:gd name="T12" fmla="*/ 351 w 351"/>
                <a:gd name="T13" fmla="*/ 51 h 102"/>
                <a:gd name="T14" fmla="*/ 349 w 351"/>
                <a:gd name="T15" fmla="*/ 67 h 102"/>
                <a:gd name="T16" fmla="*/ 341 w 351"/>
                <a:gd name="T17" fmla="*/ 81 h 102"/>
                <a:gd name="T18" fmla="*/ 330 w 351"/>
                <a:gd name="T19" fmla="*/ 92 h 102"/>
                <a:gd name="T20" fmla="*/ 317 w 351"/>
                <a:gd name="T21" fmla="*/ 100 h 102"/>
                <a:gd name="T22" fmla="*/ 300 w 351"/>
                <a:gd name="T23" fmla="*/ 102 h 102"/>
                <a:gd name="T24" fmla="*/ 51 w 351"/>
                <a:gd name="T25" fmla="*/ 102 h 102"/>
                <a:gd name="T26" fmla="*/ 35 w 351"/>
                <a:gd name="T27" fmla="*/ 100 h 102"/>
                <a:gd name="T28" fmla="*/ 21 w 351"/>
                <a:gd name="T29" fmla="*/ 92 h 102"/>
                <a:gd name="T30" fmla="*/ 10 w 351"/>
                <a:gd name="T31" fmla="*/ 81 h 102"/>
                <a:gd name="T32" fmla="*/ 2 w 351"/>
                <a:gd name="T33" fmla="*/ 67 h 102"/>
                <a:gd name="T34" fmla="*/ 0 w 351"/>
                <a:gd name="T35" fmla="*/ 51 h 102"/>
                <a:gd name="T36" fmla="*/ 2 w 351"/>
                <a:gd name="T37" fmla="*/ 35 h 102"/>
                <a:gd name="T38" fmla="*/ 10 w 351"/>
                <a:gd name="T39" fmla="*/ 21 h 102"/>
                <a:gd name="T40" fmla="*/ 21 w 351"/>
                <a:gd name="T41" fmla="*/ 10 h 102"/>
                <a:gd name="T42" fmla="*/ 35 w 351"/>
                <a:gd name="T43" fmla="*/ 2 h 102"/>
                <a:gd name="T44" fmla="*/ 51 w 351"/>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102">
                  <a:moveTo>
                    <a:pt x="51" y="0"/>
                  </a:moveTo>
                  <a:lnTo>
                    <a:pt x="300" y="0"/>
                  </a:lnTo>
                  <a:lnTo>
                    <a:pt x="317" y="2"/>
                  </a:lnTo>
                  <a:lnTo>
                    <a:pt x="330" y="10"/>
                  </a:lnTo>
                  <a:lnTo>
                    <a:pt x="341" y="21"/>
                  </a:lnTo>
                  <a:lnTo>
                    <a:pt x="349" y="35"/>
                  </a:lnTo>
                  <a:lnTo>
                    <a:pt x="351" y="51"/>
                  </a:lnTo>
                  <a:lnTo>
                    <a:pt x="349" y="67"/>
                  </a:lnTo>
                  <a:lnTo>
                    <a:pt x="341" y="81"/>
                  </a:lnTo>
                  <a:lnTo>
                    <a:pt x="330" y="92"/>
                  </a:lnTo>
                  <a:lnTo>
                    <a:pt x="317" y="100"/>
                  </a:lnTo>
                  <a:lnTo>
                    <a:pt x="300" y="102"/>
                  </a:lnTo>
                  <a:lnTo>
                    <a:pt x="51" y="102"/>
                  </a:lnTo>
                  <a:lnTo>
                    <a:pt x="35" y="100"/>
                  </a:lnTo>
                  <a:lnTo>
                    <a:pt x="21" y="92"/>
                  </a:lnTo>
                  <a:lnTo>
                    <a:pt x="10" y="81"/>
                  </a:lnTo>
                  <a:lnTo>
                    <a:pt x="2" y="67"/>
                  </a:lnTo>
                  <a:lnTo>
                    <a:pt x="0" y="51"/>
                  </a:lnTo>
                  <a:lnTo>
                    <a:pt x="2" y="35"/>
                  </a:lnTo>
                  <a:lnTo>
                    <a:pt x="10" y="21"/>
                  </a:lnTo>
                  <a:lnTo>
                    <a:pt x="21" y="10"/>
                  </a:lnTo>
                  <a:lnTo>
                    <a:pt x="35" y="2"/>
                  </a:lnTo>
                  <a:lnTo>
                    <a:pt x="51" y="0"/>
                  </a:lnTo>
                  <a:close/>
                </a:path>
              </a:pathLst>
            </a:custGeom>
            <a:solidFill>
              <a:schemeClr val="accent5"/>
            </a:solidFill>
            <a:ln>
              <a:noFill/>
            </a:ln>
          </p:spPr>
          <p:txBody>
            <a:bodyPr/>
            <a:lstStyle/>
            <a:p>
              <a:endParaRPr lang="de-DE" dirty="0"/>
            </a:p>
          </p:txBody>
        </p:sp>
        <p:sp>
          <p:nvSpPr>
            <p:cNvPr id="460" name="Freeform 366"/>
            <p:cNvSpPr>
              <a:spLocks/>
            </p:cNvSpPr>
            <p:nvPr/>
          </p:nvSpPr>
          <p:spPr bwMode="auto">
            <a:xfrm>
              <a:off x="11325151" y="5920387"/>
              <a:ext cx="47620" cy="14289"/>
            </a:xfrm>
            <a:custGeom>
              <a:avLst/>
              <a:gdLst>
                <a:gd name="T0" fmla="*/ 46 w 304"/>
                <a:gd name="T1" fmla="*/ 0 h 94"/>
                <a:gd name="T2" fmla="*/ 258 w 304"/>
                <a:gd name="T3" fmla="*/ 0 h 94"/>
                <a:gd name="T4" fmla="*/ 272 w 304"/>
                <a:gd name="T5" fmla="*/ 3 h 94"/>
                <a:gd name="T6" fmla="*/ 285 w 304"/>
                <a:gd name="T7" fmla="*/ 10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8 w 304"/>
                <a:gd name="T23" fmla="*/ 94 h 94"/>
                <a:gd name="T24" fmla="*/ 46 w 304"/>
                <a:gd name="T25" fmla="*/ 94 h 94"/>
                <a:gd name="T26" fmla="*/ 32 w 304"/>
                <a:gd name="T27" fmla="*/ 92 h 94"/>
                <a:gd name="T28" fmla="*/ 19 w 304"/>
                <a:gd name="T29" fmla="*/ 85 h 94"/>
                <a:gd name="T30" fmla="*/ 9 w 304"/>
                <a:gd name="T31" fmla="*/ 75 h 94"/>
                <a:gd name="T32" fmla="*/ 2 w 304"/>
                <a:gd name="T33" fmla="*/ 62 h 94"/>
                <a:gd name="T34" fmla="*/ 0 w 304"/>
                <a:gd name="T35" fmla="*/ 47 h 94"/>
                <a:gd name="T36" fmla="*/ 2 w 304"/>
                <a:gd name="T37" fmla="*/ 32 h 94"/>
                <a:gd name="T38" fmla="*/ 9 w 304"/>
                <a:gd name="T39" fmla="*/ 20 h 94"/>
                <a:gd name="T40" fmla="*/ 19 w 304"/>
                <a:gd name="T41" fmla="*/ 10 h 94"/>
                <a:gd name="T42" fmla="*/ 32 w 304"/>
                <a:gd name="T43" fmla="*/ 3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8" y="0"/>
                  </a:lnTo>
                  <a:lnTo>
                    <a:pt x="272" y="3"/>
                  </a:lnTo>
                  <a:lnTo>
                    <a:pt x="285" y="10"/>
                  </a:lnTo>
                  <a:lnTo>
                    <a:pt x="295" y="20"/>
                  </a:lnTo>
                  <a:lnTo>
                    <a:pt x="302" y="32"/>
                  </a:lnTo>
                  <a:lnTo>
                    <a:pt x="304" y="47"/>
                  </a:lnTo>
                  <a:lnTo>
                    <a:pt x="302" y="62"/>
                  </a:lnTo>
                  <a:lnTo>
                    <a:pt x="295" y="75"/>
                  </a:lnTo>
                  <a:lnTo>
                    <a:pt x="285" y="85"/>
                  </a:lnTo>
                  <a:lnTo>
                    <a:pt x="272" y="92"/>
                  </a:lnTo>
                  <a:lnTo>
                    <a:pt x="258" y="94"/>
                  </a:lnTo>
                  <a:lnTo>
                    <a:pt x="46" y="94"/>
                  </a:lnTo>
                  <a:lnTo>
                    <a:pt x="32" y="92"/>
                  </a:lnTo>
                  <a:lnTo>
                    <a:pt x="19" y="85"/>
                  </a:lnTo>
                  <a:lnTo>
                    <a:pt x="9" y="75"/>
                  </a:lnTo>
                  <a:lnTo>
                    <a:pt x="2" y="62"/>
                  </a:lnTo>
                  <a:lnTo>
                    <a:pt x="0" y="47"/>
                  </a:lnTo>
                  <a:lnTo>
                    <a:pt x="2" y="32"/>
                  </a:lnTo>
                  <a:lnTo>
                    <a:pt x="9" y="20"/>
                  </a:lnTo>
                  <a:lnTo>
                    <a:pt x="19" y="10"/>
                  </a:lnTo>
                  <a:lnTo>
                    <a:pt x="32" y="3"/>
                  </a:lnTo>
                  <a:lnTo>
                    <a:pt x="46" y="0"/>
                  </a:lnTo>
                  <a:close/>
                </a:path>
              </a:pathLst>
            </a:custGeom>
            <a:solidFill>
              <a:schemeClr val="accent5"/>
            </a:solidFill>
            <a:ln>
              <a:noFill/>
            </a:ln>
          </p:spPr>
          <p:txBody>
            <a:bodyPr/>
            <a:lstStyle/>
            <a:p>
              <a:endParaRPr lang="de-DE" dirty="0"/>
            </a:p>
          </p:txBody>
        </p:sp>
        <p:sp>
          <p:nvSpPr>
            <p:cNvPr id="461" name="Freeform 367"/>
            <p:cNvSpPr>
              <a:spLocks/>
            </p:cNvSpPr>
            <p:nvPr/>
          </p:nvSpPr>
          <p:spPr bwMode="auto">
            <a:xfrm>
              <a:off x="11391819" y="5920387"/>
              <a:ext cx="41271" cy="12701"/>
            </a:xfrm>
            <a:custGeom>
              <a:avLst/>
              <a:gdLst>
                <a:gd name="T0" fmla="*/ 42 w 260"/>
                <a:gd name="T1" fmla="*/ 0 h 85"/>
                <a:gd name="T2" fmla="*/ 217 w 260"/>
                <a:gd name="T3" fmla="*/ 0 h 85"/>
                <a:gd name="T4" fmla="*/ 234 w 260"/>
                <a:gd name="T5" fmla="*/ 3 h 85"/>
                <a:gd name="T6" fmla="*/ 248 w 260"/>
                <a:gd name="T7" fmla="*/ 12 h 85"/>
                <a:gd name="T8" fmla="*/ 257 w 260"/>
                <a:gd name="T9" fmla="*/ 25 h 85"/>
                <a:gd name="T10" fmla="*/ 260 w 260"/>
                <a:gd name="T11" fmla="*/ 42 h 85"/>
                <a:gd name="T12" fmla="*/ 257 w 260"/>
                <a:gd name="T13" fmla="*/ 58 h 85"/>
                <a:gd name="T14" fmla="*/ 248 w 260"/>
                <a:gd name="T15" fmla="*/ 73 h 85"/>
                <a:gd name="T16" fmla="*/ 234 w 260"/>
                <a:gd name="T17" fmla="*/ 81 h 85"/>
                <a:gd name="T18" fmla="*/ 217 w 260"/>
                <a:gd name="T19" fmla="*/ 85 h 85"/>
                <a:gd name="T20" fmla="*/ 42 w 260"/>
                <a:gd name="T21" fmla="*/ 85 h 85"/>
                <a:gd name="T22" fmla="*/ 29 w 260"/>
                <a:gd name="T23" fmla="*/ 83 h 85"/>
                <a:gd name="T24" fmla="*/ 18 w 260"/>
                <a:gd name="T25" fmla="*/ 76 h 85"/>
                <a:gd name="T26" fmla="*/ 8 w 260"/>
                <a:gd name="T27" fmla="*/ 67 h 85"/>
                <a:gd name="T28" fmla="*/ 2 w 260"/>
                <a:gd name="T29" fmla="*/ 55 h 85"/>
                <a:gd name="T30" fmla="*/ 0 w 260"/>
                <a:gd name="T31" fmla="*/ 42 h 85"/>
                <a:gd name="T32" fmla="*/ 2 w 260"/>
                <a:gd name="T33" fmla="*/ 28 h 85"/>
                <a:gd name="T34" fmla="*/ 8 w 260"/>
                <a:gd name="T35" fmla="*/ 16 h 85"/>
                <a:gd name="T36" fmla="*/ 18 w 260"/>
                <a:gd name="T37" fmla="*/ 7 h 85"/>
                <a:gd name="T38" fmla="*/ 29 w 260"/>
                <a:gd name="T39" fmla="*/ 1 h 85"/>
                <a:gd name="T40" fmla="*/ 42 w 260"/>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85">
                  <a:moveTo>
                    <a:pt x="42" y="0"/>
                  </a:moveTo>
                  <a:lnTo>
                    <a:pt x="217" y="0"/>
                  </a:lnTo>
                  <a:lnTo>
                    <a:pt x="234" y="3"/>
                  </a:lnTo>
                  <a:lnTo>
                    <a:pt x="248" y="12"/>
                  </a:lnTo>
                  <a:lnTo>
                    <a:pt x="257" y="25"/>
                  </a:lnTo>
                  <a:lnTo>
                    <a:pt x="260" y="42"/>
                  </a:lnTo>
                  <a:lnTo>
                    <a:pt x="257" y="58"/>
                  </a:lnTo>
                  <a:lnTo>
                    <a:pt x="248" y="73"/>
                  </a:lnTo>
                  <a:lnTo>
                    <a:pt x="234" y="81"/>
                  </a:lnTo>
                  <a:lnTo>
                    <a:pt x="217" y="85"/>
                  </a:lnTo>
                  <a:lnTo>
                    <a:pt x="42" y="85"/>
                  </a:lnTo>
                  <a:lnTo>
                    <a:pt x="29" y="83"/>
                  </a:lnTo>
                  <a:lnTo>
                    <a:pt x="18" y="76"/>
                  </a:lnTo>
                  <a:lnTo>
                    <a:pt x="8" y="67"/>
                  </a:lnTo>
                  <a:lnTo>
                    <a:pt x="2" y="55"/>
                  </a:lnTo>
                  <a:lnTo>
                    <a:pt x="0" y="42"/>
                  </a:lnTo>
                  <a:lnTo>
                    <a:pt x="2" y="28"/>
                  </a:lnTo>
                  <a:lnTo>
                    <a:pt x="8" y="16"/>
                  </a:lnTo>
                  <a:lnTo>
                    <a:pt x="18" y="7"/>
                  </a:lnTo>
                  <a:lnTo>
                    <a:pt x="29" y="1"/>
                  </a:lnTo>
                  <a:lnTo>
                    <a:pt x="42" y="0"/>
                  </a:lnTo>
                  <a:close/>
                </a:path>
              </a:pathLst>
            </a:custGeom>
            <a:solidFill>
              <a:schemeClr val="accent5"/>
            </a:solidFill>
            <a:ln>
              <a:noFill/>
            </a:ln>
          </p:spPr>
          <p:txBody>
            <a:bodyPr/>
            <a:lstStyle/>
            <a:p>
              <a:endParaRPr lang="de-DE" dirty="0"/>
            </a:p>
          </p:txBody>
        </p:sp>
        <p:sp>
          <p:nvSpPr>
            <p:cNvPr id="462" name="Freeform 368"/>
            <p:cNvSpPr>
              <a:spLocks/>
            </p:cNvSpPr>
            <p:nvPr/>
          </p:nvSpPr>
          <p:spPr bwMode="auto">
            <a:xfrm>
              <a:off x="10982285" y="5971192"/>
              <a:ext cx="50795" cy="15877"/>
            </a:xfrm>
            <a:custGeom>
              <a:avLst/>
              <a:gdLst>
                <a:gd name="T0" fmla="*/ 48 w 311"/>
                <a:gd name="T1" fmla="*/ 0 h 95"/>
                <a:gd name="T2" fmla="*/ 263 w 311"/>
                <a:gd name="T3" fmla="*/ 0 h 95"/>
                <a:gd name="T4" fmla="*/ 278 w 311"/>
                <a:gd name="T5" fmla="*/ 2 h 95"/>
                <a:gd name="T6" fmla="*/ 291 w 311"/>
                <a:gd name="T7" fmla="*/ 8 h 95"/>
                <a:gd name="T8" fmla="*/ 301 w 311"/>
                <a:gd name="T9" fmla="*/ 18 h 95"/>
                <a:gd name="T10" fmla="*/ 309 w 311"/>
                <a:gd name="T11" fmla="*/ 32 h 95"/>
                <a:gd name="T12" fmla="*/ 311 w 311"/>
                <a:gd name="T13" fmla="*/ 47 h 95"/>
                <a:gd name="T14" fmla="*/ 309 w 311"/>
                <a:gd name="T15" fmla="*/ 61 h 95"/>
                <a:gd name="T16" fmla="*/ 301 w 311"/>
                <a:gd name="T17" fmla="*/ 75 h 95"/>
                <a:gd name="T18" fmla="*/ 291 w 311"/>
                <a:gd name="T19" fmla="*/ 85 h 95"/>
                <a:gd name="T20" fmla="*/ 278 w 311"/>
                <a:gd name="T21" fmla="*/ 92 h 95"/>
                <a:gd name="T22" fmla="*/ 263 w 311"/>
                <a:gd name="T23" fmla="*/ 95 h 95"/>
                <a:gd name="T24" fmla="*/ 48 w 311"/>
                <a:gd name="T25" fmla="*/ 95 h 95"/>
                <a:gd name="T26" fmla="*/ 32 w 311"/>
                <a:gd name="T27" fmla="*/ 92 h 95"/>
                <a:gd name="T28" fmla="*/ 19 w 311"/>
                <a:gd name="T29" fmla="*/ 85 h 95"/>
                <a:gd name="T30" fmla="*/ 9 w 311"/>
                <a:gd name="T31" fmla="*/ 75 h 95"/>
                <a:gd name="T32" fmla="*/ 2 w 311"/>
                <a:gd name="T33" fmla="*/ 61 h 95"/>
                <a:gd name="T34" fmla="*/ 0 w 311"/>
                <a:gd name="T35" fmla="*/ 47 h 95"/>
                <a:gd name="T36" fmla="*/ 2 w 311"/>
                <a:gd name="T37" fmla="*/ 32 h 95"/>
                <a:gd name="T38" fmla="*/ 9 w 311"/>
                <a:gd name="T39" fmla="*/ 18 h 95"/>
                <a:gd name="T40" fmla="*/ 19 w 311"/>
                <a:gd name="T41" fmla="*/ 8 h 95"/>
                <a:gd name="T42" fmla="*/ 32 w 311"/>
                <a:gd name="T43" fmla="*/ 2 h 95"/>
                <a:gd name="T44" fmla="*/ 48 w 311"/>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1" h="95">
                  <a:moveTo>
                    <a:pt x="48" y="0"/>
                  </a:moveTo>
                  <a:lnTo>
                    <a:pt x="263" y="0"/>
                  </a:lnTo>
                  <a:lnTo>
                    <a:pt x="278" y="2"/>
                  </a:lnTo>
                  <a:lnTo>
                    <a:pt x="291" y="8"/>
                  </a:lnTo>
                  <a:lnTo>
                    <a:pt x="301" y="18"/>
                  </a:lnTo>
                  <a:lnTo>
                    <a:pt x="309" y="32"/>
                  </a:lnTo>
                  <a:lnTo>
                    <a:pt x="311" y="47"/>
                  </a:lnTo>
                  <a:lnTo>
                    <a:pt x="309" y="61"/>
                  </a:lnTo>
                  <a:lnTo>
                    <a:pt x="301" y="75"/>
                  </a:lnTo>
                  <a:lnTo>
                    <a:pt x="291" y="85"/>
                  </a:lnTo>
                  <a:lnTo>
                    <a:pt x="278" y="92"/>
                  </a:lnTo>
                  <a:lnTo>
                    <a:pt x="263" y="95"/>
                  </a:lnTo>
                  <a:lnTo>
                    <a:pt x="48" y="95"/>
                  </a:lnTo>
                  <a:lnTo>
                    <a:pt x="32" y="92"/>
                  </a:lnTo>
                  <a:lnTo>
                    <a:pt x="19" y="85"/>
                  </a:lnTo>
                  <a:lnTo>
                    <a:pt x="9" y="75"/>
                  </a:lnTo>
                  <a:lnTo>
                    <a:pt x="2" y="61"/>
                  </a:lnTo>
                  <a:lnTo>
                    <a:pt x="0" y="47"/>
                  </a:lnTo>
                  <a:lnTo>
                    <a:pt x="2" y="32"/>
                  </a:lnTo>
                  <a:lnTo>
                    <a:pt x="9" y="18"/>
                  </a:lnTo>
                  <a:lnTo>
                    <a:pt x="19" y="8"/>
                  </a:lnTo>
                  <a:lnTo>
                    <a:pt x="32" y="2"/>
                  </a:lnTo>
                  <a:lnTo>
                    <a:pt x="48" y="0"/>
                  </a:lnTo>
                  <a:close/>
                </a:path>
              </a:pathLst>
            </a:custGeom>
            <a:solidFill>
              <a:schemeClr val="accent5"/>
            </a:solidFill>
            <a:ln>
              <a:noFill/>
            </a:ln>
          </p:spPr>
          <p:txBody>
            <a:bodyPr/>
            <a:lstStyle/>
            <a:p>
              <a:endParaRPr lang="de-DE" dirty="0"/>
            </a:p>
          </p:txBody>
        </p:sp>
        <p:sp>
          <p:nvSpPr>
            <p:cNvPr id="463" name="Freeform 369"/>
            <p:cNvSpPr>
              <a:spLocks/>
            </p:cNvSpPr>
            <p:nvPr/>
          </p:nvSpPr>
          <p:spPr bwMode="auto">
            <a:xfrm>
              <a:off x="11047366" y="5975955"/>
              <a:ext cx="39684" cy="14289"/>
            </a:xfrm>
            <a:custGeom>
              <a:avLst/>
              <a:gdLst>
                <a:gd name="T0" fmla="*/ 42 w 248"/>
                <a:gd name="T1" fmla="*/ 0 h 83"/>
                <a:gd name="T2" fmla="*/ 206 w 248"/>
                <a:gd name="T3" fmla="*/ 0 h 83"/>
                <a:gd name="T4" fmla="*/ 222 w 248"/>
                <a:gd name="T5" fmla="*/ 4 h 83"/>
                <a:gd name="T6" fmla="*/ 236 w 248"/>
                <a:gd name="T7" fmla="*/ 13 h 83"/>
                <a:gd name="T8" fmla="*/ 244 w 248"/>
                <a:gd name="T9" fmla="*/ 26 h 83"/>
                <a:gd name="T10" fmla="*/ 248 w 248"/>
                <a:gd name="T11" fmla="*/ 42 h 83"/>
                <a:gd name="T12" fmla="*/ 244 w 248"/>
                <a:gd name="T13" fmla="*/ 59 h 83"/>
                <a:gd name="T14" fmla="*/ 236 w 248"/>
                <a:gd name="T15" fmla="*/ 71 h 83"/>
                <a:gd name="T16" fmla="*/ 222 w 248"/>
                <a:gd name="T17" fmla="*/ 81 h 83"/>
                <a:gd name="T18" fmla="*/ 206 w 248"/>
                <a:gd name="T19" fmla="*/ 83 h 83"/>
                <a:gd name="T20" fmla="*/ 42 w 248"/>
                <a:gd name="T21" fmla="*/ 83 h 83"/>
                <a:gd name="T22" fmla="*/ 25 w 248"/>
                <a:gd name="T23" fmla="*/ 81 h 83"/>
                <a:gd name="T24" fmla="*/ 12 w 248"/>
                <a:gd name="T25" fmla="*/ 72 h 83"/>
                <a:gd name="T26" fmla="*/ 3 w 248"/>
                <a:gd name="T27" fmla="*/ 59 h 83"/>
                <a:gd name="T28" fmla="*/ 0 w 248"/>
                <a:gd name="T29" fmla="*/ 42 h 83"/>
                <a:gd name="T30" fmla="*/ 3 w 248"/>
                <a:gd name="T31" fmla="*/ 26 h 83"/>
                <a:gd name="T32" fmla="*/ 12 w 248"/>
                <a:gd name="T33" fmla="*/ 13 h 83"/>
                <a:gd name="T34" fmla="*/ 25 w 248"/>
                <a:gd name="T35" fmla="*/ 4 h 83"/>
                <a:gd name="T36" fmla="*/ 42 w 248"/>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8" h="83">
                  <a:moveTo>
                    <a:pt x="42" y="0"/>
                  </a:moveTo>
                  <a:lnTo>
                    <a:pt x="206" y="0"/>
                  </a:lnTo>
                  <a:lnTo>
                    <a:pt x="222" y="4"/>
                  </a:lnTo>
                  <a:lnTo>
                    <a:pt x="236" y="13"/>
                  </a:lnTo>
                  <a:lnTo>
                    <a:pt x="244" y="26"/>
                  </a:lnTo>
                  <a:lnTo>
                    <a:pt x="248" y="42"/>
                  </a:lnTo>
                  <a:lnTo>
                    <a:pt x="244" y="59"/>
                  </a:lnTo>
                  <a:lnTo>
                    <a:pt x="236" y="71"/>
                  </a:lnTo>
                  <a:lnTo>
                    <a:pt x="222" y="81"/>
                  </a:lnTo>
                  <a:lnTo>
                    <a:pt x="206" y="83"/>
                  </a:lnTo>
                  <a:lnTo>
                    <a:pt x="42" y="83"/>
                  </a:lnTo>
                  <a:lnTo>
                    <a:pt x="25" y="81"/>
                  </a:lnTo>
                  <a:lnTo>
                    <a:pt x="12" y="72"/>
                  </a:lnTo>
                  <a:lnTo>
                    <a:pt x="3" y="59"/>
                  </a:lnTo>
                  <a:lnTo>
                    <a:pt x="0" y="42"/>
                  </a:lnTo>
                  <a:lnTo>
                    <a:pt x="3" y="26"/>
                  </a:lnTo>
                  <a:lnTo>
                    <a:pt x="12" y="13"/>
                  </a:lnTo>
                  <a:lnTo>
                    <a:pt x="25" y="4"/>
                  </a:lnTo>
                  <a:lnTo>
                    <a:pt x="42" y="0"/>
                  </a:lnTo>
                  <a:close/>
                </a:path>
              </a:pathLst>
            </a:custGeom>
            <a:solidFill>
              <a:schemeClr val="accent5"/>
            </a:solidFill>
            <a:ln>
              <a:noFill/>
            </a:ln>
          </p:spPr>
          <p:txBody>
            <a:bodyPr/>
            <a:lstStyle/>
            <a:p>
              <a:endParaRPr lang="de-DE" dirty="0"/>
            </a:p>
          </p:txBody>
        </p:sp>
        <p:sp>
          <p:nvSpPr>
            <p:cNvPr id="464" name="Freeform 370"/>
            <p:cNvSpPr>
              <a:spLocks/>
            </p:cNvSpPr>
            <p:nvPr/>
          </p:nvSpPr>
          <p:spPr bwMode="auto">
            <a:xfrm>
              <a:off x="11118796" y="5974368"/>
              <a:ext cx="47620" cy="14289"/>
            </a:xfrm>
            <a:custGeom>
              <a:avLst/>
              <a:gdLst>
                <a:gd name="T0" fmla="*/ 47 w 300"/>
                <a:gd name="T1" fmla="*/ 0 h 93"/>
                <a:gd name="T2" fmla="*/ 254 w 300"/>
                <a:gd name="T3" fmla="*/ 0 h 93"/>
                <a:gd name="T4" fmla="*/ 268 w 300"/>
                <a:gd name="T5" fmla="*/ 2 h 93"/>
                <a:gd name="T6" fmla="*/ 281 w 300"/>
                <a:gd name="T7" fmla="*/ 9 h 93"/>
                <a:gd name="T8" fmla="*/ 291 w 300"/>
                <a:gd name="T9" fmla="*/ 19 h 93"/>
                <a:gd name="T10" fmla="*/ 298 w 300"/>
                <a:gd name="T11" fmla="*/ 32 h 93"/>
                <a:gd name="T12" fmla="*/ 300 w 300"/>
                <a:gd name="T13" fmla="*/ 47 h 93"/>
                <a:gd name="T14" fmla="*/ 298 w 300"/>
                <a:gd name="T15" fmla="*/ 61 h 93"/>
                <a:gd name="T16" fmla="*/ 291 w 300"/>
                <a:gd name="T17" fmla="*/ 74 h 93"/>
                <a:gd name="T18" fmla="*/ 281 w 300"/>
                <a:gd name="T19" fmla="*/ 84 h 93"/>
                <a:gd name="T20" fmla="*/ 268 w 300"/>
                <a:gd name="T21" fmla="*/ 91 h 93"/>
                <a:gd name="T22" fmla="*/ 254 w 300"/>
                <a:gd name="T23" fmla="*/ 93 h 93"/>
                <a:gd name="T24" fmla="*/ 47 w 300"/>
                <a:gd name="T25" fmla="*/ 93 h 93"/>
                <a:gd name="T26" fmla="*/ 32 w 300"/>
                <a:gd name="T27" fmla="*/ 91 h 93"/>
                <a:gd name="T28" fmla="*/ 19 w 300"/>
                <a:gd name="T29" fmla="*/ 84 h 93"/>
                <a:gd name="T30" fmla="*/ 9 w 300"/>
                <a:gd name="T31" fmla="*/ 74 h 93"/>
                <a:gd name="T32" fmla="*/ 3 w 300"/>
                <a:gd name="T33" fmla="*/ 61 h 93"/>
                <a:gd name="T34" fmla="*/ 0 w 300"/>
                <a:gd name="T35" fmla="*/ 47 h 93"/>
                <a:gd name="T36" fmla="*/ 3 w 300"/>
                <a:gd name="T37" fmla="*/ 32 h 93"/>
                <a:gd name="T38" fmla="*/ 9 w 300"/>
                <a:gd name="T39" fmla="*/ 19 h 93"/>
                <a:gd name="T40" fmla="*/ 19 w 300"/>
                <a:gd name="T41" fmla="*/ 9 h 93"/>
                <a:gd name="T42" fmla="*/ 32 w 300"/>
                <a:gd name="T43" fmla="*/ 2 h 93"/>
                <a:gd name="T44" fmla="*/ 47 w 300"/>
                <a:gd name="T4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93">
                  <a:moveTo>
                    <a:pt x="47" y="0"/>
                  </a:moveTo>
                  <a:lnTo>
                    <a:pt x="254" y="0"/>
                  </a:lnTo>
                  <a:lnTo>
                    <a:pt x="268" y="2"/>
                  </a:lnTo>
                  <a:lnTo>
                    <a:pt x="281" y="9"/>
                  </a:lnTo>
                  <a:lnTo>
                    <a:pt x="291" y="19"/>
                  </a:lnTo>
                  <a:lnTo>
                    <a:pt x="298" y="32"/>
                  </a:lnTo>
                  <a:lnTo>
                    <a:pt x="300" y="47"/>
                  </a:lnTo>
                  <a:lnTo>
                    <a:pt x="298" y="61"/>
                  </a:lnTo>
                  <a:lnTo>
                    <a:pt x="291" y="74"/>
                  </a:lnTo>
                  <a:lnTo>
                    <a:pt x="281" y="84"/>
                  </a:lnTo>
                  <a:lnTo>
                    <a:pt x="268" y="91"/>
                  </a:lnTo>
                  <a:lnTo>
                    <a:pt x="254" y="93"/>
                  </a:lnTo>
                  <a:lnTo>
                    <a:pt x="47" y="93"/>
                  </a:lnTo>
                  <a:lnTo>
                    <a:pt x="32" y="91"/>
                  </a:lnTo>
                  <a:lnTo>
                    <a:pt x="19" y="84"/>
                  </a:lnTo>
                  <a:lnTo>
                    <a:pt x="9" y="74"/>
                  </a:lnTo>
                  <a:lnTo>
                    <a:pt x="3" y="61"/>
                  </a:lnTo>
                  <a:lnTo>
                    <a:pt x="0" y="47"/>
                  </a:lnTo>
                  <a:lnTo>
                    <a:pt x="3" y="32"/>
                  </a:lnTo>
                  <a:lnTo>
                    <a:pt x="9" y="19"/>
                  </a:lnTo>
                  <a:lnTo>
                    <a:pt x="19" y="9"/>
                  </a:lnTo>
                  <a:lnTo>
                    <a:pt x="32" y="2"/>
                  </a:lnTo>
                  <a:lnTo>
                    <a:pt x="47" y="0"/>
                  </a:lnTo>
                  <a:close/>
                </a:path>
              </a:pathLst>
            </a:custGeom>
            <a:solidFill>
              <a:schemeClr val="accent5"/>
            </a:solidFill>
            <a:ln>
              <a:noFill/>
            </a:ln>
          </p:spPr>
          <p:txBody>
            <a:bodyPr/>
            <a:lstStyle/>
            <a:p>
              <a:endParaRPr lang="de-DE" dirty="0"/>
            </a:p>
          </p:txBody>
        </p:sp>
        <p:sp>
          <p:nvSpPr>
            <p:cNvPr id="465" name="Freeform 371"/>
            <p:cNvSpPr>
              <a:spLocks/>
            </p:cNvSpPr>
            <p:nvPr/>
          </p:nvSpPr>
          <p:spPr bwMode="auto">
            <a:xfrm>
              <a:off x="11179115" y="5972780"/>
              <a:ext cx="50795" cy="15877"/>
            </a:xfrm>
            <a:custGeom>
              <a:avLst/>
              <a:gdLst>
                <a:gd name="T0" fmla="*/ 48 w 312"/>
                <a:gd name="T1" fmla="*/ 0 h 95"/>
                <a:gd name="T2" fmla="*/ 264 w 312"/>
                <a:gd name="T3" fmla="*/ 0 h 95"/>
                <a:gd name="T4" fmla="*/ 279 w 312"/>
                <a:gd name="T5" fmla="*/ 3 h 95"/>
                <a:gd name="T6" fmla="*/ 292 w 312"/>
                <a:gd name="T7" fmla="*/ 9 h 95"/>
                <a:gd name="T8" fmla="*/ 302 w 312"/>
                <a:gd name="T9" fmla="*/ 20 h 95"/>
                <a:gd name="T10" fmla="*/ 309 w 312"/>
                <a:gd name="T11" fmla="*/ 32 h 95"/>
                <a:gd name="T12" fmla="*/ 312 w 312"/>
                <a:gd name="T13" fmla="*/ 48 h 95"/>
                <a:gd name="T14" fmla="*/ 309 w 312"/>
                <a:gd name="T15" fmla="*/ 62 h 95"/>
                <a:gd name="T16" fmla="*/ 302 w 312"/>
                <a:gd name="T17" fmla="*/ 75 h 95"/>
                <a:gd name="T18" fmla="*/ 292 w 312"/>
                <a:gd name="T19" fmla="*/ 86 h 95"/>
                <a:gd name="T20" fmla="*/ 279 w 312"/>
                <a:gd name="T21" fmla="*/ 93 h 95"/>
                <a:gd name="T22" fmla="*/ 264 w 312"/>
                <a:gd name="T23" fmla="*/ 95 h 95"/>
                <a:gd name="T24" fmla="*/ 48 w 312"/>
                <a:gd name="T25" fmla="*/ 95 h 95"/>
                <a:gd name="T26" fmla="*/ 33 w 312"/>
                <a:gd name="T27" fmla="*/ 93 h 95"/>
                <a:gd name="T28" fmla="*/ 20 w 312"/>
                <a:gd name="T29" fmla="*/ 86 h 95"/>
                <a:gd name="T30" fmla="*/ 10 w 312"/>
                <a:gd name="T31" fmla="*/ 75 h 95"/>
                <a:gd name="T32" fmla="*/ 3 w 312"/>
                <a:gd name="T33" fmla="*/ 62 h 95"/>
                <a:gd name="T34" fmla="*/ 0 w 312"/>
                <a:gd name="T35" fmla="*/ 48 h 95"/>
                <a:gd name="T36" fmla="*/ 3 w 312"/>
                <a:gd name="T37" fmla="*/ 32 h 95"/>
                <a:gd name="T38" fmla="*/ 10 w 312"/>
                <a:gd name="T39" fmla="*/ 20 h 95"/>
                <a:gd name="T40" fmla="*/ 20 w 312"/>
                <a:gd name="T41" fmla="*/ 9 h 95"/>
                <a:gd name="T42" fmla="*/ 33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4" y="0"/>
                  </a:lnTo>
                  <a:lnTo>
                    <a:pt x="279" y="3"/>
                  </a:lnTo>
                  <a:lnTo>
                    <a:pt x="292" y="9"/>
                  </a:lnTo>
                  <a:lnTo>
                    <a:pt x="302" y="20"/>
                  </a:lnTo>
                  <a:lnTo>
                    <a:pt x="309" y="32"/>
                  </a:lnTo>
                  <a:lnTo>
                    <a:pt x="312" y="48"/>
                  </a:lnTo>
                  <a:lnTo>
                    <a:pt x="309" y="62"/>
                  </a:lnTo>
                  <a:lnTo>
                    <a:pt x="302" y="75"/>
                  </a:lnTo>
                  <a:lnTo>
                    <a:pt x="292" y="86"/>
                  </a:lnTo>
                  <a:lnTo>
                    <a:pt x="279" y="93"/>
                  </a:lnTo>
                  <a:lnTo>
                    <a:pt x="264" y="95"/>
                  </a:lnTo>
                  <a:lnTo>
                    <a:pt x="48" y="95"/>
                  </a:lnTo>
                  <a:lnTo>
                    <a:pt x="33" y="93"/>
                  </a:lnTo>
                  <a:lnTo>
                    <a:pt x="20" y="86"/>
                  </a:lnTo>
                  <a:lnTo>
                    <a:pt x="10" y="75"/>
                  </a:lnTo>
                  <a:lnTo>
                    <a:pt x="3" y="62"/>
                  </a:lnTo>
                  <a:lnTo>
                    <a:pt x="0" y="48"/>
                  </a:lnTo>
                  <a:lnTo>
                    <a:pt x="3" y="32"/>
                  </a:lnTo>
                  <a:lnTo>
                    <a:pt x="10" y="20"/>
                  </a:lnTo>
                  <a:lnTo>
                    <a:pt x="20" y="9"/>
                  </a:lnTo>
                  <a:lnTo>
                    <a:pt x="33" y="3"/>
                  </a:lnTo>
                  <a:lnTo>
                    <a:pt x="48" y="0"/>
                  </a:lnTo>
                  <a:close/>
                </a:path>
              </a:pathLst>
            </a:custGeom>
            <a:solidFill>
              <a:schemeClr val="accent5"/>
            </a:solidFill>
            <a:ln>
              <a:noFill/>
            </a:ln>
          </p:spPr>
          <p:txBody>
            <a:bodyPr/>
            <a:lstStyle/>
            <a:p>
              <a:endParaRPr lang="de-DE" dirty="0"/>
            </a:p>
          </p:txBody>
        </p:sp>
        <p:sp>
          <p:nvSpPr>
            <p:cNvPr id="466" name="Freeform 372"/>
            <p:cNvSpPr>
              <a:spLocks/>
            </p:cNvSpPr>
            <p:nvPr/>
          </p:nvSpPr>
          <p:spPr bwMode="auto">
            <a:xfrm>
              <a:off x="11261657" y="5975955"/>
              <a:ext cx="41271" cy="14289"/>
            </a:xfrm>
            <a:custGeom>
              <a:avLst/>
              <a:gdLst>
                <a:gd name="T0" fmla="*/ 45 w 267"/>
                <a:gd name="T1" fmla="*/ 0 h 86"/>
                <a:gd name="T2" fmla="*/ 224 w 267"/>
                <a:gd name="T3" fmla="*/ 0 h 86"/>
                <a:gd name="T4" fmla="*/ 237 w 267"/>
                <a:gd name="T5" fmla="*/ 2 h 86"/>
                <a:gd name="T6" fmla="*/ 249 w 267"/>
                <a:gd name="T7" fmla="*/ 8 h 86"/>
                <a:gd name="T8" fmla="*/ 259 w 267"/>
                <a:gd name="T9" fmla="*/ 18 h 86"/>
                <a:gd name="T10" fmla="*/ 265 w 267"/>
                <a:gd name="T11" fmla="*/ 30 h 86"/>
                <a:gd name="T12" fmla="*/ 267 w 267"/>
                <a:gd name="T13" fmla="*/ 43 h 86"/>
                <a:gd name="T14" fmla="*/ 265 w 267"/>
                <a:gd name="T15" fmla="*/ 57 h 86"/>
                <a:gd name="T16" fmla="*/ 259 w 267"/>
                <a:gd name="T17" fmla="*/ 69 h 86"/>
                <a:gd name="T18" fmla="*/ 249 w 267"/>
                <a:gd name="T19" fmla="*/ 79 h 86"/>
                <a:gd name="T20" fmla="*/ 237 w 267"/>
                <a:gd name="T21" fmla="*/ 84 h 86"/>
                <a:gd name="T22" fmla="*/ 224 w 267"/>
                <a:gd name="T23" fmla="*/ 86 h 86"/>
                <a:gd name="T24" fmla="*/ 45 w 267"/>
                <a:gd name="T25" fmla="*/ 86 h 86"/>
                <a:gd name="T26" fmla="*/ 30 w 267"/>
                <a:gd name="T27" fmla="*/ 84 h 86"/>
                <a:gd name="T28" fmla="*/ 18 w 267"/>
                <a:gd name="T29" fmla="*/ 79 h 86"/>
                <a:gd name="T30" fmla="*/ 9 w 267"/>
                <a:gd name="T31" fmla="*/ 69 h 86"/>
                <a:gd name="T32" fmla="*/ 3 w 267"/>
                <a:gd name="T33" fmla="*/ 57 h 86"/>
                <a:gd name="T34" fmla="*/ 0 w 267"/>
                <a:gd name="T35" fmla="*/ 43 h 86"/>
                <a:gd name="T36" fmla="*/ 3 w 267"/>
                <a:gd name="T37" fmla="*/ 30 h 86"/>
                <a:gd name="T38" fmla="*/ 9 w 267"/>
                <a:gd name="T39" fmla="*/ 18 h 86"/>
                <a:gd name="T40" fmla="*/ 18 w 267"/>
                <a:gd name="T41" fmla="*/ 8 h 86"/>
                <a:gd name="T42" fmla="*/ 30 w 267"/>
                <a:gd name="T43" fmla="*/ 2 h 86"/>
                <a:gd name="T44" fmla="*/ 45 w 267"/>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7" h="86">
                  <a:moveTo>
                    <a:pt x="45" y="0"/>
                  </a:moveTo>
                  <a:lnTo>
                    <a:pt x="224" y="0"/>
                  </a:lnTo>
                  <a:lnTo>
                    <a:pt x="237" y="2"/>
                  </a:lnTo>
                  <a:lnTo>
                    <a:pt x="249" y="8"/>
                  </a:lnTo>
                  <a:lnTo>
                    <a:pt x="259" y="18"/>
                  </a:lnTo>
                  <a:lnTo>
                    <a:pt x="265" y="30"/>
                  </a:lnTo>
                  <a:lnTo>
                    <a:pt x="267" y="43"/>
                  </a:lnTo>
                  <a:lnTo>
                    <a:pt x="265" y="57"/>
                  </a:lnTo>
                  <a:lnTo>
                    <a:pt x="259" y="69"/>
                  </a:lnTo>
                  <a:lnTo>
                    <a:pt x="249" y="79"/>
                  </a:lnTo>
                  <a:lnTo>
                    <a:pt x="237" y="84"/>
                  </a:lnTo>
                  <a:lnTo>
                    <a:pt x="224" y="86"/>
                  </a:lnTo>
                  <a:lnTo>
                    <a:pt x="45" y="86"/>
                  </a:lnTo>
                  <a:lnTo>
                    <a:pt x="30" y="84"/>
                  </a:lnTo>
                  <a:lnTo>
                    <a:pt x="18" y="79"/>
                  </a:lnTo>
                  <a:lnTo>
                    <a:pt x="9" y="69"/>
                  </a:lnTo>
                  <a:lnTo>
                    <a:pt x="3" y="57"/>
                  </a:lnTo>
                  <a:lnTo>
                    <a:pt x="0" y="43"/>
                  </a:lnTo>
                  <a:lnTo>
                    <a:pt x="3" y="30"/>
                  </a:lnTo>
                  <a:lnTo>
                    <a:pt x="9" y="18"/>
                  </a:lnTo>
                  <a:lnTo>
                    <a:pt x="18" y="8"/>
                  </a:lnTo>
                  <a:lnTo>
                    <a:pt x="30" y="2"/>
                  </a:lnTo>
                  <a:lnTo>
                    <a:pt x="45" y="0"/>
                  </a:lnTo>
                  <a:close/>
                </a:path>
              </a:pathLst>
            </a:custGeom>
            <a:solidFill>
              <a:schemeClr val="accent5"/>
            </a:solidFill>
            <a:ln>
              <a:noFill/>
            </a:ln>
          </p:spPr>
          <p:txBody>
            <a:bodyPr/>
            <a:lstStyle/>
            <a:p>
              <a:endParaRPr lang="de-DE" dirty="0"/>
            </a:p>
          </p:txBody>
        </p:sp>
        <p:sp>
          <p:nvSpPr>
            <p:cNvPr id="467" name="Freeform 373"/>
            <p:cNvSpPr>
              <a:spLocks/>
            </p:cNvSpPr>
            <p:nvPr/>
          </p:nvSpPr>
          <p:spPr bwMode="auto">
            <a:xfrm>
              <a:off x="11317214" y="5969605"/>
              <a:ext cx="53970" cy="15877"/>
            </a:xfrm>
            <a:custGeom>
              <a:avLst/>
              <a:gdLst>
                <a:gd name="T0" fmla="*/ 51 w 344"/>
                <a:gd name="T1" fmla="*/ 0 h 100"/>
                <a:gd name="T2" fmla="*/ 293 w 344"/>
                <a:gd name="T3" fmla="*/ 0 h 100"/>
                <a:gd name="T4" fmla="*/ 310 w 344"/>
                <a:gd name="T5" fmla="*/ 2 h 100"/>
                <a:gd name="T6" fmla="*/ 323 w 344"/>
                <a:gd name="T7" fmla="*/ 10 h 100"/>
                <a:gd name="T8" fmla="*/ 334 w 344"/>
                <a:gd name="T9" fmla="*/ 20 h 100"/>
                <a:gd name="T10" fmla="*/ 342 w 344"/>
                <a:gd name="T11" fmla="*/ 34 h 100"/>
                <a:gd name="T12" fmla="*/ 344 w 344"/>
                <a:gd name="T13" fmla="*/ 49 h 100"/>
                <a:gd name="T14" fmla="*/ 342 w 344"/>
                <a:gd name="T15" fmla="*/ 66 h 100"/>
                <a:gd name="T16" fmla="*/ 334 w 344"/>
                <a:gd name="T17" fmla="*/ 79 h 100"/>
                <a:gd name="T18" fmla="*/ 323 w 344"/>
                <a:gd name="T19" fmla="*/ 90 h 100"/>
                <a:gd name="T20" fmla="*/ 310 w 344"/>
                <a:gd name="T21" fmla="*/ 98 h 100"/>
                <a:gd name="T22" fmla="*/ 293 w 344"/>
                <a:gd name="T23" fmla="*/ 100 h 100"/>
                <a:gd name="T24" fmla="*/ 51 w 344"/>
                <a:gd name="T25" fmla="*/ 100 h 100"/>
                <a:gd name="T26" fmla="*/ 36 w 344"/>
                <a:gd name="T27" fmla="*/ 98 h 100"/>
                <a:gd name="T28" fmla="*/ 21 w 344"/>
                <a:gd name="T29" fmla="*/ 90 h 100"/>
                <a:gd name="T30" fmla="*/ 10 w 344"/>
                <a:gd name="T31" fmla="*/ 79 h 100"/>
                <a:gd name="T32" fmla="*/ 4 w 344"/>
                <a:gd name="T33" fmla="*/ 66 h 100"/>
                <a:gd name="T34" fmla="*/ 0 w 344"/>
                <a:gd name="T35" fmla="*/ 49 h 100"/>
                <a:gd name="T36" fmla="*/ 4 w 344"/>
                <a:gd name="T37" fmla="*/ 34 h 100"/>
                <a:gd name="T38" fmla="*/ 10 w 344"/>
                <a:gd name="T39" fmla="*/ 20 h 100"/>
                <a:gd name="T40" fmla="*/ 21 w 344"/>
                <a:gd name="T41" fmla="*/ 10 h 100"/>
                <a:gd name="T42" fmla="*/ 36 w 344"/>
                <a:gd name="T43" fmla="*/ 2 h 100"/>
                <a:gd name="T44" fmla="*/ 51 w 344"/>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0">
                  <a:moveTo>
                    <a:pt x="51" y="0"/>
                  </a:moveTo>
                  <a:lnTo>
                    <a:pt x="293" y="0"/>
                  </a:lnTo>
                  <a:lnTo>
                    <a:pt x="310" y="2"/>
                  </a:lnTo>
                  <a:lnTo>
                    <a:pt x="323" y="10"/>
                  </a:lnTo>
                  <a:lnTo>
                    <a:pt x="334" y="20"/>
                  </a:lnTo>
                  <a:lnTo>
                    <a:pt x="342" y="34"/>
                  </a:lnTo>
                  <a:lnTo>
                    <a:pt x="344" y="49"/>
                  </a:lnTo>
                  <a:lnTo>
                    <a:pt x="342" y="66"/>
                  </a:lnTo>
                  <a:lnTo>
                    <a:pt x="334" y="79"/>
                  </a:lnTo>
                  <a:lnTo>
                    <a:pt x="323" y="90"/>
                  </a:lnTo>
                  <a:lnTo>
                    <a:pt x="310" y="98"/>
                  </a:lnTo>
                  <a:lnTo>
                    <a:pt x="293" y="100"/>
                  </a:lnTo>
                  <a:lnTo>
                    <a:pt x="51" y="100"/>
                  </a:lnTo>
                  <a:lnTo>
                    <a:pt x="36" y="98"/>
                  </a:lnTo>
                  <a:lnTo>
                    <a:pt x="21" y="90"/>
                  </a:lnTo>
                  <a:lnTo>
                    <a:pt x="10" y="79"/>
                  </a:lnTo>
                  <a:lnTo>
                    <a:pt x="4" y="66"/>
                  </a:lnTo>
                  <a:lnTo>
                    <a:pt x="0" y="49"/>
                  </a:lnTo>
                  <a:lnTo>
                    <a:pt x="4" y="34"/>
                  </a:lnTo>
                  <a:lnTo>
                    <a:pt x="10" y="20"/>
                  </a:lnTo>
                  <a:lnTo>
                    <a:pt x="21" y="10"/>
                  </a:lnTo>
                  <a:lnTo>
                    <a:pt x="36" y="2"/>
                  </a:lnTo>
                  <a:lnTo>
                    <a:pt x="51" y="0"/>
                  </a:lnTo>
                  <a:close/>
                </a:path>
              </a:pathLst>
            </a:custGeom>
            <a:solidFill>
              <a:schemeClr val="accent5"/>
            </a:solidFill>
            <a:ln>
              <a:noFill/>
            </a:ln>
          </p:spPr>
          <p:txBody>
            <a:bodyPr/>
            <a:lstStyle/>
            <a:p>
              <a:endParaRPr lang="de-DE" dirty="0"/>
            </a:p>
          </p:txBody>
        </p:sp>
        <p:sp>
          <p:nvSpPr>
            <p:cNvPr id="468" name="Freeform 374"/>
            <p:cNvSpPr>
              <a:spLocks/>
            </p:cNvSpPr>
            <p:nvPr/>
          </p:nvSpPr>
          <p:spPr bwMode="auto">
            <a:xfrm>
              <a:off x="11387057" y="5972780"/>
              <a:ext cx="57144" cy="15877"/>
            </a:xfrm>
            <a:custGeom>
              <a:avLst/>
              <a:gdLst>
                <a:gd name="T0" fmla="*/ 50 w 357"/>
                <a:gd name="T1" fmla="*/ 0 h 103"/>
                <a:gd name="T2" fmla="*/ 305 w 357"/>
                <a:gd name="T3" fmla="*/ 0 h 103"/>
                <a:gd name="T4" fmla="*/ 322 w 357"/>
                <a:gd name="T5" fmla="*/ 3 h 103"/>
                <a:gd name="T6" fmla="*/ 336 w 357"/>
                <a:gd name="T7" fmla="*/ 10 h 103"/>
                <a:gd name="T8" fmla="*/ 347 w 357"/>
                <a:gd name="T9" fmla="*/ 21 h 103"/>
                <a:gd name="T10" fmla="*/ 355 w 357"/>
                <a:gd name="T11" fmla="*/ 36 h 103"/>
                <a:gd name="T12" fmla="*/ 357 w 357"/>
                <a:gd name="T13" fmla="*/ 52 h 103"/>
                <a:gd name="T14" fmla="*/ 355 w 357"/>
                <a:gd name="T15" fmla="*/ 68 h 103"/>
                <a:gd name="T16" fmla="*/ 347 w 357"/>
                <a:gd name="T17" fmla="*/ 82 h 103"/>
                <a:gd name="T18" fmla="*/ 336 w 357"/>
                <a:gd name="T19" fmla="*/ 93 h 103"/>
                <a:gd name="T20" fmla="*/ 322 w 357"/>
                <a:gd name="T21" fmla="*/ 101 h 103"/>
                <a:gd name="T22" fmla="*/ 305 w 357"/>
                <a:gd name="T23" fmla="*/ 103 h 103"/>
                <a:gd name="T24" fmla="*/ 50 w 357"/>
                <a:gd name="T25" fmla="*/ 103 h 103"/>
                <a:gd name="T26" fmla="*/ 35 w 357"/>
                <a:gd name="T27" fmla="*/ 101 h 103"/>
                <a:gd name="T28" fmla="*/ 21 w 357"/>
                <a:gd name="T29" fmla="*/ 93 h 103"/>
                <a:gd name="T30" fmla="*/ 10 w 357"/>
                <a:gd name="T31" fmla="*/ 82 h 103"/>
                <a:gd name="T32" fmla="*/ 2 w 357"/>
                <a:gd name="T33" fmla="*/ 68 h 103"/>
                <a:gd name="T34" fmla="*/ 0 w 357"/>
                <a:gd name="T35" fmla="*/ 52 h 103"/>
                <a:gd name="T36" fmla="*/ 2 w 357"/>
                <a:gd name="T37" fmla="*/ 36 h 103"/>
                <a:gd name="T38" fmla="*/ 10 w 357"/>
                <a:gd name="T39" fmla="*/ 21 h 103"/>
                <a:gd name="T40" fmla="*/ 21 w 357"/>
                <a:gd name="T41" fmla="*/ 10 h 103"/>
                <a:gd name="T42" fmla="*/ 35 w 357"/>
                <a:gd name="T43" fmla="*/ 3 h 103"/>
                <a:gd name="T44" fmla="*/ 50 w 357"/>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103">
                  <a:moveTo>
                    <a:pt x="50" y="0"/>
                  </a:moveTo>
                  <a:lnTo>
                    <a:pt x="305" y="0"/>
                  </a:lnTo>
                  <a:lnTo>
                    <a:pt x="322" y="3"/>
                  </a:lnTo>
                  <a:lnTo>
                    <a:pt x="336" y="10"/>
                  </a:lnTo>
                  <a:lnTo>
                    <a:pt x="347" y="21"/>
                  </a:lnTo>
                  <a:lnTo>
                    <a:pt x="355" y="36"/>
                  </a:lnTo>
                  <a:lnTo>
                    <a:pt x="357" y="52"/>
                  </a:lnTo>
                  <a:lnTo>
                    <a:pt x="355" y="68"/>
                  </a:lnTo>
                  <a:lnTo>
                    <a:pt x="347" y="82"/>
                  </a:lnTo>
                  <a:lnTo>
                    <a:pt x="336" y="93"/>
                  </a:lnTo>
                  <a:lnTo>
                    <a:pt x="322" y="101"/>
                  </a:lnTo>
                  <a:lnTo>
                    <a:pt x="305" y="103"/>
                  </a:lnTo>
                  <a:lnTo>
                    <a:pt x="50" y="103"/>
                  </a:lnTo>
                  <a:lnTo>
                    <a:pt x="35" y="101"/>
                  </a:lnTo>
                  <a:lnTo>
                    <a:pt x="21" y="93"/>
                  </a:lnTo>
                  <a:lnTo>
                    <a:pt x="10" y="82"/>
                  </a:lnTo>
                  <a:lnTo>
                    <a:pt x="2" y="68"/>
                  </a:lnTo>
                  <a:lnTo>
                    <a:pt x="0" y="52"/>
                  </a:lnTo>
                  <a:lnTo>
                    <a:pt x="2" y="36"/>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469" name="Freeform 375"/>
            <p:cNvSpPr>
              <a:spLocks/>
            </p:cNvSpPr>
            <p:nvPr/>
          </p:nvSpPr>
          <p:spPr bwMode="auto">
            <a:xfrm>
              <a:off x="10985459" y="6023586"/>
              <a:ext cx="44446" cy="17464"/>
            </a:xfrm>
            <a:custGeom>
              <a:avLst/>
              <a:gdLst>
                <a:gd name="T0" fmla="*/ 53 w 281"/>
                <a:gd name="T1" fmla="*/ 0 h 106"/>
                <a:gd name="T2" fmla="*/ 228 w 281"/>
                <a:gd name="T3" fmla="*/ 0 h 106"/>
                <a:gd name="T4" fmla="*/ 246 w 281"/>
                <a:gd name="T5" fmla="*/ 2 h 106"/>
                <a:gd name="T6" fmla="*/ 260 w 281"/>
                <a:gd name="T7" fmla="*/ 10 h 106"/>
                <a:gd name="T8" fmla="*/ 271 w 281"/>
                <a:gd name="T9" fmla="*/ 21 h 106"/>
                <a:gd name="T10" fmla="*/ 279 w 281"/>
                <a:gd name="T11" fmla="*/ 36 h 106"/>
                <a:gd name="T12" fmla="*/ 281 w 281"/>
                <a:gd name="T13" fmla="*/ 53 h 106"/>
                <a:gd name="T14" fmla="*/ 279 w 281"/>
                <a:gd name="T15" fmla="*/ 69 h 106"/>
                <a:gd name="T16" fmla="*/ 271 w 281"/>
                <a:gd name="T17" fmla="*/ 84 h 106"/>
                <a:gd name="T18" fmla="*/ 260 w 281"/>
                <a:gd name="T19" fmla="*/ 95 h 106"/>
                <a:gd name="T20" fmla="*/ 246 w 281"/>
                <a:gd name="T21" fmla="*/ 102 h 106"/>
                <a:gd name="T22" fmla="*/ 228 w 281"/>
                <a:gd name="T23" fmla="*/ 106 h 106"/>
                <a:gd name="T24" fmla="*/ 53 w 281"/>
                <a:gd name="T25" fmla="*/ 106 h 106"/>
                <a:gd name="T26" fmla="*/ 37 w 281"/>
                <a:gd name="T27" fmla="*/ 102 h 106"/>
                <a:gd name="T28" fmla="*/ 21 w 281"/>
                <a:gd name="T29" fmla="*/ 95 h 106"/>
                <a:gd name="T30" fmla="*/ 10 w 281"/>
                <a:gd name="T31" fmla="*/ 84 h 106"/>
                <a:gd name="T32" fmla="*/ 2 w 281"/>
                <a:gd name="T33" fmla="*/ 69 h 106"/>
                <a:gd name="T34" fmla="*/ 0 w 281"/>
                <a:gd name="T35" fmla="*/ 53 h 106"/>
                <a:gd name="T36" fmla="*/ 2 w 281"/>
                <a:gd name="T37" fmla="*/ 36 h 106"/>
                <a:gd name="T38" fmla="*/ 10 w 281"/>
                <a:gd name="T39" fmla="*/ 21 h 106"/>
                <a:gd name="T40" fmla="*/ 21 w 281"/>
                <a:gd name="T41" fmla="*/ 10 h 106"/>
                <a:gd name="T42" fmla="*/ 37 w 281"/>
                <a:gd name="T43" fmla="*/ 2 h 106"/>
                <a:gd name="T44" fmla="*/ 53 w 28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06">
                  <a:moveTo>
                    <a:pt x="53" y="0"/>
                  </a:moveTo>
                  <a:lnTo>
                    <a:pt x="228" y="0"/>
                  </a:lnTo>
                  <a:lnTo>
                    <a:pt x="246" y="2"/>
                  </a:lnTo>
                  <a:lnTo>
                    <a:pt x="260" y="10"/>
                  </a:lnTo>
                  <a:lnTo>
                    <a:pt x="271" y="21"/>
                  </a:lnTo>
                  <a:lnTo>
                    <a:pt x="279" y="36"/>
                  </a:lnTo>
                  <a:lnTo>
                    <a:pt x="281" y="53"/>
                  </a:lnTo>
                  <a:lnTo>
                    <a:pt x="279" y="69"/>
                  </a:lnTo>
                  <a:lnTo>
                    <a:pt x="271" y="84"/>
                  </a:lnTo>
                  <a:lnTo>
                    <a:pt x="260" y="95"/>
                  </a:lnTo>
                  <a:lnTo>
                    <a:pt x="246" y="102"/>
                  </a:lnTo>
                  <a:lnTo>
                    <a:pt x="228" y="106"/>
                  </a:lnTo>
                  <a:lnTo>
                    <a:pt x="53" y="106"/>
                  </a:lnTo>
                  <a:lnTo>
                    <a:pt x="37" y="102"/>
                  </a:lnTo>
                  <a:lnTo>
                    <a:pt x="21" y="95"/>
                  </a:lnTo>
                  <a:lnTo>
                    <a:pt x="10" y="84"/>
                  </a:lnTo>
                  <a:lnTo>
                    <a:pt x="2" y="69"/>
                  </a:lnTo>
                  <a:lnTo>
                    <a:pt x="0" y="53"/>
                  </a:lnTo>
                  <a:lnTo>
                    <a:pt x="2" y="36"/>
                  </a:lnTo>
                  <a:lnTo>
                    <a:pt x="10" y="21"/>
                  </a:lnTo>
                  <a:lnTo>
                    <a:pt x="21" y="10"/>
                  </a:lnTo>
                  <a:lnTo>
                    <a:pt x="37" y="2"/>
                  </a:lnTo>
                  <a:lnTo>
                    <a:pt x="53" y="0"/>
                  </a:lnTo>
                  <a:close/>
                </a:path>
              </a:pathLst>
            </a:custGeom>
            <a:solidFill>
              <a:schemeClr val="accent5"/>
            </a:solidFill>
            <a:ln>
              <a:noFill/>
            </a:ln>
          </p:spPr>
          <p:txBody>
            <a:bodyPr/>
            <a:lstStyle/>
            <a:p>
              <a:endParaRPr lang="de-DE" dirty="0"/>
            </a:p>
          </p:txBody>
        </p:sp>
        <p:sp>
          <p:nvSpPr>
            <p:cNvPr id="470" name="Freeform 376"/>
            <p:cNvSpPr>
              <a:spLocks/>
            </p:cNvSpPr>
            <p:nvPr/>
          </p:nvSpPr>
          <p:spPr bwMode="auto">
            <a:xfrm>
              <a:off x="11044191" y="6028349"/>
              <a:ext cx="44446" cy="17464"/>
            </a:xfrm>
            <a:custGeom>
              <a:avLst/>
              <a:gdLst>
                <a:gd name="T0" fmla="*/ 53 w 284"/>
                <a:gd name="T1" fmla="*/ 0 h 106"/>
                <a:gd name="T2" fmla="*/ 231 w 284"/>
                <a:gd name="T3" fmla="*/ 0 h 106"/>
                <a:gd name="T4" fmla="*/ 248 w 284"/>
                <a:gd name="T5" fmla="*/ 3 h 106"/>
                <a:gd name="T6" fmla="*/ 262 w 284"/>
                <a:gd name="T7" fmla="*/ 10 h 106"/>
                <a:gd name="T8" fmla="*/ 273 w 284"/>
                <a:gd name="T9" fmla="*/ 21 h 106"/>
                <a:gd name="T10" fmla="*/ 281 w 284"/>
                <a:gd name="T11" fmla="*/ 36 h 106"/>
                <a:gd name="T12" fmla="*/ 284 w 284"/>
                <a:gd name="T13" fmla="*/ 53 h 106"/>
                <a:gd name="T14" fmla="*/ 281 w 284"/>
                <a:gd name="T15" fmla="*/ 70 h 106"/>
                <a:gd name="T16" fmla="*/ 273 w 284"/>
                <a:gd name="T17" fmla="*/ 84 h 106"/>
                <a:gd name="T18" fmla="*/ 262 w 284"/>
                <a:gd name="T19" fmla="*/ 95 h 106"/>
                <a:gd name="T20" fmla="*/ 248 w 284"/>
                <a:gd name="T21" fmla="*/ 103 h 106"/>
                <a:gd name="T22" fmla="*/ 231 w 284"/>
                <a:gd name="T23" fmla="*/ 106 h 106"/>
                <a:gd name="T24" fmla="*/ 53 w 284"/>
                <a:gd name="T25" fmla="*/ 106 h 106"/>
                <a:gd name="T26" fmla="*/ 36 w 284"/>
                <a:gd name="T27" fmla="*/ 103 h 106"/>
                <a:gd name="T28" fmla="*/ 21 w 284"/>
                <a:gd name="T29" fmla="*/ 95 h 106"/>
                <a:gd name="T30" fmla="*/ 10 w 284"/>
                <a:gd name="T31" fmla="*/ 84 h 106"/>
                <a:gd name="T32" fmla="*/ 2 w 284"/>
                <a:gd name="T33" fmla="*/ 70 h 106"/>
                <a:gd name="T34" fmla="*/ 0 w 284"/>
                <a:gd name="T35" fmla="*/ 53 h 106"/>
                <a:gd name="T36" fmla="*/ 2 w 284"/>
                <a:gd name="T37" fmla="*/ 36 h 106"/>
                <a:gd name="T38" fmla="*/ 10 w 284"/>
                <a:gd name="T39" fmla="*/ 21 h 106"/>
                <a:gd name="T40" fmla="*/ 21 w 284"/>
                <a:gd name="T41" fmla="*/ 10 h 106"/>
                <a:gd name="T42" fmla="*/ 36 w 284"/>
                <a:gd name="T43" fmla="*/ 3 h 106"/>
                <a:gd name="T44" fmla="*/ 53 w 284"/>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106">
                  <a:moveTo>
                    <a:pt x="53" y="0"/>
                  </a:moveTo>
                  <a:lnTo>
                    <a:pt x="231" y="0"/>
                  </a:lnTo>
                  <a:lnTo>
                    <a:pt x="248" y="3"/>
                  </a:lnTo>
                  <a:lnTo>
                    <a:pt x="262" y="10"/>
                  </a:lnTo>
                  <a:lnTo>
                    <a:pt x="273" y="21"/>
                  </a:lnTo>
                  <a:lnTo>
                    <a:pt x="281" y="36"/>
                  </a:lnTo>
                  <a:lnTo>
                    <a:pt x="284" y="53"/>
                  </a:lnTo>
                  <a:lnTo>
                    <a:pt x="281" y="70"/>
                  </a:lnTo>
                  <a:lnTo>
                    <a:pt x="273" y="84"/>
                  </a:lnTo>
                  <a:lnTo>
                    <a:pt x="262" y="95"/>
                  </a:lnTo>
                  <a:lnTo>
                    <a:pt x="248" y="103"/>
                  </a:lnTo>
                  <a:lnTo>
                    <a:pt x="231" y="106"/>
                  </a:lnTo>
                  <a:lnTo>
                    <a:pt x="53" y="106"/>
                  </a:lnTo>
                  <a:lnTo>
                    <a:pt x="36" y="103"/>
                  </a:lnTo>
                  <a:lnTo>
                    <a:pt x="21" y="95"/>
                  </a:lnTo>
                  <a:lnTo>
                    <a:pt x="10" y="84"/>
                  </a:lnTo>
                  <a:lnTo>
                    <a:pt x="2" y="70"/>
                  </a:lnTo>
                  <a:lnTo>
                    <a:pt x="0" y="53"/>
                  </a:lnTo>
                  <a:lnTo>
                    <a:pt x="2" y="36"/>
                  </a:lnTo>
                  <a:lnTo>
                    <a:pt x="10" y="21"/>
                  </a:lnTo>
                  <a:lnTo>
                    <a:pt x="21" y="10"/>
                  </a:lnTo>
                  <a:lnTo>
                    <a:pt x="36" y="3"/>
                  </a:lnTo>
                  <a:lnTo>
                    <a:pt x="53" y="0"/>
                  </a:lnTo>
                  <a:close/>
                </a:path>
              </a:pathLst>
            </a:custGeom>
            <a:solidFill>
              <a:schemeClr val="accent5"/>
            </a:solidFill>
            <a:ln>
              <a:noFill/>
            </a:ln>
          </p:spPr>
          <p:txBody>
            <a:bodyPr/>
            <a:lstStyle/>
            <a:p>
              <a:endParaRPr lang="de-DE" dirty="0"/>
            </a:p>
          </p:txBody>
        </p:sp>
        <p:sp>
          <p:nvSpPr>
            <p:cNvPr id="471" name="Freeform 377"/>
            <p:cNvSpPr>
              <a:spLocks/>
            </p:cNvSpPr>
            <p:nvPr/>
          </p:nvSpPr>
          <p:spPr bwMode="auto">
            <a:xfrm>
              <a:off x="11112447" y="6028349"/>
              <a:ext cx="53970" cy="15877"/>
            </a:xfrm>
            <a:custGeom>
              <a:avLst/>
              <a:gdLst>
                <a:gd name="T0" fmla="*/ 53 w 337"/>
                <a:gd name="T1" fmla="*/ 0 h 106"/>
                <a:gd name="T2" fmla="*/ 284 w 337"/>
                <a:gd name="T3" fmla="*/ 0 h 106"/>
                <a:gd name="T4" fmla="*/ 301 w 337"/>
                <a:gd name="T5" fmla="*/ 2 h 106"/>
                <a:gd name="T6" fmla="*/ 315 w 337"/>
                <a:gd name="T7" fmla="*/ 10 h 106"/>
                <a:gd name="T8" fmla="*/ 326 w 337"/>
                <a:gd name="T9" fmla="*/ 22 h 106"/>
                <a:gd name="T10" fmla="*/ 334 w 337"/>
                <a:gd name="T11" fmla="*/ 37 h 106"/>
                <a:gd name="T12" fmla="*/ 337 w 337"/>
                <a:gd name="T13" fmla="*/ 53 h 106"/>
                <a:gd name="T14" fmla="*/ 334 w 337"/>
                <a:gd name="T15" fmla="*/ 70 h 106"/>
                <a:gd name="T16" fmla="*/ 326 w 337"/>
                <a:gd name="T17" fmla="*/ 84 h 106"/>
                <a:gd name="T18" fmla="*/ 315 w 337"/>
                <a:gd name="T19" fmla="*/ 96 h 106"/>
                <a:gd name="T20" fmla="*/ 301 w 337"/>
                <a:gd name="T21" fmla="*/ 103 h 106"/>
                <a:gd name="T22" fmla="*/ 284 w 337"/>
                <a:gd name="T23" fmla="*/ 106 h 106"/>
                <a:gd name="T24" fmla="*/ 53 w 337"/>
                <a:gd name="T25" fmla="*/ 106 h 106"/>
                <a:gd name="T26" fmla="*/ 36 w 337"/>
                <a:gd name="T27" fmla="*/ 103 h 106"/>
                <a:gd name="T28" fmla="*/ 21 w 337"/>
                <a:gd name="T29" fmla="*/ 96 h 106"/>
                <a:gd name="T30" fmla="*/ 10 w 337"/>
                <a:gd name="T31" fmla="*/ 84 h 106"/>
                <a:gd name="T32" fmla="*/ 2 w 337"/>
                <a:gd name="T33" fmla="*/ 70 h 106"/>
                <a:gd name="T34" fmla="*/ 0 w 337"/>
                <a:gd name="T35" fmla="*/ 53 h 106"/>
                <a:gd name="T36" fmla="*/ 2 w 337"/>
                <a:gd name="T37" fmla="*/ 37 h 106"/>
                <a:gd name="T38" fmla="*/ 10 w 337"/>
                <a:gd name="T39" fmla="*/ 22 h 106"/>
                <a:gd name="T40" fmla="*/ 21 w 337"/>
                <a:gd name="T41" fmla="*/ 10 h 106"/>
                <a:gd name="T42" fmla="*/ 36 w 337"/>
                <a:gd name="T43" fmla="*/ 2 h 106"/>
                <a:gd name="T44" fmla="*/ 53 w 337"/>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7" h="106">
                  <a:moveTo>
                    <a:pt x="53" y="0"/>
                  </a:moveTo>
                  <a:lnTo>
                    <a:pt x="284" y="0"/>
                  </a:lnTo>
                  <a:lnTo>
                    <a:pt x="301" y="2"/>
                  </a:lnTo>
                  <a:lnTo>
                    <a:pt x="315" y="10"/>
                  </a:lnTo>
                  <a:lnTo>
                    <a:pt x="326" y="22"/>
                  </a:lnTo>
                  <a:lnTo>
                    <a:pt x="334" y="37"/>
                  </a:lnTo>
                  <a:lnTo>
                    <a:pt x="337" y="53"/>
                  </a:lnTo>
                  <a:lnTo>
                    <a:pt x="334" y="70"/>
                  </a:lnTo>
                  <a:lnTo>
                    <a:pt x="326" y="84"/>
                  </a:lnTo>
                  <a:lnTo>
                    <a:pt x="315" y="96"/>
                  </a:lnTo>
                  <a:lnTo>
                    <a:pt x="301" y="103"/>
                  </a:lnTo>
                  <a:lnTo>
                    <a:pt x="284" y="106"/>
                  </a:lnTo>
                  <a:lnTo>
                    <a:pt x="53" y="106"/>
                  </a:lnTo>
                  <a:lnTo>
                    <a:pt x="36" y="103"/>
                  </a:lnTo>
                  <a:lnTo>
                    <a:pt x="21" y="96"/>
                  </a:lnTo>
                  <a:lnTo>
                    <a:pt x="10" y="84"/>
                  </a:lnTo>
                  <a:lnTo>
                    <a:pt x="2" y="70"/>
                  </a:lnTo>
                  <a:lnTo>
                    <a:pt x="0" y="53"/>
                  </a:lnTo>
                  <a:lnTo>
                    <a:pt x="2" y="37"/>
                  </a:lnTo>
                  <a:lnTo>
                    <a:pt x="10" y="22"/>
                  </a:lnTo>
                  <a:lnTo>
                    <a:pt x="21" y="10"/>
                  </a:lnTo>
                  <a:lnTo>
                    <a:pt x="36" y="2"/>
                  </a:lnTo>
                  <a:lnTo>
                    <a:pt x="53" y="0"/>
                  </a:lnTo>
                  <a:close/>
                </a:path>
              </a:pathLst>
            </a:custGeom>
            <a:solidFill>
              <a:schemeClr val="accent5"/>
            </a:solidFill>
            <a:ln>
              <a:noFill/>
            </a:ln>
          </p:spPr>
          <p:txBody>
            <a:bodyPr/>
            <a:lstStyle/>
            <a:p>
              <a:endParaRPr lang="de-DE" dirty="0"/>
            </a:p>
          </p:txBody>
        </p:sp>
        <p:sp>
          <p:nvSpPr>
            <p:cNvPr id="472" name="Freeform 378"/>
            <p:cNvSpPr>
              <a:spLocks/>
            </p:cNvSpPr>
            <p:nvPr/>
          </p:nvSpPr>
          <p:spPr bwMode="auto">
            <a:xfrm>
              <a:off x="11179115" y="6026761"/>
              <a:ext cx="52382" cy="17464"/>
            </a:xfrm>
            <a:custGeom>
              <a:avLst/>
              <a:gdLst>
                <a:gd name="T0" fmla="*/ 53 w 329"/>
                <a:gd name="T1" fmla="*/ 0 h 106"/>
                <a:gd name="T2" fmla="*/ 277 w 329"/>
                <a:gd name="T3" fmla="*/ 0 h 106"/>
                <a:gd name="T4" fmla="*/ 294 w 329"/>
                <a:gd name="T5" fmla="*/ 3 h 106"/>
                <a:gd name="T6" fmla="*/ 308 w 329"/>
                <a:gd name="T7" fmla="*/ 10 h 106"/>
                <a:gd name="T8" fmla="*/ 319 w 329"/>
                <a:gd name="T9" fmla="*/ 22 h 106"/>
                <a:gd name="T10" fmla="*/ 327 w 329"/>
                <a:gd name="T11" fmla="*/ 36 h 106"/>
                <a:gd name="T12" fmla="*/ 329 w 329"/>
                <a:gd name="T13" fmla="*/ 53 h 106"/>
                <a:gd name="T14" fmla="*/ 327 w 329"/>
                <a:gd name="T15" fmla="*/ 69 h 106"/>
                <a:gd name="T16" fmla="*/ 319 w 329"/>
                <a:gd name="T17" fmla="*/ 84 h 106"/>
                <a:gd name="T18" fmla="*/ 308 w 329"/>
                <a:gd name="T19" fmla="*/ 96 h 106"/>
                <a:gd name="T20" fmla="*/ 294 w 329"/>
                <a:gd name="T21" fmla="*/ 104 h 106"/>
                <a:gd name="T22" fmla="*/ 277 w 329"/>
                <a:gd name="T23" fmla="*/ 106 h 106"/>
                <a:gd name="T24" fmla="*/ 53 w 329"/>
                <a:gd name="T25" fmla="*/ 106 h 106"/>
                <a:gd name="T26" fmla="*/ 36 w 329"/>
                <a:gd name="T27" fmla="*/ 104 h 106"/>
                <a:gd name="T28" fmla="*/ 22 w 329"/>
                <a:gd name="T29" fmla="*/ 96 h 106"/>
                <a:gd name="T30" fmla="*/ 11 w 329"/>
                <a:gd name="T31" fmla="*/ 84 h 106"/>
                <a:gd name="T32" fmla="*/ 3 w 329"/>
                <a:gd name="T33" fmla="*/ 69 h 106"/>
                <a:gd name="T34" fmla="*/ 0 w 329"/>
                <a:gd name="T35" fmla="*/ 53 h 106"/>
                <a:gd name="T36" fmla="*/ 3 w 329"/>
                <a:gd name="T37" fmla="*/ 36 h 106"/>
                <a:gd name="T38" fmla="*/ 11 w 329"/>
                <a:gd name="T39" fmla="*/ 22 h 106"/>
                <a:gd name="T40" fmla="*/ 22 w 329"/>
                <a:gd name="T41" fmla="*/ 10 h 106"/>
                <a:gd name="T42" fmla="*/ 36 w 329"/>
                <a:gd name="T43" fmla="*/ 3 h 106"/>
                <a:gd name="T44" fmla="*/ 53 w 32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106">
                  <a:moveTo>
                    <a:pt x="53" y="0"/>
                  </a:moveTo>
                  <a:lnTo>
                    <a:pt x="277" y="0"/>
                  </a:lnTo>
                  <a:lnTo>
                    <a:pt x="294" y="3"/>
                  </a:lnTo>
                  <a:lnTo>
                    <a:pt x="308" y="10"/>
                  </a:lnTo>
                  <a:lnTo>
                    <a:pt x="319" y="22"/>
                  </a:lnTo>
                  <a:lnTo>
                    <a:pt x="327" y="36"/>
                  </a:lnTo>
                  <a:lnTo>
                    <a:pt x="329" y="53"/>
                  </a:lnTo>
                  <a:lnTo>
                    <a:pt x="327" y="69"/>
                  </a:lnTo>
                  <a:lnTo>
                    <a:pt x="319" y="84"/>
                  </a:lnTo>
                  <a:lnTo>
                    <a:pt x="308" y="96"/>
                  </a:lnTo>
                  <a:lnTo>
                    <a:pt x="294" y="104"/>
                  </a:lnTo>
                  <a:lnTo>
                    <a:pt x="277" y="106"/>
                  </a:lnTo>
                  <a:lnTo>
                    <a:pt x="53" y="106"/>
                  </a:lnTo>
                  <a:lnTo>
                    <a:pt x="36" y="104"/>
                  </a:lnTo>
                  <a:lnTo>
                    <a:pt x="22" y="96"/>
                  </a:lnTo>
                  <a:lnTo>
                    <a:pt x="11" y="84"/>
                  </a:lnTo>
                  <a:lnTo>
                    <a:pt x="3" y="69"/>
                  </a:lnTo>
                  <a:lnTo>
                    <a:pt x="0" y="53"/>
                  </a:lnTo>
                  <a:lnTo>
                    <a:pt x="3" y="36"/>
                  </a:lnTo>
                  <a:lnTo>
                    <a:pt x="11" y="22"/>
                  </a:lnTo>
                  <a:lnTo>
                    <a:pt x="22" y="10"/>
                  </a:lnTo>
                  <a:lnTo>
                    <a:pt x="36" y="3"/>
                  </a:lnTo>
                  <a:lnTo>
                    <a:pt x="53" y="0"/>
                  </a:lnTo>
                  <a:close/>
                </a:path>
              </a:pathLst>
            </a:custGeom>
            <a:solidFill>
              <a:schemeClr val="accent5"/>
            </a:solidFill>
            <a:ln>
              <a:noFill/>
            </a:ln>
          </p:spPr>
          <p:txBody>
            <a:bodyPr/>
            <a:lstStyle/>
            <a:p>
              <a:endParaRPr lang="de-DE" dirty="0"/>
            </a:p>
          </p:txBody>
        </p:sp>
        <p:sp>
          <p:nvSpPr>
            <p:cNvPr id="473" name="Freeform 379"/>
            <p:cNvSpPr>
              <a:spLocks/>
            </p:cNvSpPr>
            <p:nvPr/>
          </p:nvSpPr>
          <p:spPr bwMode="auto">
            <a:xfrm>
              <a:off x="11248958" y="6028349"/>
              <a:ext cx="44446" cy="15877"/>
            </a:xfrm>
            <a:custGeom>
              <a:avLst/>
              <a:gdLst>
                <a:gd name="T0" fmla="*/ 53 w 288"/>
                <a:gd name="T1" fmla="*/ 0 h 106"/>
                <a:gd name="T2" fmla="*/ 235 w 288"/>
                <a:gd name="T3" fmla="*/ 0 h 106"/>
                <a:gd name="T4" fmla="*/ 252 w 288"/>
                <a:gd name="T5" fmla="*/ 3 h 106"/>
                <a:gd name="T6" fmla="*/ 267 w 288"/>
                <a:gd name="T7" fmla="*/ 10 h 106"/>
                <a:gd name="T8" fmla="*/ 278 w 288"/>
                <a:gd name="T9" fmla="*/ 22 h 106"/>
                <a:gd name="T10" fmla="*/ 286 w 288"/>
                <a:gd name="T11" fmla="*/ 36 h 106"/>
                <a:gd name="T12" fmla="*/ 288 w 288"/>
                <a:gd name="T13" fmla="*/ 53 h 106"/>
                <a:gd name="T14" fmla="*/ 286 w 288"/>
                <a:gd name="T15" fmla="*/ 70 h 106"/>
                <a:gd name="T16" fmla="*/ 278 w 288"/>
                <a:gd name="T17" fmla="*/ 84 h 106"/>
                <a:gd name="T18" fmla="*/ 267 w 288"/>
                <a:gd name="T19" fmla="*/ 96 h 106"/>
                <a:gd name="T20" fmla="*/ 252 w 288"/>
                <a:gd name="T21" fmla="*/ 104 h 106"/>
                <a:gd name="T22" fmla="*/ 235 w 288"/>
                <a:gd name="T23" fmla="*/ 106 h 106"/>
                <a:gd name="T24" fmla="*/ 53 w 288"/>
                <a:gd name="T25" fmla="*/ 106 h 106"/>
                <a:gd name="T26" fmla="*/ 35 w 288"/>
                <a:gd name="T27" fmla="*/ 104 h 106"/>
                <a:gd name="T28" fmla="*/ 21 w 288"/>
                <a:gd name="T29" fmla="*/ 96 h 106"/>
                <a:gd name="T30" fmla="*/ 10 w 288"/>
                <a:gd name="T31" fmla="*/ 84 h 106"/>
                <a:gd name="T32" fmla="*/ 2 w 288"/>
                <a:gd name="T33" fmla="*/ 70 h 106"/>
                <a:gd name="T34" fmla="*/ 0 w 288"/>
                <a:gd name="T35" fmla="*/ 53 h 106"/>
                <a:gd name="T36" fmla="*/ 2 w 288"/>
                <a:gd name="T37" fmla="*/ 36 h 106"/>
                <a:gd name="T38" fmla="*/ 10 w 288"/>
                <a:gd name="T39" fmla="*/ 22 h 106"/>
                <a:gd name="T40" fmla="*/ 21 w 288"/>
                <a:gd name="T41" fmla="*/ 10 h 106"/>
                <a:gd name="T42" fmla="*/ 35 w 288"/>
                <a:gd name="T43" fmla="*/ 3 h 106"/>
                <a:gd name="T44" fmla="*/ 53 w 288"/>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6">
                  <a:moveTo>
                    <a:pt x="53" y="0"/>
                  </a:moveTo>
                  <a:lnTo>
                    <a:pt x="235" y="0"/>
                  </a:lnTo>
                  <a:lnTo>
                    <a:pt x="252" y="3"/>
                  </a:lnTo>
                  <a:lnTo>
                    <a:pt x="267" y="10"/>
                  </a:lnTo>
                  <a:lnTo>
                    <a:pt x="278" y="22"/>
                  </a:lnTo>
                  <a:lnTo>
                    <a:pt x="286" y="36"/>
                  </a:lnTo>
                  <a:lnTo>
                    <a:pt x="288" y="53"/>
                  </a:lnTo>
                  <a:lnTo>
                    <a:pt x="286" y="70"/>
                  </a:lnTo>
                  <a:lnTo>
                    <a:pt x="278" y="84"/>
                  </a:lnTo>
                  <a:lnTo>
                    <a:pt x="267" y="96"/>
                  </a:lnTo>
                  <a:lnTo>
                    <a:pt x="252" y="104"/>
                  </a:lnTo>
                  <a:lnTo>
                    <a:pt x="235" y="106"/>
                  </a:lnTo>
                  <a:lnTo>
                    <a:pt x="53" y="106"/>
                  </a:lnTo>
                  <a:lnTo>
                    <a:pt x="35" y="104"/>
                  </a:lnTo>
                  <a:lnTo>
                    <a:pt x="21" y="96"/>
                  </a:lnTo>
                  <a:lnTo>
                    <a:pt x="10" y="84"/>
                  </a:lnTo>
                  <a:lnTo>
                    <a:pt x="2" y="70"/>
                  </a:lnTo>
                  <a:lnTo>
                    <a:pt x="0" y="53"/>
                  </a:lnTo>
                  <a:lnTo>
                    <a:pt x="2" y="36"/>
                  </a:lnTo>
                  <a:lnTo>
                    <a:pt x="10" y="22"/>
                  </a:lnTo>
                  <a:lnTo>
                    <a:pt x="21" y="10"/>
                  </a:lnTo>
                  <a:lnTo>
                    <a:pt x="35" y="3"/>
                  </a:lnTo>
                  <a:lnTo>
                    <a:pt x="53" y="0"/>
                  </a:lnTo>
                  <a:close/>
                </a:path>
              </a:pathLst>
            </a:custGeom>
            <a:solidFill>
              <a:schemeClr val="accent5"/>
            </a:solidFill>
            <a:ln>
              <a:noFill/>
            </a:ln>
          </p:spPr>
          <p:txBody>
            <a:bodyPr/>
            <a:lstStyle/>
            <a:p>
              <a:endParaRPr lang="de-DE" dirty="0"/>
            </a:p>
          </p:txBody>
        </p:sp>
        <p:sp>
          <p:nvSpPr>
            <p:cNvPr id="474" name="Freeform 380"/>
            <p:cNvSpPr>
              <a:spLocks/>
            </p:cNvSpPr>
            <p:nvPr/>
          </p:nvSpPr>
          <p:spPr bwMode="auto">
            <a:xfrm>
              <a:off x="11315627" y="6025173"/>
              <a:ext cx="53970" cy="17464"/>
            </a:xfrm>
            <a:custGeom>
              <a:avLst/>
              <a:gdLst>
                <a:gd name="T0" fmla="*/ 53 w 343"/>
                <a:gd name="T1" fmla="*/ 0 h 105"/>
                <a:gd name="T2" fmla="*/ 291 w 343"/>
                <a:gd name="T3" fmla="*/ 0 h 105"/>
                <a:gd name="T4" fmla="*/ 308 w 343"/>
                <a:gd name="T5" fmla="*/ 2 h 105"/>
                <a:gd name="T6" fmla="*/ 322 w 343"/>
                <a:gd name="T7" fmla="*/ 10 h 105"/>
                <a:gd name="T8" fmla="*/ 333 w 343"/>
                <a:gd name="T9" fmla="*/ 21 h 105"/>
                <a:gd name="T10" fmla="*/ 341 w 343"/>
                <a:gd name="T11" fmla="*/ 35 h 105"/>
                <a:gd name="T12" fmla="*/ 343 w 343"/>
                <a:gd name="T13" fmla="*/ 53 h 105"/>
                <a:gd name="T14" fmla="*/ 341 w 343"/>
                <a:gd name="T15" fmla="*/ 70 h 105"/>
                <a:gd name="T16" fmla="*/ 333 w 343"/>
                <a:gd name="T17" fmla="*/ 84 h 105"/>
                <a:gd name="T18" fmla="*/ 322 w 343"/>
                <a:gd name="T19" fmla="*/ 95 h 105"/>
                <a:gd name="T20" fmla="*/ 308 w 343"/>
                <a:gd name="T21" fmla="*/ 103 h 105"/>
                <a:gd name="T22" fmla="*/ 291 w 343"/>
                <a:gd name="T23" fmla="*/ 105 h 105"/>
                <a:gd name="T24" fmla="*/ 53 w 343"/>
                <a:gd name="T25" fmla="*/ 105 h 105"/>
                <a:gd name="T26" fmla="*/ 37 w 343"/>
                <a:gd name="T27" fmla="*/ 103 h 105"/>
                <a:gd name="T28" fmla="*/ 22 w 343"/>
                <a:gd name="T29" fmla="*/ 95 h 105"/>
                <a:gd name="T30" fmla="*/ 10 w 343"/>
                <a:gd name="T31" fmla="*/ 84 h 105"/>
                <a:gd name="T32" fmla="*/ 3 w 343"/>
                <a:gd name="T33" fmla="*/ 70 h 105"/>
                <a:gd name="T34" fmla="*/ 0 w 343"/>
                <a:gd name="T35" fmla="*/ 53 h 105"/>
                <a:gd name="T36" fmla="*/ 3 w 343"/>
                <a:gd name="T37" fmla="*/ 35 h 105"/>
                <a:gd name="T38" fmla="*/ 10 w 343"/>
                <a:gd name="T39" fmla="*/ 21 h 105"/>
                <a:gd name="T40" fmla="*/ 22 w 343"/>
                <a:gd name="T41" fmla="*/ 10 h 105"/>
                <a:gd name="T42" fmla="*/ 37 w 343"/>
                <a:gd name="T43" fmla="*/ 2 h 105"/>
                <a:gd name="T44" fmla="*/ 53 w 343"/>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 h="105">
                  <a:moveTo>
                    <a:pt x="53" y="0"/>
                  </a:moveTo>
                  <a:lnTo>
                    <a:pt x="291" y="0"/>
                  </a:lnTo>
                  <a:lnTo>
                    <a:pt x="308" y="2"/>
                  </a:lnTo>
                  <a:lnTo>
                    <a:pt x="322" y="10"/>
                  </a:lnTo>
                  <a:lnTo>
                    <a:pt x="333" y="21"/>
                  </a:lnTo>
                  <a:lnTo>
                    <a:pt x="341" y="35"/>
                  </a:lnTo>
                  <a:lnTo>
                    <a:pt x="343" y="53"/>
                  </a:lnTo>
                  <a:lnTo>
                    <a:pt x="341" y="70"/>
                  </a:lnTo>
                  <a:lnTo>
                    <a:pt x="333" y="84"/>
                  </a:lnTo>
                  <a:lnTo>
                    <a:pt x="322" y="95"/>
                  </a:lnTo>
                  <a:lnTo>
                    <a:pt x="308" y="103"/>
                  </a:lnTo>
                  <a:lnTo>
                    <a:pt x="291" y="105"/>
                  </a:lnTo>
                  <a:lnTo>
                    <a:pt x="53" y="105"/>
                  </a:lnTo>
                  <a:lnTo>
                    <a:pt x="37" y="103"/>
                  </a:lnTo>
                  <a:lnTo>
                    <a:pt x="22" y="95"/>
                  </a:lnTo>
                  <a:lnTo>
                    <a:pt x="10" y="84"/>
                  </a:lnTo>
                  <a:lnTo>
                    <a:pt x="3" y="70"/>
                  </a:lnTo>
                  <a:lnTo>
                    <a:pt x="0" y="53"/>
                  </a:lnTo>
                  <a:lnTo>
                    <a:pt x="3" y="35"/>
                  </a:lnTo>
                  <a:lnTo>
                    <a:pt x="10" y="21"/>
                  </a:lnTo>
                  <a:lnTo>
                    <a:pt x="22" y="10"/>
                  </a:lnTo>
                  <a:lnTo>
                    <a:pt x="37" y="2"/>
                  </a:lnTo>
                  <a:lnTo>
                    <a:pt x="53" y="0"/>
                  </a:lnTo>
                  <a:close/>
                </a:path>
              </a:pathLst>
            </a:custGeom>
            <a:solidFill>
              <a:schemeClr val="accent5"/>
            </a:solidFill>
            <a:ln>
              <a:noFill/>
            </a:ln>
          </p:spPr>
          <p:txBody>
            <a:bodyPr/>
            <a:lstStyle/>
            <a:p>
              <a:endParaRPr lang="de-DE" dirty="0"/>
            </a:p>
          </p:txBody>
        </p:sp>
        <p:sp>
          <p:nvSpPr>
            <p:cNvPr id="475" name="Freeform 381"/>
            <p:cNvSpPr>
              <a:spLocks/>
            </p:cNvSpPr>
            <p:nvPr/>
          </p:nvSpPr>
          <p:spPr bwMode="auto">
            <a:xfrm>
              <a:off x="11382295" y="6025173"/>
              <a:ext cx="57144" cy="17464"/>
            </a:xfrm>
            <a:custGeom>
              <a:avLst/>
              <a:gdLst>
                <a:gd name="T0" fmla="*/ 53 w 361"/>
                <a:gd name="T1" fmla="*/ 0 h 106"/>
                <a:gd name="T2" fmla="*/ 308 w 361"/>
                <a:gd name="T3" fmla="*/ 0 h 106"/>
                <a:gd name="T4" fmla="*/ 324 w 361"/>
                <a:gd name="T5" fmla="*/ 3 h 106"/>
                <a:gd name="T6" fmla="*/ 339 w 361"/>
                <a:gd name="T7" fmla="*/ 11 h 106"/>
                <a:gd name="T8" fmla="*/ 351 w 361"/>
                <a:gd name="T9" fmla="*/ 22 h 106"/>
                <a:gd name="T10" fmla="*/ 359 w 361"/>
                <a:gd name="T11" fmla="*/ 36 h 106"/>
                <a:gd name="T12" fmla="*/ 361 w 361"/>
                <a:gd name="T13" fmla="*/ 53 h 106"/>
                <a:gd name="T14" fmla="*/ 359 w 361"/>
                <a:gd name="T15" fmla="*/ 69 h 106"/>
                <a:gd name="T16" fmla="*/ 351 w 361"/>
                <a:gd name="T17" fmla="*/ 85 h 106"/>
                <a:gd name="T18" fmla="*/ 339 w 361"/>
                <a:gd name="T19" fmla="*/ 96 h 106"/>
                <a:gd name="T20" fmla="*/ 324 w 361"/>
                <a:gd name="T21" fmla="*/ 104 h 106"/>
                <a:gd name="T22" fmla="*/ 308 w 361"/>
                <a:gd name="T23" fmla="*/ 106 h 106"/>
                <a:gd name="T24" fmla="*/ 53 w 361"/>
                <a:gd name="T25" fmla="*/ 106 h 106"/>
                <a:gd name="T26" fmla="*/ 37 w 361"/>
                <a:gd name="T27" fmla="*/ 104 h 106"/>
                <a:gd name="T28" fmla="*/ 22 w 361"/>
                <a:gd name="T29" fmla="*/ 96 h 106"/>
                <a:gd name="T30" fmla="*/ 10 w 361"/>
                <a:gd name="T31" fmla="*/ 85 h 106"/>
                <a:gd name="T32" fmla="*/ 2 w 361"/>
                <a:gd name="T33" fmla="*/ 69 h 106"/>
                <a:gd name="T34" fmla="*/ 0 w 361"/>
                <a:gd name="T35" fmla="*/ 53 h 106"/>
                <a:gd name="T36" fmla="*/ 2 w 361"/>
                <a:gd name="T37" fmla="*/ 36 h 106"/>
                <a:gd name="T38" fmla="*/ 10 w 361"/>
                <a:gd name="T39" fmla="*/ 22 h 106"/>
                <a:gd name="T40" fmla="*/ 22 w 361"/>
                <a:gd name="T41" fmla="*/ 11 h 106"/>
                <a:gd name="T42" fmla="*/ 37 w 361"/>
                <a:gd name="T43" fmla="*/ 3 h 106"/>
                <a:gd name="T44" fmla="*/ 53 w 36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1" h="106">
                  <a:moveTo>
                    <a:pt x="53" y="0"/>
                  </a:moveTo>
                  <a:lnTo>
                    <a:pt x="308" y="0"/>
                  </a:lnTo>
                  <a:lnTo>
                    <a:pt x="324" y="3"/>
                  </a:lnTo>
                  <a:lnTo>
                    <a:pt x="339" y="11"/>
                  </a:lnTo>
                  <a:lnTo>
                    <a:pt x="351" y="22"/>
                  </a:lnTo>
                  <a:lnTo>
                    <a:pt x="359" y="36"/>
                  </a:lnTo>
                  <a:lnTo>
                    <a:pt x="361" y="53"/>
                  </a:lnTo>
                  <a:lnTo>
                    <a:pt x="359" y="69"/>
                  </a:lnTo>
                  <a:lnTo>
                    <a:pt x="351" y="85"/>
                  </a:lnTo>
                  <a:lnTo>
                    <a:pt x="339" y="96"/>
                  </a:lnTo>
                  <a:lnTo>
                    <a:pt x="324" y="104"/>
                  </a:lnTo>
                  <a:lnTo>
                    <a:pt x="308" y="106"/>
                  </a:lnTo>
                  <a:lnTo>
                    <a:pt x="53" y="106"/>
                  </a:lnTo>
                  <a:lnTo>
                    <a:pt x="37" y="104"/>
                  </a:lnTo>
                  <a:lnTo>
                    <a:pt x="22" y="96"/>
                  </a:lnTo>
                  <a:lnTo>
                    <a:pt x="10" y="85"/>
                  </a:lnTo>
                  <a:lnTo>
                    <a:pt x="2" y="69"/>
                  </a:lnTo>
                  <a:lnTo>
                    <a:pt x="0" y="53"/>
                  </a:lnTo>
                  <a:lnTo>
                    <a:pt x="2" y="36"/>
                  </a:lnTo>
                  <a:lnTo>
                    <a:pt x="10" y="22"/>
                  </a:lnTo>
                  <a:lnTo>
                    <a:pt x="22" y="11"/>
                  </a:lnTo>
                  <a:lnTo>
                    <a:pt x="37" y="3"/>
                  </a:lnTo>
                  <a:lnTo>
                    <a:pt x="53" y="0"/>
                  </a:lnTo>
                  <a:close/>
                </a:path>
              </a:pathLst>
            </a:custGeom>
            <a:solidFill>
              <a:schemeClr val="accent5"/>
            </a:solidFill>
            <a:ln>
              <a:noFill/>
            </a:ln>
          </p:spPr>
          <p:txBody>
            <a:bodyPr/>
            <a:lstStyle/>
            <a:p>
              <a:endParaRPr lang="de-DE" dirty="0"/>
            </a:p>
          </p:txBody>
        </p:sp>
        <p:sp>
          <p:nvSpPr>
            <p:cNvPr id="476" name="Freeform 382"/>
            <p:cNvSpPr>
              <a:spLocks/>
            </p:cNvSpPr>
            <p:nvPr/>
          </p:nvSpPr>
          <p:spPr bwMode="auto">
            <a:xfrm>
              <a:off x="10967999"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477" name="Freeform 383"/>
            <p:cNvSpPr>
              <a:spLocks/>
            </p:cNvSpPr>
            <p:nvPr/>
          </p:nvSpPr>
          <p:spPr bwMode="auto">
            <a:xfrm>
              <a:off x="10982285"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478" name="Freeform 384"/>
            <p:cNvSpPr>
              <a:spLocks/>
            </p:cNvSpPr>
            <p:nvPr/>
          </p:nvSpPr>
          <p:spPr bwMode="auto">
            <a:xfrm>
              <a:off x="10996571" y="5680647"/>
              <a:ext cx="4762" cy="4763"/>
            </a:xfrm>
            <a:custGeom>
              <a:avLst/>
              <a:gdLst>
                <a:gd name="T0" fmla="*/ 14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4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0"/>
                  </a:lnTo>
                  <a:lnTo>
                    <a:pt x="30" y="16"/>
                  </a:lnTo>
                  <a:lnTo>
                    <a:pt x="29" y="20"/>
                  </a:lnTo>
                  <a:lnTo>
                    <a:pt x="27" y="25"/>
                  </a:lnTo>
                  <a:lnTo>
                    <a:pt x="23" y="28"/>
                  </a:lnTo>
                  <a:lnTo>
                    <a:pt x="19" y="29"/>
                  </a:lnTo>
                  <a:lnTo>
                    <a:pt x="14" y="30"/>
                  </a:lnTo>
                  <a:lnTo>
                    <a:pt x="10" y="29"/>
                  </a:lnTo>
                  <a:lnTo>
                    <a:pt x="6" y="28"/>
                  </a:lnTo>
                  <a:lnTo>
                    <a:pt x="2" y="25"/>
                  </a:lnTo>
                  <a:lnTo>
                    <a:pt x="0" y="20"/>
                  </a:lnTo>
                  <a:lnTo>
                    <a:pt x="0" y="16"/>
                  </a:lnTo>
                  <a:lnTo>
                    <a:pt x="0" y="10"/>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479" name="Freeform 385"/>
            <p:cNvSpPr>
              <a:spLocks/>
            </p:cNvSpPr>
            <p:nvPr/>
          </p:nvSpPr>
          <p:spPr bwMode="auto">
            <a:xfrm>
              <a:off x="11010857" y="5680647"/>
              <a:ext cx="4762" cy="4763"/>
            </a:xfrm>
            <a:custGeom>
              <a:avLst/>
              <a:gdLst>
                <a:gd name="T0" fmla="*/ 15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0"/>
                  </a:lnTo>
                  <a:lnTo>
                    <a:pt x="30" y="16"/>
                  </a:lnTo>
                  <a:lnTo>
                    <a:pt x="29" y="20"/>
                  </a:lnTo>
                  <a:lnTo>
                    <a:pt x="27" y="25"/>
                  </a:lnTo>
                  <a:lnTo>
                    <a:pt x="24" y="28"/>
                  </a:lnTo>
                  <a:lnTo>
                    <a:pt x="20"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480" name="Freeform 386"/>
            <p:cNvSpPr>
              <a:spLocks/>
            </p:cNvSpPr>
            <p:nvPr/>
          </p:nvSpPr>
          <p:spPr bwMode="auto">
            <a:xfrm>
              <a:off x="11023556"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481" name="Freeform 387"/>
            <p:cNvSpPr>
              <a:spLocks/>
            </p:cNvSpPr>
            <p:nvPr/>
          </p:nvSpPr>
          <p:spPr bwMode="auto">
            <a:xfrm>
              <a:off x="11037842"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482" name="Freeform 388"/>
            <p:cNvSpPr>
              <a:spLocks/>
            </p:cNvSpPr>
            <p:nvPr/>
          </p:nvSpPr>
          <p:spPr bwMode="auto">
            <a:xfrm>
              <a:off x="11052128"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483" name="Freeform 389"/>
            <p:cNvSpPr>
              <a:spLocks/>
            </p:cNvSpPr>
            <p:nvPr/>
          </p:nvSpPr>
          <p:spPr bwMode="auto">
            <a:xfrm>
              <a:off x="11066414" y="5680647"/>
              <a:ext cx="4762" cy="4763"/>
            </a:xfrm>
            <a:custGeom>
              <a:avLst/>
              <a:gdLst>
                <a:gd name="T0" fmla="*/ 15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0"/>
                  </a:lnTo>
                  <a:lnTo>
                    <a:pt x="30"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484" name="Freeform 390"/>
            <p:cNvSpPr>
              <a:spLocks/>
            </p:cNvSpPr>
            <p:nvPr/>
          </p:nvSpPr>
          <p:spPr bwMode="auto">
            <a:xfrm>
              <a:off x="11079113"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485" name="Freeform 391"/>
            <p:cNvSpPr>
              <a:spLocks/>
            </p:cNvSpPr>
            <p:nvPr/>
          </p:nvSpPr>
          <p:spPr bwMode="auto">
            <a:xfrm>
              <a:off x="11093399"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486" name="Freeform 392"/>
            <p:cNvSpPr>
              <a:spLocks/>
            </p:cNvSpPr>
            <p:nvPr/>
          </p:nvSpPr>
          <p:spPr bwMode="auto">
            <a:xfrm>
              <a:off x="11107685"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1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1" y="29"/>
                  </a:lnTo>
                  <a:lnTo>
                    <a:pt x="7" y="28"/>
                  </a:lnTo>
                  <a:lnTo>
                    <a:pt x="4" y="25"/>
                  </a:lnTo>
                  <a:lnTo>
                    <a:pt x="1" y="20"/>
                  </a:lnTo>
                  <a:lnTo>
                    <a:pt x="0" y="16"/>
                  </a:lnTo>
                  <a:lnTo>
                    <a:pt x="1" y="10"/>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487" name="Freeform 393"/>
            <p:cNvSpPr>
              <a:spLocks/>
            </p:cNvSpPr>
            <p:nvPr/>
          </p:nvSpPr>
          <p:spPr bwMode="auto">
            <a:xfrm>
              <a:off x="111219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488" name="Freeform 394"/>
            <p:cNvSpPr>
              <a:spLocks/>
            </p:cNvSpPr>
            <p:nvPr/>
          </p:nvSpPr>
          <p:spPr bwMode="auto">
            <a:xfrm>
              <a:off x="11136257"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489" name="Freeform 395"/>
            <p:cNvSpPr>
              <a:spLocks/>
            </p:cNvSpPr>
            <p:nvPr/>
          </p:nvSpPr>
          <p:spPr bwMode="auto">
            <a:xfrm>
              <a:off x="11148956"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490" name="Freeform 396"/>
            <p:cNvSpPr>
              <a:spLocks/>
            </p:cNvSpPr>
            <p:nvPr/>
          </p:nvSpPr>
          <p:spPr bwMode="auto">
            <a:xfrm>
              <a:off x="11163242"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491" name="Freeform 397"/>
            <p:cNvSpPr>
              <a:spLocks/>
            </p:cNvSpPr>
            <p:nvPr/>
          </p:nvSpPr>
          <p:spPr bwMode="auto">
            <a:xfrm>
              <a:off x="11177528"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492" name="Freeform 398"/>
            <p:cNvSpPr>
              <a:spLocks/>
            </p:cNvSpPr>
            <p:nvPr/>
          </p:nvSpPr>
          <p:spPr bwMode="auto">
            <a:xfrm>
              <a:off x="11190227"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493" name="Freeform 399"/>
            <p:cNvSpPr>
              <a:spLocks/>
            </p:cNvSpPr>
            <p:nvPr/>
          </p:nvSpPr>
          <p:spPr bwMode="auto">
            <a:xfrm>
              <a:off x="112045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494" name="Freeform 400"/>
            <p:cNvSpPr>
              <a:spLocks/>
            </p:cNvSpPr>
            <p:nvPr/>
          </p:nvSpPr>
          <p:spPr bwMode="auto">
            <a:xfrm>
              <a:off x="11218799"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495" name="Freeform 401"/>
            <p:cNvSpPr>
              <a:spLocks/>
            </p:cNvSpPr>
            <p:nvPr/>
          </p:nvSpPr>
          <p:spPr bwMode="auto">
            <a:xfrm>
              <a:off x="11233085"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496" name="Freeform 402"/>
            <p:cNvSpPr>
              <a:spLocks/>
            </p:cNvSpPr>
            <p:nvPr/>
          </p:nvSpPr>
          <p:spPr bwMode="auto">
            <a:xfrm>
              <a:off x="112473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497" name="Freeform 403"/>
            <p:cNvSpPr>
              <a:spLocks/>
            </p:cNvSpPr>
            <p:nvPr/>
          </p:nvSpPr>
          <p:spPr bwMode="auto">
            <a:xfrm>
              <a:off x="11260070" y="5680647"/>
              <a:ext cx="4762" cy="4763"/>
            </a:xfrm>
            <a:custGeom>
              <a:avLst/>
              <a:gdLst>
                <a:gd name="T0" fmla="*/ 15 w 29"/>
                <a:gd name="T1" fmla="*/ 0 h 30"/>
                <a:gd name="T2" fmla="*/ 19 w 29"/>
                <a:gd name="T3" fmla="*/ 1 h 30"/>
                <a:gd name="T4" fmla="*/ 23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3 w 29"/>
                <a:gd name="T17" fmla="*/ 28 h 30"/>
                <a:gd name="T18" fmla="*/ 19 w 29"/>
                <a:gd name="T19" fmla="*/ 29 h 30"/>
                <a:gd name="T20" fmla="*/ 15 w 29"/>
                <a:gd name="T21" fmla="*/ 30 h 30"/>
                <a:gd name="T22" fmla="*/ 10 w 29"/>
                <a:gd name="T23" fmla="*/ 29 h 30"/>
                <a:gd name="T24" fmla="*/ 6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0"/>
                  </a:lnTo>
                  <a:lnTo>
                    <a:pt x="29"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498" name="Freeform 404"/>
            <p:cNvSpPr>
              <a:spLocks/>
            </p:cNvSpPr>
            <p:nvPr/>
          </p:nvSpPr>
          <p:spPr bwMode="auto">
            <a:xfrm>
              <a:off x="11274356"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499" name="Freeform 405"/>
            <p:cNvSpPr>
              <a:spLocks/>
            </p:cNvSpPr>
            <p:nvPr/>
          </p:nvSpPr>
          <p:spPr bwMode="auto">
            <a:xfrm>
              <a:off x="11288642"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500" name="Freeform 406"/>
            <p:cNvSpPr>
              <a:spLocks/>
            </p:cNvSpPr>
            <p:nvPr/>
          </p:nvSpPr>
          <p:spPr bwMode="auto">
            <a:xfrm>
              <a:off x="113029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501" name="Freeform 407"/>
            <p:cNvSpPr>
              <a:spLocks/>
            </p:cNvSpPr>
            <p:nvPr/>
          </p:nvSpPr>
          <p:spPr bwMode="auto">
            <a:xfrm>
              <a:off x="113156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02" name="Freeform 408"/>
            <p:cNvSpPr>
              <a:spLocks/>
            </p:cNvSpPr>
            <p:nvPr/>
          </p:nvSpPr>
          <p:spPr bwMode="auto">
            <a:xfrm>
              <a:off x="113299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503" name="Freeform 409"/>
            <p:cNvSpPr>
              <a:spLocks/>
            </p:cNvSpPr>
            <p:nvPr/>
          </p:nvSpPr>
          <p:spPr bwMode="auto">
            <a:xfrm>
              <a:off x="11344199"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04" name="Freeform 410"/>
            <p:cNvSpPr>
              <a:spLocks/>
            </p:cNvSpPr>
            <p:nvPr/>
          </p:nvSpPr>
          <p:spPr bwMode="auto">
            <a:xfrm>
              <a:off x="11358485" y="5680647"/>
              <a:ext cx="4762" cy="4763"/>
            </a:xfrm>
            <a:custGeom>
              <a:avLst/>
              <a:gdLst>
                <a:gd name="T0" fmla="*/ 16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0"/>
                  </a:lnTo>
                  <a:lnTo>
                    <a:pt x="30" y="16"/>
                  </a:lnTo>
                  <a:lnTo>
                    <a:pt x="29" y="20"/>
                  </a:lnTo>
                  <a:lnTo>
                    <a:pt x="27" y="25"/>
                  </a:lnTo>
                  <a:lnTo>
                    <a:pt x="23"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505" name="Freeform 411"/>
            <p:cNvSpPr>
              <a:spLocks/>
            </p:cNvSpPr>
            <p:nvPr/>
          </p:nvSpPr>
          <p:spPr bwMode="auto">
            <a:xfrm>
              <a:off x="11371184" y="5680647"/>
              <a:ext cx="4762" cy="4763"/>
            </a:xfrm>
            <a:custGeom>
              <a:avLst/>
              <a:gdLst>
                <a:gd name="T0" fmla="*/ 15 w 29"/>
                <a:gd name="T1" fmla="*/ 0 h 30"/>
                <a:gd name="T2" fmla="*/ 19 w 29"/>
                <a:gd name="T3" fmla="*/ 1 h 30"/>
                <a:gd name="T4" fmla="*/ 24 w 29"/>
                <a:gd name="T5" fmla="*/ 4 h 30"/>
                <a:gd name="T6" fmla="*/ 27 w 29"/>
                <a:gd name="T7" fmla="*/ 7 h 30"/>
                <a:gd name="T8" fmla="*/ 28 w 29"/>
                <a:gd name="T9" fmla="*/ 10 h 30"/>
                <a:gd name="T10" fmla="*/ 29 w 29"/>
                <a:gd name="T11" fmla="*/ 16 h 30"/>
                <a:gd name="T12" fmla="*/ 28 w 29"/>
                <a:gd name="T13" fmla="*/ 20 h 30"/>
                <a:gd name="T14" fmla="*/ 27 w 29"/>
                <a:gd name="T15" fmla="*/ 25 h 30"/>
                <a:gd name="T16" fmla="*/ 24 w 29"/>
                <a:gd name="T17" fmla="*/ 28 h 30"/>
                <a:gd name="T18" fmla="*/ 19 w 29"/>
                <a:gd name="T19" fmla="*/ 29 h 30"/>
                <a:gd name="T20" fmla="*/ 15 w 29"/>
                <a:gd name="T21" fmla="*/ 30 h 30"/>
                <a:gd name="T22" fmla="*/ 9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0"/>
                  </a:lnTo>
                  <a:lnTo>
                    <a:pt x="29" y="16"/>
                  </a:lnTo>
                  <a:lnTo>
                    <a:pt x="28" y="20"/>
                  </a:lnTo>
                  <a:lnTo>
                    <a:pt x="27" y="25"/>
                  </a:lnTo>
                  <a:lnTo>
                    <a:pt x="24" y="28"/>
                  </a:lnTo>
                  <a:lnTo>
                    <a:pt x="19" y="29"/>
                  </a:lnTo>
                  <a:lnTo>
                    <a:pt x="15" y="30"/>
                  </a:lnTo>
                  <a:lnTo>
                    <a:pt x="9" y="29"/>
                  </a:lnTo>
                  <a:lnTo>
                    <a:pt x="6" y="28"/>
                  </a:lnTo>
                  <a:lnTo>
                    <a:pt x="3" y="25"/>
                  </a:lnTo>
                  <a:lnTo>
                    <a:pt x="1" y="20"/>
                  </a:lnTo>
                  <a:lnTo>
                    <a:pt x="0" y="16"/>
                  </a:lnTo>
                  <a:lnTo>
                    <a:pt x="1" y="10"/>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506" name="Freeform 412"/>
            <p:cNvSpPr>
              <a:spLocks/>
            </p:cNvSpPr>
            <p:nvPr/>
          </p:nvSpPr>
          <p:spPr bwMode="auto">
            <a:xfrm>
              <a:off x="11385470"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507" name="Freeform 413"/>
            <p:cNvSpPr>
              <a:spLocks/>
            </p:cNvSpPr>
            <p:nvPr/>
          </p:nvSpPr>
          <p:spPr bwMode="auto">
            <a:xfrm>
              <a:off x="11399756"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508" name="Freeform 414"/>
            <p:cNvSpPr>
              <a:spLocks/>
            </p:cNvSpPr>
            <p:nvPr/>
          </p:nvSpPr>
          <p:spPr bwMode="auto">
            <a:xfrm>
              <a:off x="11414042"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09" name="Freeform 415"/>
            <p:cNvSpPr>
              <a:spLocks/>
            </p:cNvSpPr>
            <p:nvPr/>
          </p:nvSpPr>
          <p:spPr bwMode="auto">
            <a:xfrm>
              <a:off x="114283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510" name="Freeform 416"/>
            <p:cNvSpPr>
              <a:spLocks/>
            </p:cNvSpPr>
            <p:nvPr/>
          </p:nvSpPr>
          <p:spPr bwMode="auto">
            <a:xfrm>
              <a:off x="114410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11" name="Freeform 417"/>
            <p:cNvSpPr>
              <a:spLocks/>
            </p:cNvSpPr>
            <p:nvPr/>
          </p:nvSpPr>
          <p:spPr bwMode="auto">
            <a:xfrm>
              <a:off x="10967999"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512" name="Freeform 418"/>
            <p:cNvSpPr>
              <a:spLocks/>
            </p:cNvSpPr>
            <p:nvPr/>
          </p:nvSpPr>
          <p:spPr bwMode="auto">
            <a:xfrm>
              <a:off x="10982285"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13" name="Freeform 419"/>
            <p:cNvSpPr>
              <a:spLocks/>
            </p:cNvSpPr>
            <p:nvPr/>
          </p:nvSpPr>
          <p:spPr bwMode="auto">
            <a:xfrm>
              <a:off x="10996571" y="5626666"/>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7"/>
                  </a:lnTo>
                  <a:lnTo>
                    <a:pt x="19" y="29"/>
                  </a:lnTo>
                  <a:lnTo>
                    <a:pt x="14" y="30"/>
                  </a:lnTo>
                  <a:lnTo>
                    <a:pt x="10" y="29"/>
                  </a:lnTo>
                  <a:lnTo>
                    <a:pt x="6" y="27"/>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514" name="Freeform 420"/>
            <p:cNvSpPr>
              <a:spLocks/>
            </p:cNvSpPr>
            <p:nvPr/>
          </p:nvSpPr>
          <p:spPr bwMode="auto">
            <a:xfrm>
              <a:off x="11010857" y="5626666"/>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7"/>
                  </a:lnTo>
                  <a:lnTo>
                    <a:pt x="20"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515" name="Freeform 421"/>
            <p:cNvSpPr>
              <a:spLocks/>
            </p:cNvSpPr>
            <p:nvPr/>
          </p:nvSpPr>
          <p:spPr bwMode="auto">
            <a:xfrm>
              <a:off x="11023556"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516" name="Freeform 422"/>
            <p:cNvSpPr>
              <a:spLocks/>
            </p:cNvSpPr>
            <p:nvPr/>
          </p:nvSpPr>
          <p:spPr bwMode="auto">
            <a:xfrm>
              <a:off x="11037842"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517" name="Freeform 423"/>
            <p:cNvSpPr>
              <a:spLocks/>
            </p:cNvSpPr>
            <p:nvPr/>
          </p:nvSpPr>
          <p:spPr bwMode="auto">
            <a:xfrm>
              <a:off x="11052128"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18" name="Freeform 424"/>
            <p:cNvSpPr>
              <a:spLocks/>
            </p:cNvSpPr>
            <p:nvPr/>
          </p:nvSpPr>
          <p:spPr bwMode="auto">
            <a:xfrm>
              <a:off x="11066414" y="5626666"/>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519" name="Freeform 425"/>
            <p:cNvSpPr>
              <a:spLocks/>
            </p:cNvSpPr>
            <p:nvPr/>
          </p:nvSpPr>
          <p:spPr bwMode="auto">
            <a:xfrm>
              <a:off x="11079113"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520" name="Freeform 426"/>
            <p:cNvSpPr>
              <a:spLocks/>
            </p:cNvSpPr>
            <p:nvPr/>
          </p:nvSpPr>
          <p:spPr bwMode="auto">
            <a:xfrm>
              <a:off x="11093399"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521" name="Freeform 427"/>
            <p:cNvSpPr>
              <a:spLocks/>
            </p:cNvSpPr>
            <p:nvPr/>
          </p:nvSpPr>
          <p:spPr bwMode="auto">
            <a:xfrm>
              <a:off x="11107685"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1" y="29"/>
                  </a:lnTo>
                  <a:lnTo>
                    <a:pt x="7" y="27"/>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522" name="Freeform 428"/>
            <p:cNvSpPr>
              <a:spLocks/>
            </p:cNvSpPr>
            <p:nvPr/>
          </p:nvSpPr>
          <p:spPr bwMode="auto">
            <a:xfrm>
              <a:off x="111219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23" name="Freeform 429"/>
            <p:cNvSpPr>
              <a:spLocks/>
            </p:cNvSpPr>
            <p:nvPr/>
          </p:nvSpPr>
          <p:spPr bwMode="auto">
            <a:xfrm>
              <a:off x="11136257"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524" name="Freeform 430"/>
            <p:cNvSpPr>
              <a:spLocks/>
            </p:cNvSpPr>
            <p:nvPr/>
          </p:nvSpPr>
          <p:spPr bwMode="auto">
            <a:xfrm>
              <a:off x="11148956"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525" name="Freeform 431"/>
            <p:cNvSpPr>
              <a:spLocks/>
            </p:cNvSpPr>
            <p:nvPr/>
          </p:nvSpPr>
          <p:spPr bwMode="auto">
            <a:xfrm>
              <a:off x="11163242"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526" name="Freeform 432"/>
            <p:cNvSpPr>
              <a:spLocks/>
            </p:cNvSpPr>
            <p:nvPr/>
          </p:nvSpPr>
          <p:spPr bwMode="auto">
            <a:xfrm>
              <a:off x="11177528"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27" name="Freeform 433"/>
            <p:cNvSpPr>
              <a:spLocks/>
            </p:cNvSpPr>
            <p:nvPr/>
          </p:nvSpPr>
          <p:spPr bwMode="auto">
            <a:xfrm>
              <a:off x="11190227"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528" name="Freeform 434"/>
            <p:cNvSpPr>
              <a:spLocks/>
            </p:cNvSpPr>
            <p:nvPr/>
          </p:nvSpPr>
          <p:spPr bwMode="auto">
            <a:xfrm>
              <a:off x="112045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529" name="Freeform 435"/>
            <p:cNvSpPr>
              <a:spLocks/>
            </p:cNvSpPr>
            <p:nvPr/>
          </p:nvSpPr>
          <p:spPr bwMode="auto">
            <a:xfrm>
              <a:off x="11218799"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530" name="Freeform 436"/>
            <p:cNvSpPr>
              <a:spLocks/>
            </p:cNvSpPr>
            <p:nvPr/>
          </p:nvSpPr>
          <p:spPr bwMode="auto">
            <a:xfrm>
              <a:off x="11233085"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531" name="Freeform 437"/>
            <p:cNvSpPr>
              <a:spLocks/>
            </p:cNvSpPr>
            <p:nvPr/>
          </p:nvSpPr>
          <p:spPr bwMode="auto">
            <a:xfrm>
              <a:off x="112473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32" name="Freeform 438"/>
            <p:cNvSpPr>
              <a:spLocks/>
            </p:cNvSpPr>
            <p:nvPr/>
          </p:nvSpPr>
          <p:spPr bwMode="auto">
            <a:xfrm>
              <a:off x="11260070" y="5626666"/>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533" name="Freeform 439"/>
            <p:cNvSpPr>
              <a:spLocks/>
            </p:cNvSpPr>
            <p:nvPr/>
          </p:nvSpPr>
          <p:spPr bwMode="auto">
            <a:xfrm>
              <a:off x="11274356"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534" name="Freeform 440"/>
            <p:cNvSpPr>
              <a:spLocks/>
            </p:cNvSpPr>
            <p:nvPr/>
          </p:nvSpPr>
          <p:spPr bwMode="auto">
            <a:xfrm>
              <a:off x="11288642"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535" name="Freeform 441"/>
            <p:cNvSpPr>
              <a:spLocks/>
            </p:cNvSpPr>
            <p:nvPr/>
          </p:nvSpPr>
          <p:spPr bwMode="auto">
            <a:xfrm>
              <a:off x="113029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536" name="Freeform 442"/>
            <p:cNvSpPr>
              <a:spLocks/>
            </p:cNvSpPr>
            <p:nvPr/>
          </p:nvSpPr>
          <p:spPr bwMode="auto">
            <a:xfrm>
              <a:off x="113156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37" name="Freeform 443"/>
            <p:cNvSpPr>
              <a:spLocks/>
            </p:cNvSpPr>
            <p:nvPr/>
          </p:nvSpPr>
          <p:spPr bwMode="auto">
            <a:xfrm>
              <a:off x="113299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538" name="Freeform 444"/>
            <p:cNvSpPr>
              <a:spLocks/>
            </p:cNvSpPr>
            <p:nvPr/>
          </p:nvSpPr>
          <p:spPr bwMode="auto">
            <a:xfrm>
              <a:off x="11344199"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539" name="Freeform 445"/>
            <p:cNvSpPr>
              <a:spLocks/>
            </p:cNvSpPr>
            <p:nvPr/>
          </p:nvSpPr>
          <p:spPr bwMode="auto">
            <a:xfrm>
              <a:off x="11358485" y="5626666"/>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540" name="Freeform 446"/>
            <p:cNvSpPr>
              <a:spLocks/>
            </p:cNvSpPr>
            <p:nvPr/>
          </p:nvSpPr>
          <p:spPr bwMode="auto">
            <a:xfrm>
              <a:off x="11371184" y="5626666"/>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7"/>
                  </a:lnTo>
                  <a:lnTo>
                    <a:pt x="19" y="29"/>
                  </a:lnTo>
                  <a:lnTo>
                    <a:pt x="15" y="30"/>
                  </a:lnTo>
                  <a:lnTo>
                    <a:pt x="9" y="29"/>
                  </a:lnTo>
                  <a:lnTo>
                    <a:pt x="6" y="27"/>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541" name="Freeform 447"/>
            <p:cNvSpPr>
              <a:spLocks/>
            </p:cNvSpPr>
            <p:nvPr/>
          </p:nvSpPr>
          <p:spPr bwMode="auto">
            <a:xfrm>
              <a:off x="11385470"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542" name="Freeform 448"/>
            <p:cNvSpPr>
              <a:spLocks/>
            </p:cNvSpPr>
            <p:nvPr/>
          </p:nvSpPr>
          <p:spPr bwMode="auto">
            <a:xfrm>
              <a:off x="11399756"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543" name="Freeform 449"/>
            <p:cNvSpPr>
              <a:spLocks/>
            </p:cNvSpPr>
            <p:nvPr/>
          </p:nvSpPr>
          <p:spPr bwMode="auto">
            <a:xfrm>
              <a:off x="11414042"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544" name="Freeform 450"/>
            <p:cNvSpPr>
              <a:spLocks/>
            </p:cNvSpPr>
            <p:nvPr/>
          </p:nvSpPr>
          <p:spPr bwMode="auto">
            <a:xfrm>
              <a:off x="114283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545" name="Freeform 451"/>
            <p:cNvSpPr>
              <a:spLocks/>
            </p:cNvSpPr>
            <p:nvPr/>
          </p:nvSpPr>
          <p:spPr bwMode="auto">
            <a:xfrm>
              <a:off x="114410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546" name="Freeform 452"/>
            <p:cNvSpPr>
              <a:spLocks/>
            </p:cNvSpPr>
            <p:nvPr/>
          </p:nvSpPr>
          <p:spPr bwMode="auto">
            <a:xfrm>
              <a:off x="10967999"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547" name="Freeform 453"/>
            <p:cNvSpPr>
              <a:spLocks/>
            </p:cNvSpPr>
            <p:nvPr/>
          </p:nvSpPr>
          <p:spPr bwMode="auto">
            <a:xfrm>
              <a:off x="10982285"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48" name="Freeform 454"/>
            <p:cNvSpPr>
              <a:spLocks/>
            </p:cNvSpPr>
            <p:nvPr/>
          </p:nvSpPr>
          <p:spPr bwMode="auto">
            <a:xfrm>
              <a:off x="10996571" y="6061690"/>
              <a:ext cx="4762" cy="4763"/>
            </a:xfrm>
            <a:custGeom>
              <a:avLst/>
              <a:gdLst>
                <a:gd name="T0" fmla="*/ 14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4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1"/>
                  </a:lnTo>
                  <a:lnTo>
                    <a:pt x="30" y="16"/>
                  </a:lnTo>
                  <a:lnTo>
                    <a:pt x="29" y="20"/>
                  </a:lnTo>
                  <a:lnTo>
                    <a:pt x="27" y="25"/>
                  </a:lnTo>
                  <a:lnTo>
                    <a:pt x="23" y="28"/>
                  </a:lnTo>
                  <a:lnTo>
                    <a:pt x="19" y="30"/>
                  </a:lnTo>
                  <a:lnTo>
                    <a:pt x="14" y="30"/>
                  </a:lnTo>
                  <a:lnTo>
                    <a:pt x="10" y="30"/>
                  </a:lnTo>
                  <a:lnTo>
                    <a:pt x="6" y="28"/>
                  </a:lnTo>
                  <a:lnTo>
                    <a:pt x="2" y="25"/>
                  </a:lnTo>
                  <a:lnTo>
                    <a:pt x="0" y="20"/>
                  </a:lnTo>
                  <a:lnTo>
                    <a:pt x="0" y="16"/>
                  </a:lnTo>
                  <a:lnTo>
                    <a:pt x="0" y="11"/>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549" name="Freeform 455"/>
            <p:cNvSpPr>
              <a:spLocks/>
            </p:cNvSpPr>
            <p:nvPr/>
          </p:nvSpPr>
          <p:spPr bwMode="auto">
            <a:xfrm>
              <a:off x="11010857" y="6061690"/>
              <a:ext cx="4762" cy="4763"/>
            </a:xfrm>
            <a:custGeom>
              <a:avLst/>
              <a:gdLst>
                <a:gd name="T0" fmla="*/ 15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1"/>
                  </a:lnTo>
                  <a:lnTo>
                    <a:pt x="30" y="16"/>
                  </a:lnTo>
                  <a:lnTo>
                    <a:pt x="29" y="20"/>
                  </a:lnTo>
                  <a:lnTo>
                    <a:pt x="27" y="25"/>
                  </a:lnTo>
                  <a:lnTo>
                    <a:pt x="24" y="28"/>
                  </a:lnTo>
                  <a:lnTo>
                    <a:pt x="20"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550" name="Freeform 456"/>
            <p:cNvSpPr>
              <a:spLocks/>
            </p:cNvSpPr>
            <p:nvPr/>
          </p:nvSpPr>
          <p:spPr bwMode="auto">
            <a:xfrm>
              <a:off x="11023556"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551" name="Freeform 457"/>
            <p:cNvSpPr>
              <a:spLocks/>
            </p:cNvSpPr>
            <p:nvPr/>
          </p:nvSpPr>
          <p:spPr bwMode="auto">
            <a:xfrm>
              <a:off x="11037842"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552" name="Freeform 458"/>
            <p:cNvSpPr>
              <a:spLocks/>
            </p:cNvSpPr>
            <p:nvPr/>
          </p:nvSpPr>
          <p:spPr bwMode="auto">
            <a:xfrm>
              <a:off x="11052128"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53" name="Freeform 459"/>
            <p:cNvSpPr>
              <a:spLocks/>
            </p:cNvSpPr>
            <p:nvPr/>
          </p:nvSpPr>
          <p:spPr bwMode="auto">
            <a:xfrm>
              <a:off x="11066414" y="6061690"/>
              <a:ext cx="4762" cy="4763"/>
            </a:xfrm>
            <a:custGeom>
              <a:avLst/>
              <a:gdLst>
                <a:gd name="T0" fmla="*/ 15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1"/>
                  </a:lnTo>
                  <a:lnTo>
                    <a:pt x="30"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554" name="Freeform 460"/>
            <p:cNvSpPr>
              <a:spLocks/>
            </p:cNvSpPr>
            <p:nvPr/>
          </p:nvSpPr>
          <p:spPr bwMode="auto">
            <a:xfrm>
              <a:off x="11079113"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55" name="Freeform 461"/>
            <p:cNvSpPr>
              <a:spLocks/>
            </p:cNvSpPr>
            <p:nvPr/>
          </p:nvSpPr>
          <p:spPr bwMode="auto">
            <a:xfrm>
              <a:off x="11093399"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556" name="Freeform 462"/>
            <p:cNvSpPr>
              <a:spLocks/>
            </p:cNvSpPr>
            <p:nvPr/>
          </p:nvSpPr>
          <p:spPr bwMode="auto">
            <a:xfrm>
              <a:off x="11107685"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1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1" y="30"/>
                  </a:lnTo>
                  <a:lnTo>
                    <a:pt x="7" y="28"/>
                  </a:lnTo>
                  <a:lnTo>
                    <a:pt x="4" y="25"/>
                  </a:lnTo>
                  <a:lnTo>
                    <a:pt x="1" y="20"/>
                  </a:lnTo>
                  <a:lnTo>
                    <a:pt x="0" y="16"/>
                  </a:lnTo>
                  <a:lnTo>
                    <a:pt x="1" y="11"/>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557" name="Freeform 463"/>
            <p:cNvSpPr>
              <a:spLocks/>
            </p:cNvSpPr>
            <p:nvPr/>
          </p:nvSpPr>
          <p:spPr bwMode="auto">
            <a:xfrm>
              <a:off x="111219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58" name="Freeform 464"/>
            <p:cNvSpPr>
              <a:spLocks/>
            </p:cNvSpPr>
            <p:nvPr/>
          </p:nvSpPr>
          <p:spPr bwMode="auto">
            <a:xfrm>
              <a:off x="11136257"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559" name="Freeform 465"/>
            <p:cNvSpPr>
              <a:spLocks/>
            </p:cNvSpPr>
            <p:nvPr/>
          </p:nvSpPr>
          <p:spPr bwMode="auto">
            <a:xfrm>
              <a:off x="11148956"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60" name="Freeform 466"/>
            <p:cNvSpPr>
              <a:spLocks/>
            </p:cNvSpPr>
            <p:nvPr/>
          </p:nvSpPr>
          <p:spPr bwMode="auto">
            <a:xfrm>
              <a:off x="11163242"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561" name="Freeform 467"/>
            <p:cNvSpPr>
              <a:spLocks/>
            </p:cNvSpPr>
            <p:nvPr/>
          </p:nvSpPr>
          <p:spPr bwMode="auto">
            <a:xfrm>
              <a:off x="11177528"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62" name="Freeform 468"/>
            <p:cNvSpPr>
              <a:spLocks/>
            </p:cNvSpPr>
            <p:nvPr/>
          </p:nvSpPr>
          <p:spPr bwMode="auto">
            <a:xfrm>
              <a:off x="11190227"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563" name="Freeform 469"/>
            <p:cNvSpPr>
              <a:spLocks/>
            </p:cNvSpPr>
            <p:nvPr/>
          </p:nvSpPr>
          <p:spPr bwMode="auto">
            <a:xfrm>
              <a:off x="112045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564" name="Freeform 470"/>
            <p:cNvSpPr>
              <a:spLocks/>
            </p:cNvSpPr>
            <p:nvPr/>
          </p:nvSpPr>
          <p:spPr bwMode="auto">
            <a:xfrm>
              <a:off x="11218799"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565" name="Freeform 471"/>
            <p:cNvSpPr>
              <a:spLocks/>
            </p:cNvSpPr>
            <p:nvPr/>
          </p:nvSpPr>
          <p:spPr bwMode="auto">
            <a:xfrm>
              <a:off x="11233085"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566" name="Freeform 472"/>
            <p:cNvSpPr>
              <a:spLocks/>
            </p:cNvSpPr>
            <p:nvPr/>
          </p:nvSpPr>
          <p:spPr bwMode="auto">
            <a:xfrm>
              <a:off x="112473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67" name="Freeform 473"/>
            <p:cNvSpPr>
              <a:spLocks/>
            </p:cNvSpPr>
            <p:nvPr/>
          </p:nvSpPr>
          <p:spPr bwMode="auto">
            <a:xfrm>
              <a:off x="11260070" y="6061690"/>
              <a:ext cx="4762" cy="4763"/>
            </a:xfrm>
            <a:custGeom>
              <a:avLst/>
              <a:gdLst>
                <a:gd name="T0" fmla="*/ 15 w 29"/>
                <a:gd name="T1" fmla="*/ 0 h 30"/>
                <a:gd name="T2" fmla="*/ 19 w 29"/>
                <a:gd name="T3" fmla="*/ 1 h 30"/>
                <a:gd name="T4" fmla="*/ 23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3 w 29"/>
                <a:gd name="T17" fmla="*/ 28 h 30"/>
                <a:gd name="T18" fmla="*/ 19 w 29"/>
                <a:gd name="T19" fmla="*/ 30 h 30"/>
                <a:gd name="T20" fmla="*/ 15 w 29"/>
                <a:gd name="T21" fmla="*/ 30 h 30"/>
                <a:gd name="T22" fmla="*/ 10 w 29"/>
                <a:gd name="T23" fmla="*/ 30 h 30"/>
                <a:gd name="T24" fmla="*/ 6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1"/>
                  </a:lnTo>
                  <a:lnTo>
                    <a:pt x="29"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568" name="Freeform 474"/>
            <p:cNvSpPr>
              <a:spLocks/>
            </p:cNvSpPr>
            <p:nvPr/>
          </p:nvSpPr>
          <p:spPr bwMode="auto">
            <a:xfrm>
              <a:off x="11274356"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69" name="Freeform 475"/>
            <p:cNvSpPr>
              <a:spLocks/>
            </p:cNvSpPr>
            <p:nvPr/>
          </p:nvSpPr>
          <p:spPr bwMode="auto">
            <a:xfrm>
              <a:off x="11288642"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570" name="Freeform 476"/>
            <p:cNvSpPr>
              <a:spLocks/>
            </p:cNvSpPr>
            <p:nvPr/>
          </p:nvSpPr>
          <p:spPr bwMode="auto">
            <a:xfrm>
              <a:off x="113029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571" name="Freeform 477"/>
            <p:cNvSpPr>
              <a:spLocks/>
            </p:cNvSpPr>
            <p:nvPr/>
          </p:nvSpPr>
          <p:spPr bwMode="auto">
            <a:xfrm>
              <a:off x="113156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72" name="Freeform 478"/>
            <p:cNvSpPr>
              <a:spLocks/>
            </p:cNvSpPr>
            <p:nvPr/>
          </p:nvSpPr>
          <p:spPr bwMode="auto">
            <a:xfrm>
              <a:off x="113299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573" name="Freeform 479"/>
            <p:cNvSpPr>
              <a:spLocks/>
            </p:cNvSpPr>
            <p:nvPr/>
          </p:nvSpPr>
          <p:spPr bwMode="auto">
            <a:xfrm>
              <a:off x="11344199"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74" name="Freeform 480"/>
            <p:cNvSpPr>
              <a:spLocks/>
            </p:cNvSpPr>
            <p:nvPr/>
          </p:nvSpPr>
          <p:spPr bwMode="auto">
            <a:xfrm>
              <a:off x="11358485" y="6061690"/>
              <a:ext cx="4762" cy="4763"/>
            </a:xfrm>
            <a:custGeom>
              <a:avLst/>
              <a:gdLst>
                <a:gd name="T0" fmla="*/ 16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1"/>
                  </a:lnTo>
                  <a:lnTo>
                    <a:pt x="30" y="16"/>
                  </a:lnTo>
                  <a:lnTo>
                    <a:pt x="29" y="20"/>
                  </a:lnTo>
                  <a:lnTo>
                    <a:pt x="27" y="25"/>
                  </a:lnTo>
                  <a:lnTo>
                    <a:pt x="23"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575" name="Freeform 481"/>
            <p:cNvSpPr>
              <a:spLocks/>
            </p:cNvSpPr>
            <p:nvPr/>
          </p:nvSpPr>
          <p:spPr bwMode="auto">
            <a:xfrm>
              <a:off x="11371184" y="6061690"/>
              <a:ext cx="4762" cy="4763"/>
            </a:xfrm>
            <a:custGeom>
              <a:avLst/>
              <a:gdLst>
                <a:gd name="T0" fmla="*/ 15 w 29"/>
                <a:gd name="T1" fmla="*/ 0 h 30"/>
                <a:gd name="T2" fmla="*/ 19 w 29"/>
                <a:gd name="T3" fmla="*/ 1 h 30"/>
                <a:gd name="T4" fmla="*/ 24 w 29"/>
                <a:gd name="T5" fmla="*/ 4 h 30"/>
                <a:gd name="T6" fmla="*/ 27 w 29"/>
                <a:gd name="T7" fmla="*/ 7 h 30"/>
                <a:gd name="T8" fmla="*/ 28 w 29"/>
                <a:gd name="T9" fmla="*/ 11 h 30"/>
                <a:gd name="T10" fmla="*/ 29 w 29"/>
                <a:gd name="T11" fmla="*/ 16 h 30"/>
                <a:gd name="T12" fmla="*/ 28 w 29"/>
                <a:gd name="T13" fmla="*/ 20 h 30"/>
                <a:gd name="T14" fmla="*/ 27 w 29"/>
                <a:gd name="T15" fmla="*/ 25 h 30"/>
                <a:gd name="T16" fmla="*/ 24 w 29"/>
                <a:gd name="T17" fmla="*/ 28 h 30"/>
                <a:gd name="T18" fmla="*/ 19 w 29"/>
                <a:gd name="T19" fmla="*/ 30 h 30"/>
                <a:gd name="T20" fmla="*/ 15 w 29"/>
                <a:gd name="T21" fmla="*/ 30 h 30"/>
                <a:gd name="T22" fmla="*/ 9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1"/>
                  </a:lnTo>
                  <a:lnTo>
                    <a:pt x="29" y="16"/>
                  </a:lnTo>
                  <a:lnTo>
                    <a:pt x="28" y="20"/>
                  </a:lnTo>
                  <a:lnTo>
                    <a:pt x="27" y="25"/>
                  </a:lnTo>
                  <a:lnTo>
                    <a:pt x="24" y="28"/>
                  </a:lnTo>
                  <a:lnTo>
                    <a:pt x="19" y="30"/>
                  </a:lnTo>
                  <a:lnTo>
                    <a:pt x="15" y="30"/>
                  </a:lnTo>
                  <a:lnTo>
                    <a:pt x="9" y="30"/>
                  </a:lnTo>
                  <a:lnTo>
                    <a:pt x="6" y="28"/>
                  </a:lnTo>
                  <a:lnTo>
                    <a:pt x="3" y="25"/>
                  </a:lnTo>
                  <a:lnTo>
                    <a:pt x="1" y="20"/>
                  </a:lnTo>
                  <a:lnTo>
                    <a:pt x="0" y="16"/>
                  </a:lnTo>
                  <a:lnTo>
                    <a:pt x="1" y="11"/>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576" name="Freeform 482"/>
            <p:cNvSpPr>
              <a:spLocks/>
            </p:cNvSpPr>
            <p:nvPr/>
          </p:nvSpPr>
          <p:spPr bwMode="auto">
            <a:xfrm>
              <a:off x="11385470"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577" name="Freeform 483"/>
            <p:cNvSpPr>
              <a:spLocks/>
            </p:cNvSpPr>
            <p:nvPr/>
          </p:nvSpPr>
          <p:spPr bwMode="auto">
            <a:xfrm>
              <a:off x="11399756"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578" name="Freeform 484"/>
            <p:cNvSpPr>
              <a:spLocks/>
            </p:cNvSpPr>
            <p:nvPr/>
          </p:nvSpPr>
          <p:spPr bwMode="auto">
            <a:xfrm>
              <a:off x="11414042"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579" name="Freeform 485"/>
            <p:cNvSpPr>
              <a:spLocks/>
            </p:cNvSpPr>
            <p:nvPr/>
          </p:nvSpPr>
          <p:spPr bwMode="auto">
            <a:xfrm>
              <a:off x="114283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580" name="Freeform 486"/>
            <p:cNvSpPr>
              <a:spLocks/>
            </p:cNvSpPr>
            <p:nvPr/>
          </p:nvSpPr>
          <p:spPr bwMode="auto">
            <a:xfrm>
              <a:off x="114410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581" name="Freeform 487"/>
            <p:cNvSpPr>
              <a:spLocks/>
            </p:cNvSpPr>
            <p:nvPr/>
          </p:nvSpPr>
          <p:spPr bwMode="auto">
            <a:xfrm>
              <a:off x="10967999"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582" name="Freeform 488"/>
            <p:cNvSpPr>
              <a:spLocks/>
            </p:cNvSpPr>
            <p:nvPr/>
          </p:nvSpPr>
          <p:spPr bwMode="auto">
            <a:xfrm>
              <a:off x="10982285"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583" name="Freeform 489"/>
            <p:cNvSpPr>
              <a:spLocks/>
            </p:cNvSpPr>
            <p:nvPr/>
          </p:nvSpPr>
          <p:spPr bwMode="auto">
            <a:xfrm>
              <a:off x="10996571" y="5736216"/>
              <a:ext cx="4762" cy="4763"/>
            </a:xfrm>
            <a:custGeom>
              <a:avLst/>
              <a:gdLst>
                <a:gd name="T0" fmla="*/ 14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6"/>
                  </a:lnTo>
                  <a:lnTo>
                    <a:pt x="29" y="10"/>
                  </a:lnTo>
                  <a:lnTo>
                    <a:pt x="30" y="15"/>
                  </a:lnTo>
                  <a:lnTo>
                    <a:pt x="29" y="20"/>
                  </a:lnTo>
                  <a:lnTo>
                    <a:pt x="27" y="23"/>
                  </a:lnTo>
                  <a:lnTo>
                    <a:pt x="23" y="27"/>
                  </a:lnTo>
                  <a:lnTo>
                    <a:pt x="19" y="29"/>
                  </a:lnTo>
                  <a:lnTo>
                    <a:pt x="14" y="30"/>
                  </a:lnTo>
                  <a:lnTo>
                    <a:pt x="10" y="29"/>
                  </a:lnTo>
                  <a:lnTo>
                    <a:pt x="6" y="27"/>
                  </a:lnTo>
                  <a:lnTo>
                    <a:pt x="2" y="23"/>
                  </a:lnTo>
                  <a:lnTo>
                    <a:pt x="0" y="20"/>
                  </a:lnTo>
                  <a:lnTo>
                    <a:pt x="0" y="15"/>
                  </a:lnTo>
                  <a:lnTo>
                    <a:pt x="0" y="10"/>
                  </a:lnTo>
                  <a:lnTo>
                    <a:pt x="2" y="6"/>
                  </a:lnTo>
                  <a:lnTo>
                    <a:pt x="6" y="4"/>
                  </a:lnTo>
                  <a:lnTo>
                    <a:pt x="10" y="1"/>
                  </a:lnTo>
                  <a:lnTo>
                    <a:pt x="14" y="0"/>
                  </a:lnTo>
                  <a:close/>
                </a:path>
              </a:pathLst>
            </a:custGeom>
            <a:solidFill>
              <a:schemeClr val="accent5"/>
            </a:solidFill>
            <a:ln>
              <a:noFill/>
            </a:ln>
          </p:spPr>
          <p:txBody>
            <a:bodyPr/>
            <a:lstStyle/>
            <a:p>
              <a:endParaRPr lang="de-DE" dirty="0"/>
            </a:p>
          </p:txBody>
        </p:sp>
        <p:sp>
          <p:nvSpPr>
            <p:cNvPr id="584" name="Freeform 490"/>
            <p:cNvSpPr>
              <a:spLocks/>
            </p:cNvSpPr>
            <p:nvPr/>
          </p:nvSpPr>
          <p:spPr bwMode="auto">
            <a:xfrm>
              <a:off x="11010857" y="5736216"/>
              <a:ext cx="4762" cy="4763"/>
            </a:xfrm>
            <a:custGeom>
              <a:avLst/>
              <a:gdLst>
                <a:gd name="T0" fmla="*/ 15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29" y="10"/>
                  </a:lnTo>
                  <a:lnTo>
                    <a:pt x="30" y="15"/>
                  </a:lnTo>
                  <a:lnTo>
                    <a:pt x="29" y="20"/>
                  </a:lnTo>
                  <a:lnTo>
                    <a:pt x="27" y="23"/>
                  </a:lnTo>
                  <a:lnTo>
                    <a:pt x="24" y="27"/>
                  </a:lnTo>
                  <a:lnTo>
                    <a:pt x="20"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585" name="Freeform 491"/>
            <p:cNvSpPr>
              <a:spLocks/>
            </p:cNvSpPr>
            <p:nvPr/>
          </p:nvSpPr>
          <p:spPr bwMode="auto">
            <a:xfrm>
              <a:off x="11023556"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586" name="Freeform 492"/>
            <p:cNvSpPr>
              <a:spLocks/>
            </p:cNvSpPr>
            <p:nvPr/>
          </p:nvSpPr>
          <p:spPr bwMode="auto">
            <a:xfrm>
              <a:off x="11037842"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587" name="Freeform 493"/>
            <p:cNvSpPr>
              <a:spLocks/>
            </p:cNvSpPr>
            <p:nvPr/>
          </p:nvSpPr>
          <p:spPr bwMode="auto">
            <a:xfrm>
              <a:off x="11052128"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588" name="Freeform 494"/>
            <p:cNvSpPr>
              <a:spLocks/>
            </p:cNvSpPr>
            <p:nvPr/>
          </p:nvSpPr>
          <p:spPr bwMode="auto">
            <a:xfrm>
              <a:off x="11066414" y="5736216"/>
              <a:ext cx="4762" cy="4763"/>
            </a:xfrm>
            <a:custGeom>
              <a:avLst/>
              <a:gdLst>
                <a:gd name="T0" fmla="*/ 15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6"/>
                  </a:lnTo>
                  <a:lnTo>
                    <a:pt x="29" y="10"/>
                  </a:lnTo>
                  <a:lnTo>
                    <a:pt x="30"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589" name="Freeform 495"/>
            <p:cNvSpPr>
              <a:spLocks/>
            </p:cNvSpPr>
            <p:nvPr/>
          </p:nvSpPr>
          <p:spPr bwMode="auto">
            <a:xfrm>
              <a:off x="11079113"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590" name="Freeform 496"/>
            <p:cNvSpPr>
              <a:spLocks/>
            </p:cNvSpPr>
            <p:nvPr/>
          </p:nvSpPr>
          <p:spPr bwMode="auto">
            <a:xfrm>
              <a:off x="11093399"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591" name="Freeform 497"/>
            <p:cNvSpPr>
              <a:spLocks/>
            </p:cNvSpPr>
            <p:nvPr/>
          </p:nvSpPr>
          <p:spPr bwMode="auto">
            <a:xfrm>
              <a:off x="11107685"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1" y="29"/>
                  </a:lnTo>
                  <a:lnTo>
                    <a:pt x="7" y="27"/>
                  </a:lnTo>
                  <a:lnTo>
                    <a:pt x="4" y="23"/>
                  </a:lnTo>
                  <a:lnTo>
                    <a:pt x="1" y="20"/>
                  </a:lnTo>
                  <a:lnTo>
                    <a:pt x="0" y="15"/>
                  </a:lnTo>
                  <a:lnTo>
                    <a:pt x="1" y="10"/>
                  </a:lnTo>
                  <a:lnTo>
                    <a:pt x="4" y="6"/>
                  </a:lnTo>
                  <a:lnTo>
                    <a:pt x="7" y="4"/>
                  </a:lnTo>
                  <a:lnTo>
                    <a:pt x="11" y="1"/>
                  </a:lnTo>
                  <a:lnTo>
                    <a:pt x="16" y="0"/>
                  </a:lnTo>
                  <a:close/>
                </a:path>
              </a:pathLst>
            </a:custGeom>
            <a:solidFill>
              <a:schemeClr val="accent5"/>
            </a:solidFill>
            <a:ln>
              <a:noFill/>
            </a:ln>
          </p:spPr>
          <p:txBody>
            <a:bodyPr/>
            <a:lstStyle/>
            <a:p>
              <a:endParaRPr lang="de-DE" dirty="0"/>
            </a:p>
          </p:txBody>
        </p:sp>
        <p:sp>
          <p:nvSpPr>
            <p:cNvPr id="592" name="Freeform 498"/>
            <p:cNvSpPr>
              <a:spLocks/>
            </p:cNvSpPr>
            <p:nvPr/>
          </p:nvSpPr>
          <p:spPr bwMode="auto">
            <a:xfrm>
              <a:off x="111219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593" name="Freeform 499"/>
            <p:cNvSpPr>
              <a:spLocks/>
            </p:cNvSpPr>
            <p:nvPr/>
          </p:nvSpPr>
          <p:spPr bwMode="auto">
            <a:xfrm>
              <a:off x="11136257"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594" name="Freeform 500"/>
            <p:cNvSpPr>
              <a:spLocks/>
            </p:cNvSpPr>
            <p:nvPr/>
          </p:nvSpPr>
          <p:spPr bwMode="auto">
            <a:xfrm>
              <a:off x="11148956"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595" name="Freeform 501"/>
            <p:cNvSpPr>
              <a:spLocks/>
            </p:cNvSpPr>
            <p:nvPr/>
          </p:nvSpPr>
          <p:spPr bwMode="auto">
            <a:xfrm>
              <a:off x="11163242"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596" name="Freeform 502"/>
            <p:cNvSpPr>
              <a:spLocks/>
            </p:cNvSpPr>
            <p:nvPr/>
          </p:nvSpPr>
          <p:spPr bwMode="auto">
            <a:xfrm>
              <a:off x="11177528"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597" name="Freeform 503"/>
            <p:cNvSpPr>
              <a:spLocks/>
            </p:cNvSpPr>
            <p:nvPr/>
          </p:nvSpPr>
          <p:spPr bwMode="auto">
            <a:xfrm>
              <a:off x="11190227"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598" name="Freeform 504"/>
            <p:cNvSpPr>
              <a:spLocks/>
            </p:cNvSpPr>
            <p:nvPr/>
          </p:nvSpPr>
          <p:spPr bwMode="auto">
            <a:xfrm>
              <a:off x="112045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599" name="Freeform 505"/>
            <p:cNvSpPr>
              <a:spLocks/>
            </p:cNvSpPr>
            <p:nvPr/>
          </p:nvSpPr>
          <p:spPr bwMode="auto">
            <a:xfrm>
              <a:off x="11218799"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600" name="Freeform 506"/>
            <p:cNvSpPr>
              <a:spLocks/>
            </p:cNvSpPr>
            <p:nvPr/>
          </p:nvSpPr>
          <p:spPr bwMode="auto">
            <a:xfrm>
              <a:off x="11233085"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601" name="Freeform 507"/>
            <p:cNvSpPr>
              <a:spLocks/>
            </p:cNvSpPr>
            <p:nvPr/>
          </p:nvSpPr>
          <p:spPr bwMode="auto">
            <a:xfrm>
              <a:off x="112473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602" name="Freeform 508"/>
            <p:cNvSpPr>
              <a:spLocks/>
            </p:cNvSpPr>
            <p:nvPr/>
          </p:nvSpPr>
          <p:spPr bwMode="auto">
            <a:xfrm>
              <a:off x="11260070" y="5736216"/>
              <a:ext cx="4762" cy="4763"/>
            </a:xfrm>
            <a:custGeom>
              <a:avLst/>
              <a:gdLst>
                <a:gd name="T0" fmla="*/ 15 w 29"/>
                <a:gd name="T1" fmla="*/ 0 h 30"/>
                <a:gd name="T2" fmla="*/ 19 w 29"/>
                <a:gd name="T3" fmla="*/ 1 h 30"/>
                <a:gd name="T4" fmla="*/ 23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6"/>
                  </a:lnTo>
                  <a:lnTo>
                    <a:pt x="29" y="10"/>
                  </a:lnTo>
                  <a:lnTo>
                    <a:pt x="29"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603" name="Freeform 509"/>
            <p:cNvSpPr>
              <a:spLocks/>
            </p:cNvSpPr>
            <p:nvPr/>
          </p:nvSpPr>
          <p:spPr bwMode="auto">
            <a:xfrm>
              <a:off x="11274356"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604" name="Freeform 510"/>
            <p:cNvSpPr>
              <a:spLocks/>
            </p:cNvSpPr>
            <p:nvPr/>
          </p:nvSpPr>
          <p:spPr bwMode="auto">
            <a:xfrm>
              <a:off x="11288642"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605" name="Freeform 511"/>
            <p:cNvSpPr>
              <a:spLocks/>
            </p:cNvSpPr>
            <p:nvPr/>
          </p:nvSpPr>
          <p:spPr bwMode="auto">
            <a:xfrm>
              <a:off x="113029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606" name="Freeform 512"/>
            <p:cNvSpPr>
              <a:spLocks/>
            </p:cNvSpPr>
            <p:nvPr/>
          </p:nvSpPr>
          <p:spPr bwMode="auto">
            <a:xfrm>
              <a:off x="113156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607" name="Freeform 513"/>
            <p:cNvSpPr>
              <a:spLocks/>
            </p:cNvSpPr>
            <p:nvPr/>
          </p:nvSpPr>
          <p:spPr bwMode="auto">
            <a:xfrm>
              <a:off x="113299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608" name="Freeform 514"/>
            <p:cNvSpPr>
              <a:spLocks/>
            </p:cNvSpPr>
            <p:nvPr/>
          </p:nvSpPr>
          <p:spPr bwMode="auto">
            <a:xfrm>
              <a:off x="11344199"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609" name="Freeform 515"/>
            <p:cNvSpPr>
              <a:spLocks/>
            </p:cNvSpPr>
            <p:nvPr/>
          </p:nvSpPr>
          <p:spPr bwMode="auto">
            <a:xfrm>
              <a:off x="11358485" y="5736216"/>
              <a:ext cx="4762" cy="4763"/>
            </a:xfrm>
            <a:custGeom>
              <a:avLst/>
              <a:gdLst>
                <a:gd name="T0" fmla="*/ 16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6"/>
                  </a:lnTo>
                  <a:lnTo>
                    <a:pt x="29" y="10"/>
                  </a:lnTo>
                  <a:lnTo>
                    <a:pt x="30" y="15"/>
                  </a:lnTo>
                  <a:lnTo>
                    <a:pt x="29" y="20"/>
                  </a:lnTo>
                  <a:lnTo>
                    <a:pt x="27" y="23"/>
                  </a:lnTo>
                  <a:lnTo>
                    <a:pt x="23"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610" name="Freeform 516"/>
            <p:cNvSpPr>
              <a:spLocks/>
            </p:cNvSpPr>
            <p:nvPr/>
          </p:nvSpPr>
          <p:spPr bwMode="auto">
            <a:xfrm>
              <a:off x="11371184" y="5736216"/>
              <a:ext cx="4762" cy="4763"/>
            </a:xfrm>
            <a:custGeom>
              <a:avLst/>
              <a:gdLst>
                <a:gd name="T0" fmla="*/ 15 w 29"/>
                <a:gd name="T1" fmla="*/ 0 h 30"/>
                <a:gd name="T2" fmla="*/ 19 w 29"/>
                <a:gd name="T3" fmla="*/ 1 h 30"/>
                <a:gd name="T4" fmla="*/ 24 w 29"/>
                <a:gd name="T5" fmla="*/ 4 h 30"/>
                <a:gd name="T6" fmla="*/ 27 w 29"/>
                <a:gd name="T7" fmla="*/ 6 h 30"/>
                <a:gd name="T8" fmla="*/ 28 w 29"/>
                <a:gd name="T9" fmla="*/ 10 h 30"/>
                <a:gd name="T10" fmla="*/ 29 w 29"/>
                <a:gd name="T11" fmla="*/ 15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8" y="10"/>
                  </a:lnTo>
                  <a:lnTo>
                    <a:pt x="29" y="15"/>
                  </a:lnTo>
                  <a:lnTo>
                    <a:pt x="28" y="20"/>
                  </a:lnTo>
                  <a:lnTo>
                    <a:pt x="27" y="23"/>
                  </a:lnTo>
                  <a:lnTo>
                    <a:pt x="24" y="27"/>
                  </a:lnTo>
                  <a:lnTo>
                    <a:pt x="19" y="29"/>
                  </a:lnTo>
                  <a:lnTo>
                    <a:pt x="15" y="30"/>
                  </a:lnTo>
                  <a:lnTo>
                    <a:pt x="9" y="29"/>
                  </a:lnTo>
                  <a:lnTo>
                    <a:pt x="6" y="27"/>
                  </a:lnTo>
                  <a:lnTo>
                    <a:pt x="3" y="23"/>
                  </a:lnTo>
                  <a:lnTo>
                    <a:pt x="1" y="20"/>
                  </a:lnTo>
                  <a:lnTo>
                    <a:pt x="0" y="15"/>
                  </a:lnTo>
                  <a:lnTo>
                    <a:pt x="1" y="10"/>
                  </a:lnTo>
                  <a:lnTo>
                    <a:pt x="3" y="6"/>
                  </a:lnTo>
                  <a:lnTo>
                    <a:pt x="6" y="4"/>
                  </a:lnTo>
                  <a:lnTo>
                    <a:pt x="9" y="1"/>
                  </a:lnTo>
                  <a:lnTo>
                    <a:pt x="15" y="0"/>
                  </a:lnTo>
                  <a:close/>
                </a:path>
              </a:pathLst>
            </a:custGeom>
            <a:solidFill>
              <a:schemeClr val="accent5"/>
            </a:solidFill>
            <a:ln>
              <a:noFill/>
            </a:ln>
          </p:spPr>
          <p:txBody>
            <a:bodyPr/>
            <a:lstStyle/>
            <a:p>
              <a:endParaRPr lang="de-DE" dirty="0"/>
            </a:p>
          </p:txBody>
        </p:sp>
        <p:sp>
          <p:nvSpPr>
            <p:cNvPr id="611" name="Freeform 517"/>
            <p:cNvSpPr>
              <a:spLocks/>
            </p:cNvSpPr>
            <p:nvPr/>
          </p:nvSpPr>
          <p:spPr bwMode="auto">
            <a:xfrm>
              <a:off x="11385470"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612" name="Freeform 518"/>
            <p:cNvSpPr>
              <a:spLocks/>
            </p:cNvSpPr>
            <p:nvPr/>
          </p:nvSpPr>
          <p:spPr bwMode="auto">
            <a:xfrm>
              <a:off x="11399756"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613" name="Freeform 519"/>
            <p:cNvSpPr>
              <a:spLocks/>
            </p:cNvSpPr>
            <p:nvPr/>
          </p:nvSpPr>
          <p:spPr bwMode="auto">
            <a:xfrm>
              <a:off x="11414042"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614" name="Freeform 520"/>
            <p:cNvSpPr>
              <a:spLocks/>
            </p:cNvSpPr>
            <p:nvPr/>
          </p:nvSpPr>
          <p:spPr bwMode="auto">
            <a:xfrm>
              <a:off x="114283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615" name="Freeform 521"/>
            <p:cNvSpPr>
              <a:spLocks/>
            </p:cNvSpPr>
            <p:nvPr/>
          </p:nvSpPr>
          <p:spPr bwMode="auto">
            <a:xfrm>
              <a:off x="114410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616" name="Freeform 522"/>
            <p:cNvSpPr>
              <a:spLocks/>
            </p:cNvSpPr>
            <p:nvPr/>
          </p:nvSpPr>
          <p:spPr bwMode="auto">
            <a:xfrm>
              <a:off x="10967999"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617" name="Freeform 523"/>
            <p:cNvSpPr>
              <a:spLocks/>
            </p:cNvSpPr>
            <p:nvPr/>
          </p:nvSpPr>
          <p:spPr bwMode="auto">
            <a:xfrm>
              <a:off x="10982285"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18" name="Freeform 525"/>
            <p:cNvSpPr>
              <a:spLocks/>
            </p:cNvSpPr>
            <p:nvPr/>
          </p:nvSpPr>
          <p:spPr bwMode="auto">
            <a:xfrm>
              <a:off x="10996571" y="5790197"/>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619" name="Freeform 526"/>
            <p:cNvSpPr>
              <a:spLocks/>
            </p:cNvSpPr>
            <p:nvPr/>
          </p:nvSpPr>
          <p:spPr bwMode="auto">
            <a:xfrm>
              <a:off x="11010857" y="5790197"/>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620" name="Freeform 527"/>
            <p:cNvSpPr>
              <a:spLocks/>
            </p:cNvSpPr>
            <p:nvPr/>
          </p:nvSpPr>
          <p:spPr bwMode="auto">
            <a:xfrm>
              <a:off x="11023556"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621" name="Freeform 528"/>
            <p:cNvSpPr>
              <a:spLocks/>
            </p:cNvSpPr>
            <p:nvPr/>
          </p:nvSpPr>
          <p:spPr bwMode="auto">
            <a:xfrm>
              <a:off x="11037842"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622" name="Freeform 529"/>
            <p:cNvSpPr>
              <a:spLocks/>
            </p:cNvSpPr>
            <p:nvPr/>
          </p:nvSpPr>
          <p:spPr bwMode="auto">
            <a:xfrm>
              <a:off x="11052128"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23" name="Freeform 530"/>
            <p:cNvSpPr>
              <a:spLocks/>
            </p:cNvSpPr>
            <p:nvPr/>
          </p:nvSpPr>
          <p:spPr bwMode="auto">
            <a:xfrm>
              <a:off x="11066414" y="5790197"/>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624" name="Freeform 531"/>
            <p:cNvSpPr>
              <a:spLocks/>
            </p:cNvSpPr>
            <p:nvPr/>
          </p:nvSpPr>
          <p:spPr bwMode="auto">
            <a:xfrm>
              <a:off x="11079113"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625" name="Freeform 532"/>
            <p:cNvSpPr>
              <a:spLocks/>
            </p:cNvSpPr>
            <p:nvPr/>
          </p:nvSpPr>
          <p:spPr bwMode="auto">
            <a:xfrm>
              <a:off x="11093399"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626" name="Freeform 533"/>
            <p:cNvSpPr>
              <a:spLocks/>
            </p:cNvSpPr>
            <p:nvPr/>
          </p:nvSpPr>
          <p:spPr bwMode="auto">
            <a:xfrm>
              <a:off x="11107685"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627" name="Freeform 534"/>
            <p:cNvSpPr>
              <a:spLocks/>
            </p:cNvSpPr>
            <p:nvPr/>
          </p:nvSpPr>
          <p:spPr bwMode="auto">
            <a:xfrm>
              <a:off x="111219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28" name="Freeform 535"/>
            <p:cNvSpPr>
              <a:spLocks/>
            </p:cNvSpPr>
            <p:nvPr/>
          </p:nvSpPr>
          <p:spPr bwMode="auto">
            <a:xfrm>
              <a:off x="11136257"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629" name="Freeform 536"/>
            <p:cNvSpPr>
              <a:spLocks/>
            </p:cNvSpPr>
            <p:nvPr/>
          </p:nvSpPr>
          <p:spPr bwMode="auto">
            <a:xfrm>
              <a:off x="11148956"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630" name="Freeform 537"/>
            <p:cNvSpPr>
              <a:spLocks/>
            </p:cNvSpPr>
            <p:nvPr/>
          </p:nvSpPr>
          <p:spPr bwMode="auto">
            <a:xfrm>
              <a:off x="11163242"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631" name="Freeform 538"/>
            <p:cNvSpPr>
              <a:spLocks/>
            </p:cNvSpPr>
            <p:nvPr/>
          </p:nvSpPr>
          <p:spPr bwMode="auto">
            <a:xfrm>
              <a:off x="11177528"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32" name="Freeform 539"/>
            <p:cNvSpPr>
              <a:spLocks/>
            </p:cNvSpPr>
            <p:nvPr/>
          </p:nvSpPr>
          <p:spPr bwMode="auto">
            <a:xfrm>
              <a:off x="11190227"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633" name="Freeform 540"/>
            <p:cNvSpPr>
              <a:spLocks/>
            </p:cNvSpPr>
            <p:nvPr/>
          </p:nvSpPr>
          <p:spPr bwMode="auto">
            <a:xfrm>
              <a:off x="112045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634" name="Freeform 541"/>
            <p:cNvSpPr>
              <a:spLocks/>
            </p:cNvSpPr>
            <p:nvPr/>
          </p:nvSpPr>
          <p:spPr bwMode="auto">
            <a:xfrm>
              <a:off x="11218799"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635" name="Freeform 542"/>
            <p:cNvSpPr>
              <a:spLocks/>
            </p:cNvSpPr>
            <p:nvPr/>
          </p:nvSpPr>
          <p:spPr bwMode="auto">
            <a:xfrm>
              <a:off x="11233085"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636" name="Freeform 543"/>
            <p:cNvSpPr>
              <a:spLocks/>
            </p:cNvSpPr>
            <p:nvPr/>
          </p:nvSpPr>
          <p:spPr bwMode="auto">
            <a:xfrm>
              <a:off x="112473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37" name="Freeform 544"/>
            <p:cNvSpPr>
              <a:spLocks/>
            </p:cNvSpPr>
            <p:nvPr/>
          </p:nvSpPr>
          <p:spPr bwMode="auto">
            <a:xfrm>
              <a:off x="11260070" y="5790197"/>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638" name="Freeform 545"/>
            <p:cNvSpPr>
              <a:spLocks/>
            </p:cNvSpPr>
            <p:nvPr/>
          </p:nvSpPr>
          <p:spPr bwMode="auto">
            <a:xfrm>
              <a:off x="11274356"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639" name="Freeform 546"/>
            <p:cNvSpPr>
              <a:spLocks/>
            </p:cNvSpPr>
            <p:nvPr/>
          </p:nvSpPr>
          <p:spPr bwMode="auto">
            <a:xfrm>
              <a:off x="11288642"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640" name="Freeform 547"/>
            <p:cNvSpPr>
              <a:spLocks/>
            </p:cNvSpPr>
            <p:nvPr/>
          </p:nvSpPr>
          <p:spPr bwMode="auto">
            <a:xfrm>
              <a:off x="113029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641" name="Freeform 548"/>
            <p:cNvSpPr>
              <a:spLocks/>
            </p:cNvSpPr>
            <p:nvPr/>
          </p:nvSpPr>
          <p:spPr bwMode="auto">
            <a:xfrm>
              <a:off x="113156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42" name="Freeform 549"/>
            <p:cNvSpPr>
              <a:spLocks/>
            </p:cNvSpPr>
            <p:nvPr/>
          </p:nvSpPr>
          <p:spPr bwMode="auto">
            <a:xfrm>
              <a:off x="113299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643" name="Freeform 550"/>
            <p:cNvSpPr>
              <a:spLocks/>
            </p:cNvSpPr>
            <p:nvPr/>
          </p:nvSpPr>
          <p:spPr bwMode="auto">
            <a:xfrm>
              <a:off x="11344199"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644" name="Freeform 551"/>
            <p:cNvSpPr>
              <a:spLocks/>
            </p:cNvSpPr>
            <p:nvPr/>
          </p:nvSpPr>
          <p:spPr bwMode="auto">
            <a:xfrm>
              <a:off x="11358485" y="5790197"/>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645" name="Freeform 552"/>
            <p:cNvSpPr>
              <a:spLocks/>
            </p:cNvSpPr>
            <p:nvPr/>
          </p:nvSpPr>
          <p:spPr bwMode="auto">
            <a:xfrm>
              <a:off x="11371184" y="5790197"/>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646" name="Freeform 553"/>
            <p:cNvSpPr>
              <a:spLocks/>
            </p:cNvSpPr>
            <p:nvPr/>
          </p:nvSpPr>
          <p:spPr bwMode="auto">
            <a:xfrm>
              <a:off x="11385470"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647" name="Freeform 554"/>
            <p:cNvSpPr>
              <a:spLocks/>
            </p:cNvSpPr>
            <p:nvPr/>
          </p:nvSpPr>
          <p:spPr bwMode="auto">
            <a:xfrm>
              <a:off x="11399756"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648" name="Freeform 555"/>
            <p:cNvSpPr>
              <a:spLocks/>
            </p:cNvSpPr>
            <p:nvPr/>
          </p:nvSpPr>
          <p:spPr bwMode="auto">
            <a:xfrm>
              <a:off x="11414042"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649" name="Freeform 556"/>
            <p:cNvSpPr>
              <a:spLocks/>
            </p:cNvSpPr>
            <p:nvPr/>
          </p:nvSpPr>
          <p:spPr bwMode="auto">
            <a:xfrm>
              <a:off x="114283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650" name="Freeform 557"/>
            <p:cNvSpPr>
              <a:spLocks/>
            </p:cNvSpPr>
            <p:nvPr/>
          </p:nvSpPr>
          <p:spPr bwMode="auto">
            <a:xfrm>
              <a:off x="114410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651" name="Freeform 558"/>
            <p:cNvSpPr>
              <a:spLocks/>
            </p:cNvSpPr>
            <p:nvPr/>
          </p:nvSpPr>
          <p:spPr bwMode="auto">
            <a:xfrm>
              <a:off x="10967999"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652" name="Freeform 559"/>
            <p:cNvSpPr>
              <a:spLocks/>
            </p:cNvSpPr>
            <p:nvPr/>
          </p:nvSpPr>
          <p:spPr bwMode="auto">
            <a:xfrm>
              <a:off x="10982285"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53" name="Freeform 560"/>
            <p:cNvSpPr>
              <a:spLocks/>
            </p:cNvSpPr>
            <p:nvPr/>
          </p:nvSpPr>
          <p:spPr bwMode="auto">
            <a:xfrm>
              <a:off x="10996571" y="5845766"/>
              <a:ext cx="4762" cy="3175"/>
            </a:xfrm>
            <a:custGeom>
              <a:avLst/>
              <a:gdLst>
                <a:gd name="T0" fmla="*/ 14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0"/>
                  </a:lnTo>
                  <a:lnTo>
                    <a:pt x="30" y="16"/>
                  </a:lnTo>
                  <a:lnTo>
                    <a:pt x="29" y="20"/>
                  </a:lnTo>
                  <a:lnTo>
                    <a:pt x="27" y="23"/>
                  </a:lnTo>
                  <a:lnTo>
                    <a:pt x="23" y="27"/>
                  </a:lnTo>
                  <a:lnTo>
                    <a:pt x="19" y="29"/>
                  </a:lnTo>
                  <a:lnTo>
                    <a:pt x="14" y="30"/>
                  </a:lnTo>
                  <a:lnTo>
                    <a:pt x="10" y="29"/>
                  </a:lnTo>
                  <a:lnTo>
                    <a:pt x="6" y="27"/>
                  </a:lnTo>
                  <a:lnTo>
                    <a:pt x="2" y="23"/>
                  </a:lnTo>
                  <a:lnTo>
                    <a:pt x="0" y="20"/>
                  </a:lnTo>
                  <a:lnTo>
                    <a:pt x="0" y="16"/>
                  </a:lnTo>
                  <a:lnTo>
                    <a:pt x="0" y="10"/>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654" name="Freeform 561"/>
            <p:cNvSpPr>
              <a:spLocks/>
            </p:cNvSpPr>
            <p:nvPr/>
          </p:nvSpPr>
          <p:spPr bwMode="auto">
            <a:xfrm>
              <a:off x="11010857" y="5845766"/>
              <a:ext cx="4762" cy="3175"/>
            </a:xfrm>
            <a:custGeom>
              <a:avLst/>
              <a:gdLst>
                <a:gd name="T0" fmla="*/ 15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0"/>
                  </a:lnTo>
                  <a:lnTo>
                    <a:pt x="30" y="16"/>
                  </a:lnTo>
                  <a:lnTo>
                    <a:pt x="29" y="20"/>
                  </a:lnTo>
                  <a:lnTo>
                    <a:pt x="27" y="23"/>
                  </a:lnTo>
                  <a:lnTo>
                    <a:pt x="24" y="27"/>
                  </a:lnTo>
                  <a:lnTo>
                    <a:pt x="20"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655" name="Freeform 562"/>
            <p:cNvSpPr>
              <a:spLocks/>
            </p:cNvSpPr>
            <p:nvPr/>
          </p:nvSpPr>
          <p:spPr bwMode="auto">
            <a:xfrm>
              <a:off x="11023556"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656" name="Freeform 563"/>
            <p:cNvSpPr>
              <a:spLocks/>
            </p:cNvSpPr>
            <p:nvPr/>
          </p:nvSpPr>
          <p:spPr bwMode="auto">
            <a:xfrm>
              <a:off x="11037842"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657" name="Freeform 564"/>
            <p:cNvSpPr>
              <a:spLocks/>
            </p:cNvSpPr>
            <p:nvPr/>
          </p:nvSpPr>
          <p:spPr bwMode="auto">
            <a:xfrm>
              <a:off x="11052128"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58" name="Freeform 565"/>
            <p:cNvSpPr>
              <a:spLocks/>
            </p:cNvSpPr>
            <p:nvPr/>
          </p:nvSpPr>
          <p:spPr bwMode="auto">
            <a:xfrm>
              <a:off x="11066414" y="5845766"/>
              <a:ext cx="4762" cy="3175"/>
            </a:xfrm>
            <a:custGeom>
              <a:avLst/>
              <a:gdLst>
                <a:gd name="T0" fmla="*/ 15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0"/>
                  </a:lnTo>
                  <a:lnTo>
                    <a:pt x="30"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659" name="Freeform 566"/>
            <p:cNvSpPr>
              <a:spLocks/>
            </p:cNvSpPr>
            <p:nvPr/>
          </p:nvSpPr>
          <p:spPr bwMode="auto">
            <a:xfrm>
              <a:off x="11079113"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660" name="Freeform 567"/>
            <p:cNvSpPr>
              <a:spLocks/>
            </p:cNvSpPr>
            <p:nvPr/>
          </p:nvSpPr>
          <p:spPr bwMode="auto">
            <a:xfrm>
              <a:off x="11093399"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661" name="Freeform 568"/>
            <p:cNvSpPr>
              <a:spLocks/>
            </p:cNvSpPr>
            <p:nvPr/>
          </p:nvSpPr>
          <p:spPr bwMode="auto">
            <a:xfrm>
              <a:off x="11107685"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1" y="29"/>
                  </a:lnTo>
                  <a:lnTo>
                    <a:pt x="7" y="27"/>
                  </a:lnTo>
                  <a:lnTo>
                    <a:pt x="4" y="23"/>
                  </a:lnTo>
                  <a:lnTo>
                    <a:pt x="1" y="20"/>
                  </a:lnTo>
                  <a:lnTo>
                    <a:pt x="0" y="16"/>
                  </a:lnTo>
                  <a:lnTo>
                    <a:pt x="1" y="10"/>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662" name="Freeform 569"/>
            <p:cNvSpPr>
              <a:spLocks/>
            </p:cNvSpPr>
            <p:nvPr/>
          </p:nvSpPr>
          <p:spPr bwMode="auto">
            <a:xfrm>
              <a:off x="111219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63" name="Freeform 570"/>
            <p:cNvSpPr>
              <a:spLocks/>
            </p:cNvSpPr>
            <p:nvPr/>
          </p:nvSpPr>
          <p:spPr bwMode="auto">
            <a:xfrm>
              <a:off x="11136257"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664" name="Freeform 571"/>
            <p:cNvSpPr>
              <a:spLocks/>
            </p:cNvSpPr>
            <p:nvPr/>
          </p:nvSpPr>
          <p:spPr bwMode="auto">
            <a:xfrm>
              <a:off x="11148956"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665" name="Freeform 572"/>
            <p:cNvSpPr>
              <a:spLocks/>
            </p:cNvSpPr>
            <p:nvPr/>
          </p:nvSpPr>
          <p:spPr bwMode="auto">
            <a:xfrm>
              <a:off x="11163242"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666" name="Freeform 573"/>
            <p:cNvSpPr>
              <a:spLocks/>
            </p:cNvSpPr>
            <p:nvPr/>
          </p:nvSpPr>
          <p:spPr bwMode="auto">
            <a:xfrm>
              <a:off x="11177528"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67" name="Freeform 574"/>
            <p:cNvSpPr>
              <a:spLocks/>
            </p:cNvSpPr>
            <p:nvPr/>
          </p:nvSpPr>
          <p:spPr bwMode="auto">
            <a:xfrm>
              <a:off x="11190227"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668" name="Freeform 575"/>
            <p:cNvSpPr>
              <a:spLocks/>
            </p:cNvSpPr>
            <p:nvPr/>
          </p:nvSpPr>
          <p:spPr bwMode="auto">
            <a:xfrm>
              <a:off x="112045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669" name="Freeform 576"/>
            <p:cNvSpPr>
              <a:spLocks/>
            </p:cNvSpPr>
            <p:nvPr/>
          </p:nvSpPr>
          <p:spPr bwMode="auto">
            <a:xfrm>
              <a:off x="11218799"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670" name="Freeform 577"/>
            <p:cNvSpPr>
              <a:spLocks/>
            </p:cNvSpPr>
            <p:nvPr/>
          </p:nvSpPr>
          <p:spPr bwMode="auto">
            <a:xfrm>
              <a:off x="11233085"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671" name="Freeform 578"/>
            <p:cNvSpPr>
              <a:spLocks/>
            </p:cNvSpPr>
            <p:nvPr/>
          </p:nvSpPr>
          <p:spPr bwMode="auto">
            <a:xfrm>
              <a:off x="112473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72" name="Freeform 579"/>
            <p:cNvSpPr>
              <a:spLocks/>
            </p:cNvSpPr>
            <p:nvPr/>
          </p:nvSpPr>
          <p:spPr bwMode="auto">
            <a:xfrm>
              <a:off x="11260070" y="5845766"/>
              <a:ext cx="4762" cy="3175"/>
            </a:xfrm>
            <a:custGeom>
              <a:avLst/>
              <a:gdLst>
                <a:gd name="T0" fmla="*/ 15 w 29"/>
                <a:gd name="T1" fmla="*/ 0 h 30"/>
                <a:gd name="T2" fmla="*/ 19 w 29"/>
                <a:gd name="T3" fmla="*/ 1 h 30"/>
                <a:gd name="T4" fmla="*/ 23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0"/>
                  </a:lnTo>
                  <a:lnTo>
                    <a:pt x="29"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673" name="Freeform 580"/>
            <p:cNvSpPr>
              <a:spLocks/>
            </p:cNvSpPr>
            <p:nvPr/>
          </p:nvSpPr>
          <p:spPr bwMode="auto">
            <a:xfrm>
              <a:off x="11274356"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674" name="Freeform 581"/>
            <p:cNvSpPr>
              <a:spLocks/>
            </p:cNvSpPr>
            <p:nvPr/>
          </p:nvSpPr>
          <p:spPr bwMode="auto">
            <a:xfrm>
              <a:off x="11288642"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675" name="Freeform 582"/>
            <p:cNvSpPr>
              <a:spLocks/>
            </p:cNvSpPr>
            <p:nvPr/>
          </p:nvSpPr>
          <p:spPr bwMode="auto">
            <a:xfrm>
              <a:off x="113029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676" name="Freeform 583"/>
            <p:cNvSpPr>
              <a:spLocks/>
            </p:cNvSpPr>
            <p:nvPr/>
          </p:nvSpPr>
          <p:spPr bwMode="auto">
            <a:xfrm>
              <a:off x="113156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77" name="Freeform 584"/>
            <p:cNvSpPr>
              <a:spLocks/>
            </p:cNvSpPr>
            <p:nvPr/>
          </p:nvSpPr>
          <p:spPr bwMode="auto">
            <a:xfrm>
              <a:off x="113299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678" name="Freeform 585"/>
            <p:cNvSpPr>
              <a:spLocks/>
            </p:cNvSpPr>
            <p:nvPr/>
          </p:nvSpPr>
          <p:spPr bwMode="auto">
            <a:xfrm>
              <a:off x="11344199"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679" name="Freeform 586"/>
            <p:cNvSpPr>
              <a:spLocks/>
            </p:cNvSpPr>
            <p:nvPr/>
          </p:nvSpPr>
          <p:spPr bwMode="auto">
            <a:xfrm>
              <a:off x="11358485" y="5845766"/>
              <a:ext cx="4762" cy="3175"/>
            </a:xfrm>
            <a:custGeom>
              <a:avLst/>
              <a:gdLst>
                <a:gd name="T0" fmla="*/ 16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0"/>
                  </a:lnTo>
                  <a:lnTo>
                    <a:pt x="30" y="16"/>
                  </a:lnTo>
                  <a:lnTo>
                    <a:pt x="29" y="20"/>
                  </a:lnTo>
                  <a:lnTo>
                    <a:pt x="27" y="23"/>
                  </a:lnTo>
                  <a:lnTo>
                    <a:pt x="23"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680" name="Freeform 587"/>
            <p:cNvSpPr>
              <a:spLocks/>
            </p:cNvSpPr>
            <p:nvPr/>
          </p:nvSpPr>
          <p:spPr bwMode="auto">
            <a:xfrm>
              <a:off x="11371184" y="5845766"/>
              <a:ext cx="4762" cy="3175"/>
            </a:xfrm>
            <a:custGeom>
              <a:avLst/>
              <a:gdLst>
                <a:gd name="T0" fmla="*/ 15 w 29"/>
                <a:gd name="T1" fmla="*/ 0 h 30"/>
                <a:gd name="T2" fmla="*/ 19 w 29"/>
                <a:gd name="T3" fmla="*/ 1 h 30"/>
                <a:gd name="T4" fmla="*/ 24 w 29"/>
                <a:gd name="T5" fmla="*/ 3 h 30"/>
                <a:gd name="T6" fmla="*/ 27 w 29"/>
                <a:gd name="T7" fmla="*/ 7 h 30"/>
                <a:gd name="T8" fmla="*/ 28 w 29"/>
                <a:gd name="T9" fmla="*/ 10 h 30"/>
                <a:gd name="T10" fmla="*/ 29 w 29"/>
                <a:gd name="T11" fmla="*/ 16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0"/>
                  </a:lnTo>
                  <a:lnTo>
                    <a:pt x="29" y="16"/>
                  </a:lnTo>
                  <a:lnTo>
                    <a:pt x="28" y="20"/>
                  </a:lnTo>
                  <a:lnTo>
                    <a:pt x="27" y="23"/>
                  </a:lnTo>
                  <a:lnTo>
                    <a:pt x="24" y="27"/>
                  </a:lnTo>
                  <a:lnTo>
                    <a:pt x="19" y="29"/>
                  </a:lnTo>
                  <a:lnTo>
                    <a:pt x="15" y="30"/>
                  </a:lnTo>
                  <a:lnTo>
                    <a:pt x="9" y="29"/>
                  </a:lnTo>
                  <a:lnTo>
                    <a:pt x="6" y="27"/>
                  </a:lnTo>
                  <a:lnTo>
                    <a:pt x="3" y="23"/>
                  </a:lnTo>
                  <a:lnTo>
                    <a:pt x="1" y="20"/>
                  </a:lnTo>
                  <a:lnTo>
                    <a:pt x="0" y="16"/>
                  </a:lnTo>
                  <a:lnTo>
                    <a:pt x="1" y="10"/>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681" name="Freeform 588"/>
            <p:cNvSpPr>
              <a:spLocks/>
            </p:cNvSpPr>
            <p:nvPr/>
          </p:nvSpPr>
          <p:spPr bwMode="auto">
            <a:xfrm>
              <a:off x="11385470"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682" name="Freeform 589"/>
            <p:cNvSpPr>
              <a:spLocks/>
            </p:cNvSpPr>
            <p:nvPr/>
          </p:nvSpPr>
          <p:spPr bwMode="auto">
            <a:xfrm>
              <a:off x="11399756"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683" name="Freeform 590"/>
            <p:cNvSpPr>
              <a:spLocks/>
            </p:cNvSpPr>
            <p:nvPr/>
          </p:nvSpPr>
          <p:spPr bwMode="auto">
            <a:xfrm>
              <a:off x="11414042"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684" name="Freeform 591"/>
            <p:cNvSpPr>
              <a:spLocks/>
            </p:cNvSpPr>
            <p:nvPr/>
          </p:nvSpPr>
          <p:spPr bwMode="auto">
            <a:xfrm>
              <a:off x="114283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685" name="Freeform 592"/>
            <p:cNvSpPr>
              <a:spLocks/>
            </p:cNvSpPr>
            <p:nvPr/>
          </p:nvSpPr>
          <p:spPr bwMode="auto">
            <a:xfrm>
              <a:off x="114410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686" name="Freeform 593"/>
            <p:cNvSpPr>
              <a:spLocks/>
            </p:cNvSpPr>
            <p:nvPr/>
          </p:nvSpPr>
          <p:spPr bwMode="auto">
            <a:xfrm>
              <a:off x="10967999"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687" name="Freeform 594"/>
            <p:cNvSpPr>
              <a:spLocks/>
            </p:cNvSpPr>
            <p:nvPr/>
          </p:nvSpPr>
          <p:spPr bwMode="auto">
            <a:xfrm>
              <a:off x="10982285"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688" name="Freeform 595"/>
            <p:cNvSpPr>
              <a:spLocks/>
            </p:cNvSpPr>
            <p:nvPr/>
          </p:nvSpPr>
          <p:spPr bwMode="auto">
            <a:xfrm>
              <a:off x="10996571" y="5899747"/>
              <a:ext cx="4762" cy="4763"/>
            </a:xfrm>
            <a:custGeom>
              <a:avLst/>
              <a:gdLst>
                <a:gd name="T0" fmla="*/ 14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5"/>
                  </a:lnTo>
                  <a:lnTo>
                    <a:pt x="29" y="10"/>
                  </a:lnTo>
                  <a:lnTo>
                    <a:pt x="30" y="14"/>
                  </a:lnTo>
                  <a:lnTo>
                    <a:pt x="29" y="20"/>
                  </a:lnTo>
                  <a:lnTo>
                    <a:pt x="27" y="23"/>
                  </a:lnTo>
                  <a:lnTo>
                    <a:pt x="23" y="26"/>
                  </a:lnTo>
                  <a:lnTo>
                    <a:pt x="19" y="29"/>
                  </a:lnTo>
                  <a:lnTo>
                    <a:pt x="14" y="30"/>
                  </a:lnTo>
                  <a:lnTo>
                    <a:pt x="10" y="29"/>
                  </a:lnTo>
                  <a:lnTo>
                    <a:pt x="6" y="26"/>
                  </a:lnTo>
                  <a:lnTo>
                    <a:pt x="2" y="23"/>
                  </a:lnTo>
                  <a:lnTo>
                    <a:pt x="0" y="20"/>
                  </a:lnTo>
                  <a:lnTo>
                    <a:pt x="0" y="14"/>
                  </a:lnTo>
                  <a:lnTo>
                    <a:pt x="0" y="10"/>
                  </a:lnTo>
                  <a:lnTo>
                    <a:pt x="2" y="5"/>
                  </a:lnTo>
                  <a:lnTo>
                    <a:pt x="6" y="3"/>
                  </a:lnTo>
                  <a:lnTo>
                    <a:pt x="10" y="1"/>
                  </a:lnTo>
                  <a:lnTo>
                    <a:pt x="14" y="0"/>
                  </a:lnTo>
                  <a:close/>
                </a:path>
              </a:pathLst>
            </a:custGeom>
            <a:solidFill>
              <a:schemeClr val="accent5"/>
            </a:solidFill>
            <a:ln>
              <a:noFill/>
            </a:ln>
          </p:spPr>
          <p:txBody>
            <a:bodyPr/>
            <a:lstStyle/>
            <a:p>
              <a:endParaRPr lang="de-DE" dirty="0"/>
            </a:p>
          </p:txBody>
        </p:sp>
        <p:sp>
          <p:nvSpPr>
            <p:cNvPr id="689" name="Freeform 596"/>
            <p:cNvSpPr>
              <a:spLocks/>
            </p:cNvSpPr>
            <p:nvPr/>
          </p:nvSpPr>
          <p:spPr bwMode="auto">
            <a:xfrm>
              <a:off x="11010857" y="5899747"/>
              <a:ext cx="4762" cy="4763"/>
            </a:xfrm>
            <a:custGeom>
              <a:avLst/>
              <a:gdLst>
                <a:gd name="T0" fmla="*/ 15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29" y="10"/>
                  </a:lnTo>
                  <a:lnTo>
                    <a:pt x="30" y="14"/>
                  </a:lnTo>
                  <a:lnTo>
                    <a:pt x="29" y="20"/>
                  </a:lnTo>
                  <a:lnTo>
                    <a:pt x="27" y="23"/>
                  </a:lnTo>
                  <a:lnTo>
                    <a:pt x="24" y="26"/>
                  </a:lnTo>
                  <a:lnTo>
                    <a:pt x="20"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690" name="Freeform 597"/>
            <p:cNvSpPr>
              <a:spLocks/>
            </p:cNvSpPr>
            <p:nvPr/>
          </p:nvSpPr>
          <p:spPr bwMode="auto">
            <a:xfrm>
              <a:off x="11023556"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691" name="Freeform 598"/>
            <p:cNvSpPr>
              <a:spLocks/>
            </p:cNvSpPr>
            <p:nvPr/>
          </p:nvSpPr>
          <p:spPr bwMode="auto">
            <a:xfrm>
              <a:off x="11037842"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692" name="Freeform 599"/>
            <p:cNvSpPr>
              <a:spLocks/>
            </p:cNvSpPr>
            <p:nvPr/>
          </p:nvSpPr>
          <p:spPr bwMode="auto">
            <a:xfrm>
              <a:off x="11052128"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693" name="Freeform 600"/>
            <p:cNvSpPr>
              <a:spLocks/>
            </p:cNvSpPr>
            <p:nvPr/>
          </p:nvSpPr>
          <p:spPr bwMode="auto">
            <a:xfrm>
              <a:off x="11066414" y="5899747"/>
              <a:ext cx="4762" cy="4763"/>
            </a:xfrm>
            <a:custGeom>
              <a:avLst/>
              <a:gdLst>
                <a:gd name="T0" fmla="*/ 15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5"/>
                  </a:lnTo>
                  <a:lnTo>
                    <a:pt x="29" y="10"/>
                  </a:lnTo>
                  <a:lnTo>
                    <a:pt x="30"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694" name="Freeform 601"/>
            <p:cNvSpPr>
              <a:spLocks/>
            </p:cNvSpPr>
            <p:nvPr/>
          </p:nvSpPr>
          <p:spPr bwMode="auto">
            <a:xfrm>
              <a:off x="11079113"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695" name="Freeform 602"/>
            <p:cNvSpPr>
              <a:spLocks/>
            </p:cNvSpPr>
            <p:nvPr/>
          </p:nvSpPr>
          <p:spPr bwMode="auto">
            <a:xfrm>
              <a:off x="11093399"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696" name="Freeform 603"/>
            <p:cNvSpPr>
              <a:spLocks/>
            </p:cNvSpPr>
            <p:nvPr/>
          </p:nvSpPr>
          <p:spPr bwMode="auto">
            <a:xfrm>
              <a:off x="11107685"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1" y="29"/>
                  </a:lnTo>
                  <a:lnTo>
                    <a:pt x="7" y="26"/>
                  </a:lnTo>
                  <a:lnTo>
                    <a:pt x="4" y="23"/>
                  </a:lnTo>
                  <a:lnTo>
                    <a:pt x="1" y="20"/>
                  </a:lnTo>
                  <a:lnTo>
                    <a:pt x="0" y="14"/>
                  </a:lnTo>
                  <a:lnTo>
                    <a:pt x="1" y="10"/>
                  </a:lnTo>
                  <a:lnTo>
                    <a:pt x="4" y="5"/>
                  </a:lnTo>
                  <a:lnTo>
                    <a:pt x="7" y="3"/>
                  </a:lnTo>
                  <a:lnTo>
                    <a:pt x="11" y="1"/>
                  </a:lnTo>
                  <a:lnTo>
                    <a:pt x="16" y="0"/>
                  </a:lnTo>
                  <a:close/>
                </a:path>
              </a:pathLst>
            </a:custGeom>
            <a:solidFill>
              <a:schemeClr val="accent5"/>
            </a:solidFill>
            <a:ln>
              <a:noFill/>
            </a:ln>
          </p:spPr>
          <p:txBody>
            <a:bodyPr/>
            <a:lstStyle/>
            <a:p>
              <a:endParaRPr lang="de-DE" dirty="0"/>
            </a:p>
          </p:txBody>
        </p:sp>
        <p:sp>
          <p:nvSpPr>
            <p:cNvPr id="697" name="Freeform 604"/>
            <p:cNvSpPr>
              <a:spLocks/>
            </p:cNvSpPr>
            <p:nvPr/>
          </p:nvSpPr>
          <p:spPr bwMode="auto">
            <a:xfrm>
              <a:off x="111219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698" name="Freeform 605"/>
            <p:cNvSpPr>
              <a:spLocks/>
            </p:cNvSpPr>
            <p:nvPr/>
          </p:nvSpPr>
          <p:spPr bwMode="auto">
            <a:xfrm>
              <a:off x="11136257"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699" name="Freeform 606"/>
            <p:cNvSpPr>
              <a:spLocks/>
            </p:cNvSpPr>
            <p:nvPr/>
          </p:nvSpPr>
          <p:spPr bwMode="auto">
            <a:xfrm>
              <a:off x="11148956"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700" name="Freeform 607"/>
            <p:cNvSpPr>
              <a:spLocks/>
            </p:cNvSpPr>
            <p:nvPr/>
          </p:nvSpPr>
          <p:spPr bwMode="auto">
            <a:xfrm>
              <a:off x="11163242"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701" name="Freeform 608"/>
            <p:cNvSpPr>
              <a:spLocks/>
            </p:cNvSpPr>
            <p:nvPr/>
          </p:nvSpPr>
          <p:spPr bwMode="auto">
            <a:xfrm>
              <a:off x="11177528"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702" name="Freeform 609"/>
            <p:cNvSpPr>
              <a:spLocks/>
            </p:cNvSpPr>
            <p:nvPr/>
          </p:nvSpPr>
          <p:spPr bwMode="auto">
            <a:xfrm>
              <a:off x="11190227"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703" name="Freeform 610"/>
            <p:cNvSpPr>
              <a:spLocks/>
            </p:cNvSpPr>
            <p:nvPr/>
          </p:nvSpPr>
          <p:spPr bwMode="auto">
            <a:xfrm>
              <a:off x="112045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704" name="Freeform 611"/>
            <p:cNvSpPr>
              <a:spLocks/>
            </p:cNvSpPr>
            <p:nvPr/>
          </p:nvSpPr>
          <p:spPr bwMode="auto">
            <a:xfrm>
              <a:off x="11218799"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705" name="Freeform 612"/>
            <p:cNvSpPr>
              <a:spLocks/>
            </p:cNvSpPr>
            <p:nvPr/>
          </p:nvSpPr>
          <p:spPr bwMode="auto">
            <a:xfrm>
              <a:off x="11233085"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706" name="Freeform 613"/>
            <p:cNvSpPr>
              <a:spLocks/>
            </p:cNvSpPr>
            <p:nvPr/>
          </p:nvSpPr>
          <p:spPr bwMode="auto">
            <a:xfrm>
              <a:off x="112473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707" name="Freeform 614"/>
            <p:cNvSpPr>
              <a:spLocks/>
            </p:cNvSpPr>
            <p:nvPr/>
          </p:nvSpPr>
          <p:spPr bwMode="auto">
            <a:xfrm>
              <a:off x="11260070" y="5899747"/>
              <a:ext cx="4762" cy="4763"/>
            </a:xfrm>
            <a:custGeom>
              <a:avLst/>
              <a:gdLst>
                <a:gd name="T0" fmla="*/ 15 w 29"/>
                <a:gd name="T1" fmla="*/ 0 h 30"/>
                <a:gd name="T2" fmla="*/ 19 w 29"/>
                <a:gd name="T3" fmla="*/ 1 h 30"/>
                <a:gd name="T4" fmla="*/ 23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5"/>
                  </a:lnTo>
                  <a:lnTo>
                    <a:pt x="29" y="10"/>
                  </a:lnTo>
                  <a:lnTo>
                    <a:pt x="29"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708" name="Freeform 615"/>
            <p:cNvSpPr>
              <a:spLocks/>
            </p:cNvSpPr>
            <p:nvPr/>
          </p:nvSpPr>
          <p:spPr bwMode="auto">
            <a:xfrm>
              <a:off x="11274356"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709" name="Freeform 616"/>
            <p:cNvSpPr>
              <a:spLocks/>
            </p:cNvSpPr>
            <p:nvPr/>
          </p:nvSpPr>
          <p:spPr bwMode="auto">
            <a:xfrm>
              <a:off x="11288642"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710" name="Freeform 617"/>
            <p:cNvSpPr>
              <a:spLocks/>
            </p:cNvSpPr>
            <p:nvPr/>
          </p:nvSpPr>
          <p:spPr bwMode="auto">
            <a:xfrm>
              <a:off x="113029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711" name="Freeform 618"/>
            <p:cNvSpPr>
              <a:spLocks/>
            </p:cNvSpPr>
            <p:nvPr/>
          </p:nvSpPr>
          <p:spPr bwMode="auto">
            <a:xfrm>
              <a:off x="113156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712" name="Freeform 619"/>
            <p:cNvSpPr>
              <a:spLocks/>
            </p:cNvSpPr>
            <p:nvPr/>
          </p:nvSpPr>
          <p:spPr bwMode="auto">
            <a:xfrm>
              <a:off x="113299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713" name="Freeform 620"/>
            <p:cNvSpPr>
              <a:spLocks/>
            </p:cNvSpPr>
            <p:nvPr/>
          </p:nvSpPr>
          <p:spPr bwMode="auto">
            <a:xfrm>
              <a:off x="11344199"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714" name="Freeform 621"/>
            <p:cNvSpPr>
              <a:spLocks/>
            </p:cNvSpPr>
            <p:nvPr/>
          </p:nvSpPr>
          <p:spPr bwMode="auto">
            <a:xfrm>
              <a:off x="11358485" y="5899747"/>
              <a:ext cx="4762" cy="4763"/>
            </a:xfrm>
            <a:custGeom>
              <a:avLst/>
              <a:gdLst>
                <a:gd name="T0" fmla="*/ 16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5"/>
                  </a:lnTo>
                  <a:lnTo>
                    <a:pt x="29" y="10"/>
                  </a:lnTo>
                  <a:lnTo>
                    <a:pt x="30" y="14"/>
                  </a:lnTo>
                  <a:lnTo>
                    <a:pt x="29" y="20"/>
                  </a:lnTo>
                  <a:lnTo>
                    <a:pt x="27" y="23"/>
                  </a:lnTo>
                  <a:lnTo>
                    <a:pt x="23"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715" name="Freeform 622"/>
            <p:cNvSpPr>
              <a:spLocks/>
            </p:cNvSpPr>
            <p:nvPr/>
          </p:nvSpPr>
          <p:spPr bwMode="auto">
            <a:xfrm>
              <a:off x="11371184" y="5899747"/>
              <a:ext cx="4762" cy="4763"/>
            </a:xfrm>
            <a:custGeom>
              <a:avLst/>
              <a:gdLst>
                <a:gd name="T0" fmla="*/ 15 w 29"/>
                <a:gd name="T1" fmla="*/ 0 h 30"/>
                <a:gd name="T2" fmla="*/ 19 w 29"/>
                <a:gd name="T3" fmla="*/ 1 h 30"/>
                <a:gd name="T4" fmla="*/ 24 w 29"/>
                <a:gd name="T5" fmla="*/ 3 h 30"/>
                <a:gd name="T6" fmla="*/ 27 w 29"/>
                <a:gd name="T7" fmla="*/ 5 h 30"/>
                <a:gd name="T8" fmla="*/ 28 w 29"/>
                <a:gd name="T9" fmla="*/ 10 h 30"/>
                <a:gd name="T10" fmla="*/ 29 w 29"/>
                <a:gd name="T11" fmla="*/ 14 h 30"/>
                <a:gd name="T12" fmla="*/ 28 w 29"/>
                <a:gd name="T13" fmla="*/ 20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8" y="10"/>
                  </a:lnTo>
                  <a:lnTo>
                    <a:pt x="29" y="14"/>
                  </a:lnTo>
                  <a:lnTo>
                    <a:pt x="28" y="20"/>
                  </a:lnTo>
                  <a:lnTo>
                    <a:pt x="27" y="23"/>
                  </a:lnTo>
                  <a:lnTo>
                    <a:pt x="24" y="26"/>
                  </a:lnTo>
                  <a:lnTo>
                    <a:pt x="19" y="29"/>
                  </a:lnTo>
                  <a:lnTo>
                    <a:pt x="15" y="30"/>
                  </a:lnTo>
                  <a:lnTo>
                    <a:pt x="9" y="29"/>
                  </a:lnTo>
                  <a:lnTo>
                    <a:pt x="6" y="26"/>
                  </a:lnTo>
                  <a:lnTo>
                    <a:pt x="3" y="23"/>
                  </a:lnTo>
                  <a:lnTo>
                    <a:pt x="1" y="20"/>
                  </a:lnTo>
                  <a:lnTo>
                    <a:pt x="0" y="14"/>
                  </a:lnTo>
                  <a:lnTo>
                    <a:pt x="1" y="10"/>
                  </a:lnTo>
                  <a:lnTo>
                    <a:pt x="3" y="5"/>
                  </a:lnTo>
                  <a:lnTo>
                    <a:pt x="6" y="3"/>
                  </a:lnTo>
                  <a:lnTo>
                    <a:pt x="9" y="1"/>
                  </a:lnTo>
                  <a:lnTo>
                    <a:pt x="15" y="0"/>
                  </a:lnTo>
                  <a:close/>
                </a:path>
              </a:pathLst>
            </a:custGeom>
            <a:solidFill>
              <a:schemeClr val="accent5"/>
            </a:solidFill>
            <a:ln>
              <a:noFill/>
            </a:ln>
          </p:spPr>
          <p:txBody>
            <a:bodyPr/>
            <a:lstStyle/>
            <a:p>
              <a:endParaRPr lang="de-DE" dirty="0"/>
            </a:p>
          </p:txBody>
        </p:sp>
        <p:sp>
          <p:nvSpPr>
            <p:cNvPr id="716" name="Freeform 623"/>
            <p:cNvSpPr>
              <a:spLocks/>
            </p:cNvSpPr>
            <p:nvPr/>
          </p:nvSpPr>
          <p:spPr bwMode="auto">
            <a:xfrm>
              <a:off x="11385470"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717" name="Freeform 624"/>
            <p:cNvSpPr>
              <a:spLocks/>
            </p:cNvSpPr>
            <p:nvPr/>
          </p:nvSpPr>
          <p:spPr bwMode="auto">
            <a:xfrm>
              <a:off x="11399756"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718" name="Freeform 625"/>
            <p:cNvSpPr>
              <a:spLocks/>
            </p:cNvSpPr>
            <p:nvPr/>
          </p:nvSpPr>
          <p:spPr bwMode="auto">
            <a:xfrm>
              <a:off x="11414042"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719" name="Freeform 626"/>
            <p:cNvSpPr>
              <a:spLocks/>
            </p:cNvSpPr>
            <p:nvPr/>
          </p:nvSpPr>
          <p:spPr bwMode="auto">
            <a:xfrm>
              <a:off x="114283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720" name="Freeform 627"/>
            <p:cNvSpPr>
              <a:spLocks/>
            </p:cNvSpPr>
            <p:nvPr/>
          </p:nvSpPr>
          <p:spPr bwMode="auto">
            <a:xfrm>
              <a:off x="114410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721" name="Freeform 628"/>
            <p:cNvSpPr>
              <a:spLocks/>
            </p:cNvSpPr>
            <p:nvPr/>
          </p:nvSpPr>
          <p:spPr bwMode="auto">
            <a:xfrm>
              <a:off x="10967999"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722" name="Freeform 629"/>
            <p:cNvSpPr>
              <a:spLocks/>
            </p:cNvSpPr>
            <p:nvPr/>
          </p:nvSpPr>
          <p:spPr bwMode="auto">
            <a:xfrm>
              <a:off x="10982285"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23" name="Freeform 630"/>
            <p:cNvSpPr>
              <a:spLocks/>
            </p:cNvSpPr>
            <p:nvPr/>
          </p:nvSpPr>
          <p:spPr bwMode="auto">
            <a:xfrm>
              <a:off x="10996571" y="5950553"/>
              <a:ext cx="4762" cy="4763"/>
            </a:xfrm>
            <a:custGeom>
              <a:avLst/>
              <a:gdLst>
                <a:gd name="T0" fmla="*/ 14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5"/>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5"/>
                  </a:lnTo>
                  <a:lnTo>
                    <a:pt x="6" y="2"/>
                  </a:lnTo>
                  <a:lnTo>
                    <a:pt x="10" y="0"/>
                  </a:lnTo>
                  <a:lnTo>
                    <a:pt x="14" y="0"/>
                  </a:lnTo>
                  <a:close/>
                </a:path>
              </a:pathLst>
            </a:custGeom>
            <a:solidFill>
              <a:schemeClr val="accent5"/>
            </a:solidFill>
            <a:ln>
              <a:noFill/>
            </a:ln>
          </p:spPr>
          <p:txBody>
            <a:bodyPr/>
            <a:lstStyle/>
            <a:p>
              <a:endParaRPr lang="de-DE" dirty="0"/>
            </a:p>
          </p:txBody>
        </p:sp>
        <p:sp>
          <p:nvSpPr>
            <p:cNvPr id="724" name="Freeform 631"/>
            <p:cNvSpPr>
              <a:spLocks/>
            </p:cNvSpPr>
            <p:nvPr/>
          </p:nvSpPr>
          <p:spPr bwMode="auto">
            <a:xfrm>
              <a:off x="11010857" y="5950553"/>
              <a:ext cx="4762" cy="4763"/>
            </a:xfrm>
            <a:custGeom>
              <a:avLst/>
              <a:gdLst>
                <a:gd name="T0" fmla="*/ 15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725" name="Freeform 632"/>
            <p:cNvSpPr>
              <a:spLocks/>
            </p:cNvSpPr>
            <p:nvPr/>
          </p:nvSpPr>
          <p:spPr bwMode="auto">
            <a:xfrm>
              <a:off x="11023556"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726" name="Freeform 633"/>
            <p:cNvSpPr>
              <a:spLocks/>
            </p:cNvSpPr>
            <p:nvPr/>
          </p:nvSpPr>
          <p:spPr bwMode="auto">
            <a:xfrm>
              <a:off x="11037842"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727" name="Freeform 634"/>
            <p:cNvSpPr>
              <a:spLocks/>
            </p:cNvSpPr>
            <p:nvPr/>
          </p:nvSpPr>
          <p:spPr bwMode="auto">
            <a:xfrm>
              <a:off x="11052128"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28" name="Freeform 635"/>
            <p:cNvSpPr>
              <a:spLocks/>
            </p:cNvSpPr>
            <p:nvPr/>
          </p:nvSpPr>
          <p:spPr bwMode="auto">
            <a:xfrm>
              <a:off x="11066414" y="5950553"/>
              <a:ext cx="4762" cy="4763"/>
            </a:xfrm>
            <a:custGeom>
              <a:avLst/>
              <a:gdLst>
                <a:gd name="T0" fmla="*/ 15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5"/>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729" name="Freeform 636"/>
            <p:cNvSpPr>
              <a:spLocks/>
            </p:cNvSpPr>
            <p:nvPr/>
          </p:nvSpPr>
          <p:spPr bwMode="auto">
            <a:xfrm>
              <a:off x="11079113"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730" name="Freeform 637"/>
            <p:cNvSpPr>
              <a:spLocks/>
            </p:cNvSpPr>
            <p:nvPr/>
          </p:nvSpPr>
          <p:spPr bwMode="auto">
            <a:xfrm>
              <a:off x="11093399"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731" name="Freeform 638"/>
            <p:cNvSpPr>
              <a:spLocks/>
            </p:cNvSpPr>
            <p:nvPr/>
          </p:nvSpPr>
          <p:spPr bwMode="auto">
            <a:xfrm>
              <a:off x="11107685"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5"/>
                  </a:lnTo>
                  <a:lnTo>
                    <a:pt x="7" y="2"/>
                  </a:lnTo>
                  <a:lnTo>
                    <a:pt x="11" y="0"/>
                  </a:lnTo>
                  <a:lnTo>
                    <a:pt x="16" y="0"/>
                  </a:lnTo>
                  <a:close/>
                </a:path>
              </a:pathLst>
            </a:custGeom>
            <a:solidFill>
              <a:schemeClr val="accent5"/>
            </a:solidFill>
            <a:ln>
              <a:noFill/>
            </a:ln>
          </p:spPr>
          <p:txBody>
            <a:bodyPr/>
            <a:lstStyle/>
            <a:p>
              <a:endParaRPr lang="de-DE" dirty="0"/>
            </a:p>
          </p:txBody>
        </p:sp>
        <p:sp>
          <p:nvSpPr>
            <p:cNvPr id="732" name="Freeform 639"/>
            <p:cNvSpPr>
              <a:spLocks/>
            </p:cNvSpPr>
            <p:nvPr/>
          </p:nvSpPr>
          <p:spPr bwMode="auto">
            <a:xfrm>
              <a:off x="111219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33" name="Freeform 640"/>
            <p:cNvSpPr>
              <a:spLocks/>
            </p:cNvSpPr>
            <p:nvPr/>
          </p:nvSpPr>
          <p:spPr bwMode="auto">
            <a:xfrm>
              <a:off x="11136257"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734" name="Freeform 641"/>
            <p:cNvSpPr>
              <a:spLocks/>
            </p:cNvSpPr>
            <p:nvPr/>
          </p:nvSpPr>
          <p:spPr bwMode="auto">
            <a:xfrm>
              <a:off x="11148956"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735" name="Freeform 642"/>
            <p:cNvSpPr>
              <a:spLocks/>
            </p:cNvSpPr>
            <p:nvPr/>
          </p:nvSpPr>
          <p:spPr bwMode="auto">
            <a:xfrm>
              <a:off x="11163242"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736" name="Freeform 643"/>
            <p:cNvSpPr>
              <a:spLocks/>
            </p:cNvSpPr>
            <p:nvPr/>
          </p:nvSpPr>
          <p:spPr bwMode="auto">
            <a:xfrm>
              <a:off x="11177528"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37" name="Freeform 644"/>
            <p:cNvSpPr>
              <a:spLocks/>
            </p:cNvSpPr>
            <p:nvPr/>
          </p:nvSpPr>
          <p:spPr bwMode="auto">
            <a:xfrm>
              <a:off x="11190227"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738" name="Freeform 645"/>
            <p:cNvSpPr>
              <a:spLocks/>
            </p:cNvSpPr>
            <p:nvPr/>
          </p:nvSpPr>
          <p:spPr bwMode="auto">
            <a:xfrm>
              <a:off x="112045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739" name="Freeform 646"/>
            <p:cNvSpPr>
              <a:spLocks/>
            </p:cNvSpPr>
            <p:nvPr/>
          </p:nvSpPr>
          <p:spPr bwMode="auto">
            <a:xfrm>
              <a:off x="11218799"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740" name="Freeform 647"/>
            <p:cNvSpPr>
              <a:spLocks/>
            </p:cNvSpPr>
            <p:nvPr/>
          </p:nvSpPr>
          <p:spPr bwMode="auto">
            <a:xfrm>
              <a:off x="11233085"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741" name="Freeform 648"/>
            <p:cNvSpPr>
              <a:spLocks/>
            </p:cNvSpPr>
            <p:nvPr/>
          </p:nvSpPr>
          <p:spPr bwMode="auto">
            <a:xfrm>
              <a:off x="112473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42" name="Freeform 649"/>
            <p:cNvSpPr>
              <a:spLocks/>
            </p:cNvSpPr>
            <p:nvPr/>
          </p:nvSpPr>
          <p:spPr bwMode="auto">
            <a:xfrm>
              <a:off x="11260070" y="5950553"/>
              <a:ext cx="4762" cy="4763"/>
            </a:xfrm>
            <a:custGeom>
              <a:avLst/>
              <a:gdLst>
                <a:gd name="T0" fmla="*/ 15 w 29"/>
                <a:gd name="T1" fmla="*/ 0 h 30"/>
                <a:gd name="T2" fmla="*/ 19 w 29"/>
                <a:gd name="T3" fmla="*/ 0 h 30"/>
                <a:gd name="T4" fmla="*/ 23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5"/>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743" name="Freeform 650"/>
            <p:cNvSpPr>
              <a:spLocks/>
            </p:cNvSpPr>
            <p:nvPr/>
          </p:nvSpPr>
          <p:spPr bwMode="auto">
            <a:xfrm>
              <a:off x="11274356"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744" name="Freeform 651"/>
            <p:cNvSpPr>
              <a:spLocks/>
            </p:cNvSpPr>
            <p:nvPr/>
          </p:nvSpPr>
          <p:spPr bwMode="auto">
            <a:xfrm>
              <a:off x="11288642"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745" name="Freeform 652"/>
            <p:cNvSpPr>
              <a:spLocks/>
            </p:cNvSpPr>
            <p:nvPr/>
          </p:nvSpPr>
          <p:spPr bwMode="auto">
            <a:xfrm>
              <a:off x="113029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746" name="Freeform 653"/>
            <p:cNvSpPr>
              <a:spLocks/>
            </p:cNvSpPr>
            <p:nvPr/>
          </p:nvSpPr>
          <p:spPr bwMode="auto">
            <a:xfrm>
              <a:off x="113156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47" name="Freeform 654"/>
            <p:cNvSpPr>
              <a:spLocks/>
            </p:cNvSpPr>
            <p:nvPr/>
          </p:nvSpPr>
          <p:spPr bwMode="auto">
            <a:xfrm>
              <a:off x="113299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748" name="Freeform 655"/>
            <p:cNvSpPr>
              <a:spLocks/>
            </p:cNvSpPr>
            <p:nvPr/>
          </p:nvSpPr>
          <p:spPr bwMode="auto">
            <a:xfrm>
              <a:off x="11344199"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749" name="Freeform 656"/>
            <p:cNvSpPr>
              <a:spLocks/>
            </p:cNvSpPr>
            <p:nvPr/>
          </p:nvSpPr>
          <p:spPr bwMode="auto">
            <a:xfrm>
              <a:off x="11358485" y="5950553"/>
              <a:ext cx="4762" cy="4763"/>
            </a:xfrm>
            <a:custGeom>
              <a:avLst/>
              <a:gdLst>
                <a:gd name="T0" fmla="*/ 16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5"/>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750" name="Freeform 657"/>
            <p:cNvSpPr>
              <a:spLocks/>
            </p:cNvSpPr>
            <p:nvPr/>
          </p:nvSpPr>
          <p:spPr bwMode="auto">
            <a:xfrm>
              <a:off x="11371184" y="5950553"/>
              <a:ext cx="4762" cy="4763"/>
            </a:xfrm>
            <a:custGeom>
              <a:avLst/>
              <a:gdLst>
                <a:gd name="T0" fmla="*/ 15 w 29"/>
                <a:gd name="T1" fmla="*/ 0 h 30"/>
                <a:gd name="T2" fmla="*/ 19 w 29"/>
                <a:gd name="T3" fmla="*/ 0 h 30"/>
                <a:gd name="T4" fmla="*/ 24 w 29"/>
                <a:gd name="T5" fmla="*/ 2 h 30"/>
                <a:gd name="T6" fmla="*/ 27 w 29"/>
                <a:gd name="T7" fmla="*/ 5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5"/>
                  </a:lnTo>
                  <a:lnTo>
                    <a:pt x="6" y="2"/>
                  </a:lnTo>
                  <a:lnTo>
                    <a:pt x="9" y="0"/>
                  </a:lnTo>
                  <a:lnTo>
                    <a:pt x="15" y="0"/>
                  </a:lnTo>
                  <a:close/>
                </a:path>
              </a:pathLst>
            </a:custGeom>
            <a:solidFill>
              <a:schemeClr val="accent5"/>
            </a:solidFill>
            <a:ln>
              <a:noFill/>
            </a:ln>
          </p:spPr>
          <p:txBody>
            <a:bodyPr/>
            <a:lstStyle/>
            <a:p>
              <a:endParaRPr lang="de-DE" dirty="0"/>
            </a:p>
          </p:txBody>
        </p:sp>
        <p:sp>
          <p:nvSpPr>
            <p:cNvPr id="751" name="Freeform 658"/>
            <p:cNvSpPr>
              <a:spLocks/>
            </p:cNvSpPr>
            <p:nvPr/>
          </p:nvSpPr>
          <p:spPr bwMode="auto">
            <a:xfrm>
              <a:off x="11385470"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752" name="Freeform 659"/>
            <p:cNvSpPr>
              <a:spLocks/>
            </p:cNvSpPr>
            <p:nvPr/>
          </p:nvSpPr>
          <p:spPr bwMode="auto">
            <a:xfrm>
              <a:off x="11399756"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753" name="Freeform 660"/>
            <p:cNvSpPr>
              <a:spLocks/>
            </p:cNvSpPr>
            <p:nvPr/>
          </p:nvSpPr>
          <p:spPr bwMode="auto">
            <a:xfrm>
              <a:off x="11414042"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754" name="Freeform 661"/>
            <p:cNvSpPr>
              <a:spLocks/>
            </p:cNvSpPr>
            <p:nvPr/>
          </p:nvSpPr>
          <p:spPr bwMode="auto">
            <a:xfrm>
              <a:off x="114283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755" name="Freeform 662"/>
            <p:cNvSpPr>
              <a:spLocks/>
            </p:cNvSpPr>
            <p:nvPr/>
          </p:nvSpPr>
          <p:spPr bwMode="auto">
            <a:xfrm>
              <a:off x="114410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756" name="Freeform 663"/>
            <p:cNvSpPr>
              <a:spLocks/>
            </p:cNvSpPr>
            <p:nvPr/>
          </p:nvSpPr>
          <p:spPr bwMode="auto">
            <a:xfrm>
              <a:off x="10967999"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757" name="Freeform 664"/>
            <p:cNvSpPr>
              <a:spLocks/>
            </p:cNvSpPr>
            <p:nvPr/>
          </p:nvSpPr>
          <p:spPr bwMode="auto">
            <a:xfrm>
              <a:off x="10982285"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758" name="Freeform 665"/>
            <p:cNvSpPr>
              <a:spLocks/>
            </p:cNvSpPr>
            <p:nvPr/>
          </p:nvSpPr>
          <p:spPr bwMode="auto">
            <a:xfrm>
              <a:off x="10996571" y="6004534"/>
              <a:ext cx="4762" cy="4763"/>
            </a:xfrm>
            <a:custGeom>
              <a:avLst/>
              <a:gdLst>
                <a:gd name="T0" fmla="*/ 14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4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1"/>
                  </a:lnTo>
                  <a:lnTo>
                    <a:pt x="30" y="15"/>
                  </a:lnTo>
                  <a:lnTo>
                    <a:pt x="29" y="20"/>
                  </a:lnTo>
                  <a:lnTo>
                    <a:pt x="27" y="24"/>
                  </a:lnTo>
                  <a:lnTo>
                    <a:pt x="23" y="27"/>
                  </a:lnTo>
                  <a:lnTo>
                    <a:pt x="19" y="30"/>
                  </a:lnTo>
                  <a:lnTo>
                    <a:pt x="14" y="30"/>
                  </a:lnTo>
                  <a:lnTo>
                    <a:pt x="10" y="30"/>
                  </a:lnTo>
                  <a:lnTo>
                    <a:pt x="6" y="27"/>
                  </a:lnTo>
                  <a:lnTo>
                    <a:pt x="2" y="24"/>
                  </a:lnTo>
                  <a:lnTo>
                    <a:pt x="0" y="20"/>
                  </a:lnTo>
                  <a:lnTo>
                    <a:pt x="0" y="15"/>
                  </a:lnTo>
                  <a:lnTo>
                    <a:pt x="0" y="11"/>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759" name="Freeform 666"/>
            <p:cNvSpPr>
              <a:spLocks/>
            </p:cNvSpPr>
            <p:nvPr/>
          </p:nvSpPr>
          <p:spPr bwMode="auto">
            <a:xfrm>
              <a:off x="11010857" y="6004534"/>
              <a:ext cx="4762" cy="4763"/>
            </a:xfrm>
            <a:custGeom>
              <a:avLst/>
              <a:gdLst>
                <a:gd name="T0" fmla="*/ 15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1"/>
                  </a:lnTo>
                  <a:lnTo>
                    <a:pt x="30" y="15"/>
                  </a:lnTo>
                  <a:lnTo>
                    <a:pt x="29" y="20"/>
                  </a:lnTo>
                  <a:lnTo>
                    <a:pt x="27" y="24"/>
                  </a:lnTo>
                  <a:lnTo>
                    <a:pt x="24" y="27"/>
                  </a:lnTo>
                  <a:lnTo>
                    <a:pt x="20"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760" name="Freeform 667"/>
            <p:cNvSpPr>
              <a:spLocks/>
            </p:cNvSpPr>
            <p:nvPr/>
          </p:nvSpPr>
          <p:spPr bwMode="auto">
            <a:xfrm>
              <a:off x="11023556"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761" name="Freeform 668"/>
            <p:cNvSpPr>
              <a:spLocks/>
            </p:cNvSpPr>
            <p:nvPr/>
          </p:nvSpPr>
          <p:spPr bwMode="auto">
            <a:xfrm>
              <a:off x="11037842"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762" name="Freeform 669"/>
            <p:cNvSpPr>
              <a:spLocks/>
            </p:cNvSpPr>
            <p:nvPr/>
          </p:nvSpPr>
          <p:spPr bwMode="auto">
            <a:xfrm>
              <a:off x="11052128"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763" name="Freeform 670"/>
            <p:cNvSpPr>
              <a:spLocks/>
            </p:cNvSpPr>
            <p:nvPr/>
          </p:nvSpPr>
          <p:spPr bwMode="auto">
            <a:xfrm>
              <a:off x="11066414" y="6004534"/>
              <a:ext cx="4762" cy="4763"/>
            </a:xfrm>
            <a:custGeom>
              <a:avLst/>
              <a:gdLst>
                <a:gd name="T0" fmla="*/ 15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1"/>
                  </a:lnTo>
                  <a:lnTo>
                    <a:pt x="30"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764" name="Freeform 671"/>
            <p:cNvSpPr>
              <a:spLocks/>
            </p:cNvSpPr>
            <p:nvPr/>
          </p:nvSpPr>
          <p:spPr bwMode="auto">
            <a:xfrm>
              <a:off x="11079113"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765" name="Freeform 672"/>
            <p:cNvSpPr>
              <a:spLocks/>
            </p:cNvSpPr>
            <p:nvPr/>
          </p:nvSpPr>
          <p:spPr bwMode="auto">
            <a:xfrm>
              <a:off x="11093399"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766" name="Freeform 673"/>
            <p:cNvSpPr>
              <a:spLocks/>
            </p:cNvSpPr>
            <p:nvPr/>
          </p:nvSpPr>
          <p:spPr bwMode="auto">
            <a:xfrm>
              <a:off x="11107685"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1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1" y="30"/>
                  </a:lnTo>
                  <a:lnTo>
                    <a:pt x="7" y="27"/>
                  </a:lnTo>
                  <a:lnTo>
                    <a:pt x="4" y="24"/>
                  </a:lnTo>
                  <a:lnTo>
                    <a:pt x="1" y="20"/>
                  </a:lnTo>
                  <a:lnTo>
                    <a:pt x="0" y="15"/>
                  </a:lnTo>
                  <a:lnTo>
                    <a:pt x="1" y="11"/>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767" name="Freeform 674"/>
            <p:cNvSpPr>
              <a:spLocks/>
            </p:cNvSpPr>
            <p:nvPr/>
          </p:nvSpPr>
          <p:spPr bwMode="auto">
            <a:xfrm>
              <a:off x="111219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768" name="Freeform 675"/>
            <p:cNvSpPr>
              <a:spLocks/>
            </p:cNvSpPr>
            <p:nvPr/>
          </p:nvSpPr>
          <p:spPr bwMode="auto">
            <a:xfrm>
              <a:off x="11136257"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769" name="Freeform 676"/>
            <p:cNvSpPr>
              <a:spLocks/>
            </p:cNvSpPr>
            <p:nvPr/>
          </p:nvSpPr>
          <p:spPr bwMode="auto">
            <a:xfrm>
              <a:off x="11148956"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770" name="Freeform 677"/>
            <p:cNvSpPr>
              <a:spLocks/>
            </p:cNvSpPr>
            <p:nvPr/>
          </p:nvSpPr>
          <p:spPr bwMode="auto">
            <a:xfrm>
              <a:off x="11163242"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771" name="Freeform 678"/>
            <p:cNvSpPr>
              <a:spLocks/>
            </p:cNvSpPr>
            <p:nvPr/>
          </p:nvSpPr>
          <p:spPr bwMode="auto">
            <a:xfrm>
              <a:off x="11177528"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772" name="Freeform 679"/>
            <p:cNvSpPr>
              <a:spLocks/>
            </p:cNvSpPr>
            <p:nvPr/>
          </p:nvSpPr>
          <p:spPr bwMode="auto">
            <a:xfrm>
              <a:off x="11190227"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773" name="Freeform 680"/>
            <p:cNvSpPr>
              <a:spLocks/>
            </p:cNvSpPr>
            <p:nvPr/>
          </p:nvSpPr>
          <p:spPr bwMode="auto">
            <a:xfrm>
              <a:off x="112045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774" name="Freeform 681"/>
            <p:cNvSpPr>
              <a:spLocks/>
            </p:cNvSpPr>
            <p:nvPr/>
          </p:nvSpPr>
          <p:spPr bwMode="auto">
            <a:xfrm>
              <a:off x="11218799"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775" name="Freeform 682"/>
            <p:cNvSpPr>
              <a:spLocks/>
            </p:cNvSpPr>
            <p:nvPr/>
          </p:nvSpPr>
          <p:spPr bwMode="auto">
            <a:xfrm>
              <a:off x="11233085"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776" name="Freeform 683"/>
            <p:cNvSpPr>
              <a:spLocks/>
            </p:cNvSpPr>
            <p:nvPr/>
          </p:nvSpPr>
          <p:spPr bwMode="auto">
            <a:xfrm>
              <a:off x="112473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777" name="Freeform 684"/>
            <p:cNvSpPr>
              <a:spLocks/>
            </p:cNvSpPr>
            <p:nvPr/>
          </p:nvSpPr>
          <p:spPr bwMode="auto">
            <a:xfrm>
              <a:off x="11260070" y="6004534"/>
              <a:ext cx="4762" cy="4763"/>
            </a:xfrm>
            <a:custGeom>
              <a:avLst/>
              <a:gdLst>
                <a:gd name="T0" fmla="*/ 15 w 29"/>
                <a:gd name="T1" fmla="*/ 0 h 30"/>
                <a:gd name="T2" fmla="*/ 19 w 29"/>
                <a:gd name="T3" fmla="*/ 1 h 30"/>
                <a:gd name="T4" fmla="*/ 23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3 w 29"/>
                <a:gd name="T17" fmla="*/ 27 h 30"/>
                <a:gd name="T18" fmla="*/ 19 w 29"/>
                <a:gd name="T19" fmla="*/ 30 h 30"/>
                <a:gd name="T20" fmla="*/ 15 w 29"/>
                <a:gd name="T21" fmla="*/ 30 h 30"/>
                <a:gd name="T22" fmla="*/ 10 w 29"/>
                <a:gd name="T23" fmla="*/ 30 h 30"/>
                <a:gd name="T24" fmla="*/ 6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1"/>
                  </a:lnTo>
                  <a:lnTo>
                    <a:pt x="29"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778" name="Freeform 685"/>
            <p:cNvSpPr>
              <a:spLocks/>
            </p:cNvSpPr>
            <p:nvPr/>
          </p:nvSpPr>
          <p:spPr bwMode="auto">
            <a:xfrm>
              <a:off x="11274356"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779" name="Freeform 686"/>
            <p:cNvSpPr>
              <a:spLocks/>
            </p:cNvSpPr>
            <p:nvPr/>
          </p:nvSpPr>
          <p:spPr bwMode="auto">
            <a:xfrm>
              <a:off x="11288642"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780" name="Freeform 687"/>
            <p:cNvSpPr>
              <a:spLocks/>
            </p:cNvSpPr>
            <p:nvPr/>
          </p:nvSpPr>
          <p:spPr bwMode="auto">
            <a:xfrm>
              <a:off x="113029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781" name="Freeform 688"/>
            <p:cNvSpPr>
              <a:spLocks/>
            </p:cNvSpPr>
            <p:nvPr/>
          </p:nvSpPr>
          <p:spPr bwMode="auto">
            <a:xfrm>
              <a:off x="113156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782" name="Freeform 689"/>
            <p:cNvSpPr>
              <a:spLocks/>
            </p:cNvSpPr>
            <p:nvPr/>
          </p:nvSpPr>
          <p:spPr bwMode="auto">
            <a:xfrm>
              <a:off x="113299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783" name="Freeform 690"/>
            <p:cNvSpPr>
              <a:spLocks/>
            </p:cNvSpPr>
            <p:nvPr/>
          </p:nvSpPr>
          <p:spPr bwMode="auto">
            <a:xfrm>
              <a:off x="11344199"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784" name="Freeform 691"/>
            <p:cNvSpPr>
              <a:spLocks/>
            </p:cNvSpPr>
            <p:nvPr/>
          </p:nvSpPr>
          <p:spPr bwMode="auto">
            <a:xfrm>
              <a:off x="11358485" y="6004534"/>
              <a:ext cx="4762" cy="4763"/>
            </a:xfrm>
            <a:custGeom>
              <a:avLst/>
              <a:gdLst>
                <a:gd name="T0" fmla="*/ 16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1"/>
                  </a:lnTo>
                  <a:lnTo>
                    <a:pt x="30" y="15"/>
                  </a:lnTo>
                  <a:lnTo>
                    <a:pt x="29" y="20"/>
                  </a:lnTo>
                  <a:lnTo>
                    <a:pt x="27" y="24"/>
                  </a:lnTo>
                  <a:lnTo>
                    <a:pt x="23"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785" name="Freeform 692"/>
            <p:cNvSpPr>
              <a:spLocks/>
            </p:cNvSpPr>
            <p:nvPr/>
          </p:nvSpPr>
          <p:spPr bwMode="auto">
            <a:xfrm>
              <a:off x="11371184" y="6004534"/>
              <a:ext cx="4762" cy="4763"/>
            </a:xfrm>
            <a:custGeom>
              <a:avLst/>
              <a:gdLst>
                <a:gd name="T0" fmla="*/ 15 w 29"/>
                <a:gd name="T1" fmla="*/ 0 h 30"/>
                <a:gd name="T2" fmla="*/ 19 w 29"/>
                <a:gd name="T3" fmla="*/ 1 h 30"/>
                <a:gd name="T4" fmla="*/ 24 w 29"/>
                <a:gd name="T5" fmla="*/ 3 h 30"/>
                <a:gd name="T6" fmla="*/ 27 w 29"/>
                <a:gd name="T7" fmla="*/ 7 h 30"/>
                <a:gd name="T8" fmla="*/ 28 w 29"/>
                <a:gd name="T9" fmla="*/ 11 h 30"/>
                <a:gd name="T10" fmla="*/ 29 w 29"/>
                <a:gd name="T11" fmla="*/ 15 h 30"/>
                <a:gd name="T12" fmla="*/ 28 w 29"/>
                <a:gd name="T13" fmla="*/ 20 h 30"/>
                <a:gd name="T14" fmla="*/ 27 w 29"/>
                <a:gd name="T15" fmla="*/ 24 h 30"/>
                <a:gd name="T16" fmla="*/ 24 w 29"/>
                <a:gd name="T17" fmla="*/ 27 h 30"/>
                <a:gd name="T18" fmla="*/ 19 w 29"/>
                <a:gd name="T19" fmla="*/ 30 h 30"/>
                <a:gd name="T20" fmla="*/ 15 w 29"/>
                <a:gd name="T21" fmla="*/ 30 h 30"/>
                <a:gd name="T22" fmla="*/ 9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1"/>
                  </a:lnTo>
                  <a:lnTo>
                    <a:pt x="29" y="15"/>
                  </a:lnTo>
                  <a:lnTo>
                    <a:pt x="28" y="20"/>
                  </a:lnTo>
                  <a:lnTo>
                    <a:pt x="27" y="24"/>
                  </a:lnTo>
                  <a:lnTo>
                    <a:pt x="24" y="27"/>
                  </a:lnTo>
                  <a:lnTo>
                    <a:pt x="19" y="30"/>
                  </a:lnTo>
                  <a:lnTo>
                    <a:pt x="15" y="30"/>
                  </a:lnTo>
                  <a:lnTo>
                    <a:pt x="9" y="30"/>
                  </a:lnTo>
                  <a:lnTo>
                    <a:pt x="6" y="27"/>
                  </a:lnTo>
                  <a:lnTo>
                    <a:pt x="3" y="24"/>
                  </a:lnTo>
                  <a:lnTo>
                    <a:pt x="1" y="20"/>
                  </a:lnTo>
                  <a:lnTo>
                    <a:pt x="0" y="15"/>
                  </a:lnTo>
                  <a:lnTo>
                    <a:pt x="1" y="11"/>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786" name="Freeform 693"/>
            <p:cNvSpPr>
              <a:spLocks/>
            </p:cNvSpPr>
            <p:nvPr/>
          </p:nvSpPr>
          <p:spPr bwMode="auto">
            <a:xfrm>
              <a:off x="11385470"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787" name="Freeform 694"/>
            <p:cNvSpPr>
              <a:spLocks/>
            </p:cNvSpPr>
            <p:nvPr/>
          </p:nvSpPr>
          <p:spPr bwMode="auto">
            <a:xfrm>
              <a:off x="11399756"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788" name="Freeform 695"/>
            <p:cNvSpPr>
              <a:spLocks/>
            </p:cNvSpPr>
            <p:nvPr/>
          </p:nvSpPr>
          <p:spPr bwMode="auto">
            <a:xfrm>
              <a:off x="11414042"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789" name="Freeform 696"/>
            <p:cNvSpPr>
              <a:spLocks/>
            </p:cNvSpPr>
            <p:nvPr/>
          </p:nvSpPr>
          <p:spPr bwMode="auto">
            <a:xfrm>
              <a:off x="114283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790" name="Freeform 697"/>
            <p:cNvSpPr>
              <a:spLocks/>
            </p:cNvSpPr>
            <p:nvPr/>
          </p:nvSpPr>
          <p:spPr bwMode="auto">
            <a:xfrm>
              <a:off x="114410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grpSp>
      <p:sp>
        <p:nvSpPr>
          <p:cNvPr id="791" name="Textfeld 790">
            <a:extLst>
              <a:ext uri="{FF2B5EF4-FFF2-40B4-BE49-F238E27FC236}">
                <a16:creationId xmlns:a16="http://schemas.microsoft.com/office/drawing/2014/main" id="{A89AA882-1BAC-40ED-9B66-213BB26D9FD0}"/>
              </a:ext>
            </a:extLst>
          </p:cNvPr>
          <p:cNvSpPr txBox="1"/>
          <p:nvPr/>
        </p:nvSpPr>
        <p:spPr>
          <a:xfrm>
            <a:off x="10920481" y="6125388"/>
            <a:ext cx="57600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Register</a:t>
            </a:r>
          </a:p>
        </p:txBody>
      </p:sp>
      <p:cxnSp>
        <p:nvCxnSpPr>
          <p:cNvPr id="792" name="Gerade Verbindung mit Pfeil 791">
            <a:extLst>
              <a:ext uri="{FF2B5EF4-FFF2-40B4-BE49-F238E27FC236}">
                <a16:creationId xmlns:a16="http://schemas.microsoft.com/office/drawing/2014/main" id="{15A2AC61-1CBB-4B2B-BC63-0843DE316C4F}"/>
              </a:ext>
            </a:extLst>
          </p:cNvPr>
          <p:cNvCxnSpPr>
            <a:cxnSpLocks/>
          </p:cNvCxnSpPr>
          <p:nvPr/>
        </p:nvCxnSpPr>
        <p:spPr>
          <a:xfrm rot="2100000" flipH="1" flipV="1">
            <a:off x="10351566" y="5501378"/>
            <a:ext cx="53097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93" name="Rechteck 792"/>
          <p:cNvSpPr/>
          <p:nvPr/>
        </p:nvSpPr>
        <p:spPr>
          <a:xfrm>
            <a:off x="9116188" y="4644179"/>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94" name="Rechteck 793"/>
          <p:cNvSpPr/>
          <p:nvPr/>
        </p:nvSpPr>
        <p:spPr>
          <a:xfrm>
            <a:off x="6616296" y="5484929"/>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795" name="Rechteck 794"/>
          <p:cNvSpPr/>
          <p:nvPr/>
        </p:nvSpPr>
        <p:spPr>
          <a:xfrm>
            <a:off x="6945039" y="2359435"/>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pic>
        <p:nvPicPr>
          <p:cNvPr id="796" name="Grafik 795"/>
          <p:cNvPicPr>
            <a:picLocks noChangeAspect="1"/>
          </p:cNvPicPr>
          <p:nvPr/>
        </p:nvPicPr>
        <p:blipFill>
          <a:blip r:embed="rId6"/>
          <a:stretch>
            <a:fillRect/>
          </a:stretch>
        </p:blipFill>
        <p:spPr>
          <a:xfrm>
            <a:off x="5357389" y="2314379"/>
            <a:ext cx="806353" cy="137670"/>
          </a:xfrm>
          <a:prstGeom prst="rect">
            <a:avLst/>
          </a:prstGeom>
        </p:spPr>
      </p:pic>
      <p:sp>
        <p:nvSpPr>
          <p:cNvPr id="797" name="Abgerundetes Rechteck 12">
            <a:extLst>
              <a:ext uri="{FF2B5EF4-FFF2-40B4-BE49-F238E27FC236}">
                <a16:creationId xmlns:a16="http://schemas.microsoft.com/office/drawing/2014/main" id="{1B9D5F0D-4D47-461F-87B4-88108D79727F}"/>
              </a:ext>
            </a:extLst>
          </p:cNvPr>
          <p:cNvSpPr/>
          <p:nvPr/>
        </p:nvSpPr>
        <p:spPr>
          <a:xfrm>
            <a:off x="5310565" y="2505081"/>
            <a:ext cx="900000" cy="684000"/>
          </a:xfrm>
          <a:prstGeom prst="roundRect">
            <a:avLst>
              <a:gd name="adj" fmla="val 9983"/>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grpSp>
        <p:nvGrpSpPr>
          <p:cNvPr id="798" name="Gruppieren 797"/>
          <p:cNvGrpSpPr/>
          <p:nvPr/>
        </p:nvGrpSpPr>
        <p:grpSpPr>
          <a:xfrm>
            <a:off x="5403888" y="2645228"/>
            <a:ext cx="254762" cy="157335"/>
            <a:chOff x="7073453" y="2563341"/>
            <a:chExt cx="254762" cy="157335"/>
          </a:xfrm>
        </p:grpSpPr>
        <p:sp>
          <p:nvSpPr>
            <p:cNvPr id="799" name="Freihandform: Form 223">
              <a:extLst>
                <a:ext uri="{FF2B5EF4-FFF2-40B4-BE49-F238E27FC236}">
                  <a16:creationId xmlns:a16="http://schemas.microsoft.com/office/drawing/2014/main" id="{D4806A20-A82F-4A5F-AD8C-BD961479E435}"/>
                </a:ext>
              </a:extLst>
            </p:cNvPr>
            <p:cNvSpPr/>
            <p:nvPr/>
          </p:nvSpPr>
          <p:spPr>
            <a:xfrm>
              <a:off x="7073453" y="2584094"/>
              <a:ext cx="162122" cy="136582"/>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270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sp>
          <p:nvSpPr>
            <p:cNvPr id="800" name="Freihandform: Form 224">
              <a:extLst>
                <a:ext uri="{FF2B5EF4-FFF2-40B4-BE49-F238E27FC236}">
                  <a16:creationId xmlns:a16="http://schemas.microsoft.com/office/drawing/2014/main" id="{B0DE8EF5-AD7F-4C08-A1DE-FD7551BB1E27}"/>
                </a:ext>
              </a:extLst>
            </p:cNvPr>
            <p:cNvSpPr/>
            <p:nvPr/>
          </p:nvSpPr>
          <p:spPr>
            <a:xfrm>
              <a:off x="7208940" y="2563341"/>
              <a:ext cx="119275" cy="157335"/>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2700" cap="sq">
              <a:solidFill>
                <a:schemeClr val="accent5"/>
              </a:solidFill>
              <a:prstDash val="solid"/>
              <a:miter/>
            </a:ln>
          </p:spPr>
          <p:txBody>
            <a:bodyPr lIns="36000" tIns="36000" rIns="36000" bIns="36000" rtlCol="0" anchor="ctr"/>
            <a:lstStyle/>
            <a:p>
              <a:pPr>
                <a:defRPr/>
              </a:pPr>
              <a:endParaRPr lang="de-DE" sz="800" kern="0" dirty="0">
                <a:latin typeface="+mn-lt"/>
              </a:endParaRPr>
            </a:p>
          </p:txBody>
        </p:sp>
      </p:grpSp>
      <p:grpSp>
        <p:nvGrpSpPr>
          <p:cNvPr id="801" name="Gruppieren 510">
            <a:extLst>
              <a:ext uri="{FF2B5EF4-FFF2-40B4-BE49-F238E27FC236}">
                <a16:creationId xmlns:a16="http://schemas.microsoft.com/office/drawing/2014/main" id="{74CD490D-35A7-4536-8EEC-8323CEB1A910}"/>
              </a:ext>
            </a:extLst>
          </p:cNvPr>
          <p:cNvGrpSpPr>
            <a:grpSpLocks noChangeAspect="1"/>
          </p:cNvGrpSpPr>
          <p:nvPr/>
        </p:nvGrpSpPr>
        <p:grpSpPr>
          <a:xfrm>
            <a:off x="5887191" y="2659265"/>
            <a:ext cx="196748" cy="129260"/>
            <a:chOff x="3925395" y="1785648"/>
            <a:chExt cx="552450" cy="457200"/>
          </a:xfrm>
        </p:grpSpPr>
        <p:sp>
          <p:nvSpPr>
            <p:cNvPr id="802" name="Freihandform: Form 166">
              <a:extLst>
                <a:ext uri="{FF2B5EF4-FFF2-40B4-BE49-F238E27FC236}">
                  <a16:creationId xmlns:a16="http://schemas.microsoft.com/office/drawing/2014/main" id="{A7DE4998-3E89-4A94-ACAA-107376A89B44}"/>
                </a:ext>
              </a:extLst>
            </p:cNvPr>
            <p:cNvSpPr/>
            <p:nvPr/>
          </p:nvSpPr>
          <p:spPr>
            <a:xfrm>
              <a:off x="3992070" y="1852323"/>
              <a:ext cx="419100" cy="200025"/>
            </a:xfrm>
            <a:custGeom>
              <a:avLst/>
              <a:gdLst>
                <a:gd name="connsiteX0" fmla="*/ 0 w 419100"/>
                <a:gd name="connsiteY0" fmla="*/ 0 h 200025"/>
                <a:gd name="connsiteX1" fmla="*/ 209550 w 419100"/>
                <a:gd name="connsiteY1" fmla="*/ 200025 h 200025"/>
                <a:gd name="connsiteX2" fmla="*/ 419100 w 419100"/>
                <a:gd name="connsiteY2" fmla="*/ 0 h 200025"/>
              </a:gdLst>
              <a:ahLst/>
              <a:cxnLst>
                <a:cxn ang="0">
                  <a:pos x="connsiteX0" y="connsiteY0"/>
                </a:cxn>
                <a:cxn ang="0">
                  <a:pos x="connsiteX1" y="connsiteY1"/>
                </a:cxn>
                <a:cxn ang="0">
                  <a:pos x="connsiteX2" y="connsiteY2"/>
                </a:cxn>
              </a:cxnLst>
              <a:rect l="l" t="t" r="r" b="b"/>
              <a:pathLst>
                <a:path w="419100" h="200025">
                  <a:moveTo>
                    <a:pt x="0" y="0"/>
                  </a:moveTo>
                  <a:lnTo>
                    <a:pt x="209550" y="200025"/>
                  </a:lnTo>
                  <a:lnTo>
                    <a:pt x="419100" y="0"/>
                  </a:lnTo>
                </a:path>
              </a:pathLst>
            </a:custGeom>
            <a:noFill/>
            <a:ln w="12700" cap="sq">
              <a:solidFill>
                <a:schemeClr val="accent5"/>
              </a:solidFill>
              <a:prstDash val="solid"/>
              <a:miter/>
            </a:ln>
          </p:spPr>
          <p:txBody>
            <a:bodyPr lIns="36000" tIns="36000" rIns="36000" bIns="36000" rtlCol="0" anchor="ctr"/>
            <a:lstStyle/>
            <a:p>
              <a:endParaRPr lang="de-DE" sz="800" dirty="0">
                <a:latin typeface="+mn-lt"/>
              </a:endParaRPr>
            </a:p>
          </p:txBody>
        </p:sp>
        <p:sp>
          <p:nvSpPr>
            <p:cNvPr id="803" name="Freihandform: Form 167">
              <a:extLst>
                <a:ext uri="{FF2B5EF4-FFF2-40B4-BE49-F238E27FC236}">
                  <a16:creationId xmlns:a16="http://schemas.microsoft.com/office/drawing/2014/main" id="{DC64D642-5C23-4E56-9C33-AC23CE2E1CA0}"/>
                </a:ext>
              </a:extLst>
            </p:cNvPr>
            <p:cNvSpPr/>
            <p:nvPr/>
          </p:nvSpPr>
          <p:spPr>
            <a:xfrm>
              <a:off x="3992070" y="2033298"/>
              <a:ext cx="95250" cy="123825"/>
            </a:xfrm>
            <a:custGeom>
              <a:avLst/>
              <a:gdLst>
                <a:gd name="connsiteX0" fmla="*/ 0 w 95250"/>
                <a:gd name="connsiteY0" fmla="*/ 123825 h 123825"/>
                <a:gd name="connsiteX1" fmla="*/ 95250 w 95250"/>
                <a:gd name="connsiteY1" fmla="*/ 0 h 123825"/>
              </a:gdLst>
              <a:ahLst/>
              <a:cxnLst>
                <a:cxn ang="0">
                  <a:pos x="connsiteX0" y="connsiteY0"/>
                </a:cxn>
                <a:cxn ang="0">
                  <a:pos x="connsiteX1" y="connsiteY1"/>
                </a:cxn>
              </a:cxnLst>
              <a:rect l="l" t="t" r="r" b="b"/>
              <a:pathLst>
                <a:path w="95250" h="123825">
                  <a:moveTo>
                    <a:pt x="0" y="123825"/>
                  </a:moveTo>
                  <a:lnTo>
                    <a:pt x="95250" y="0"/>
                  </a:lnTo>
                </a:path>
              </a:pathLst>
            </a:custGeom>
            <a:ln w="12700" cap="sq">
              <a:solidFill>
                <a:schemeClr val="accent5"/>
              </a:solidFill>
              <a:prstDash val="solid"/>
              <a:miter/>
            </a:ln>
          </p:spPr>
          <p:txBody>
            <a:bodyPr lIns="36000" tIns="36000" rIns="36000" bIns="36000" rtlCol="0" anchor="ctr"/>
            <a:lstStyle/>
            <a:p>
              <a:endParaRPr lang="de-DE" sz="800" dirty="0">
                <a:latin typeface="+mn-lt"/>
              </a:endParaRPr>
            </a:p>
          </p:txBody>
        </p:sp>
        <p:sp>
          <p:nvSpPr>
            <p:cNvPr id="804" name="Freihandform: Form 168">
              <a:extLst>
                <a:ext uri="{FF2B5EF4-FFF2-40B4-BE49-F238E27FC236}">
                  <a16:creationId xmlns:a16="http://schemas.microsoft.com/office/drawing/2014/main" id="{75577E59-DD76-48BE-917E-8C56AB080038}"/>
                </a:ext>
              </a:extLst>
            </p:cNvPr>
            <p:cNvSpPr/>
            <p:nvPr/>
          </p:nvSpPr>
          <p:spPr>
            <a:xfrm>
              <a:off x="4315920" y="2033298"/>
              <a:ext cx="95250" cy="123825"/>
            </a:xfrm>
            <a:custGeom>
              <a:avLst/>
              <a:gdLst>
                <a:gd name="connsiteX0" fmla="*/ 0 w 95250"/>
                <a:gd name="connsiteY0" fmla="*/ 0 h 123825"/>
                <a:gd name="connsiteX1" fmla="*/ 95250 w 95250"/>
                <a:gd name="connsiteY1" fmla="*/ 123825 h 123825"/>
              </a:gdLst>
              <a:ahLst/>
              <a:cxnLst>
                <a:cxn ang="0">
                  <a:pos x="connsiteX0" y="connsiteY0"/>
                </a:cxn>
                <a:cxn ang="0">
                  <a:pos x="connsiteX1" y="connsiteY1"/>
                </a:cxn>
              </a:cxnLst>
              <a:rect l="l" t="t" r="r" b="b"/>
              <a:pathLst>
                <a:path w="95250" h="123825">
                  <a:moveTo>
                    <a:pt x="0" y="0"/>
                  </a:moveTo>
                  <a:lnTo>
                    <a:pt x="95250" y="123825"/>
                  </a:lnTo>
                </a:path>
              </a:pathLst>
            </a:custGeom>
            <a:ln w="12700" cap="sq">
              <a:solidFill>
                <a:schemeClr val="accent5"/>
              </a:solidFill>
              <a:prstDash val="solid"/>
              <a:miter/>
            </a:ln>
          </p:spPr>
          <p:txBody>
            <a:bodyPr lIns="36000" tIns="36000" rIns="36000" bIns="36000" rtlCol="0" anchor="ctr"/>
            <a:lstStyle/>
            <a:p>
              <a:endParaRPr lang="de-DE" sz="800" dirty="0">
                <a:latin typeface="+mn-lt"/>
              </a:endParaRPr>
            </a:p>
          </p:txBody>
        </p:sp>
        <p:sp>
          <p:nvSpPr>
            <p:cNvPr id="805" name="Freihandform: Form 169">
              <a:extLst>
                <a:ext uri="{FF2B5EF4-FFF2-40B4-BE49-F238E27FC236}">
                  <a16:creationId xmlns:a16="http://schemas.microsoft.com/office/drawing/2014/main" id="{8CF40263-D27C-4B24-8C84-AAA8BE8EEE48}"/>
                </a:ext>
              </a:extLst>
            </p:cNvPr>
            <p:cNvSpPr/>
            <p:nvPr/>
          </p:nvSpPr>
          <p:spPr>
            <a:xfrm>
              <a:off x="3925395" y="1785648"/>
              <a:ext cx="552450" cy="457200"/>
            </a:xfrm>
            <a:custGeom>
              <a:avLst/>
              <a:gdLst>
                <a:gd name="connsiteX0" fmla="*/ 0 w 552450"/>
                <a:gd name="connsiteY0" fmla="*/ 47625 h 457200"/>
                <a:gd name="connsiteX1" fmla="*/ 0 w 552450"/>
                <a:gd name="connsiteY1" fmla="*/ 409575 h 457200"/>
                <a:gd name="connsiteX2" fmla="*/ 47625 w 552450"/>
                <a:gd name="connsiteY2" fmla="*/ 457200 h 457200"/>
                <a:gd name="connsiteX3" fmla="*/ 504825 w 552450"/>
                <a:gd name="connsiteY3" fmla="*/ 457200 h 457200"/>
                <a:gd name="connsiteX4" fmla="*/ 552450 w 552450"/>
                <a:gd name="connsiteY4" fmla="*/ 409575 h 457200"/>
                <a:gd name="connsiteX5" fmla="*/ 552450 w 552450"/>
                <a:gd name="connsiteY5" fmla="*/ 47625 h 457200"/>
                <a:gd name="connsiteX6" fmla="*/ 504825 w 552450"/>
                <a:gd name="connsiteY6" fmla="*/ 0 h 457200"/>
                <a:gd name="connsiteX7" fmla="*/ 47625 w 552450"/>
                <a:gd name="connsiteY7" fmla="*/ 0 h 457200"/>
                <a:gd name="connsiteX8" fmla="*/ 0 w 552450"/>
                <a:gd name="connsiteY8" fmla="*/ 4762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457200">
                  <a:moveTo>
                    <a:pt x="0" y="47625"/>
                  </a:moveTo>
                  <a:lnTo>
                    <a:pt x="0" y="409575"/>
                  </a:lnTo>
                  <a:cubicBezTo>
                    <a:pt x="0" y="436245"/>
                    <a:pt x="20955" y="457200"/>
                    <a:pt x="47625" y="457200"/>
                  </a:cubicBezTo>
                  <a:lnTo>
                    <a:pt x="504825" y="457200"/>
                  </a:lnTo>
                  <a:cubicBezTo>
                    <a:pt x="531495" y="457200"/>
                    <a:pt x="552450" y="436245"/>
                    <a:pt x="552450" y="409575"/>
                  </a:cubicBezTo>
                  <a:lnTo>
                    <a:pt x="552450" y="47625"/>
                  </a:lnTo>
                  <a:cubicBezTo>
                    <a:pt x="552450" y="20955"/>
                    <a:pt x="531495" y="0"/>
                    <a:pt x="504825" y="0"/>
                  </a:cubicBezTo>
                  <a:lnTo>
                    <a:pt x="47625" y="0"/>
                  </a:lnTo>
                  <a:cubicBezTo>
                    <a:pt x="20955" y="0"/>
                    <a:pt x="0" y="20955"/>
                    <a:pt x="0" y="47625"/>
                  </a:cubicBezTo>
                  <a:close/>
                </a:path>
              </a:pathLst>
            </a:custGeom>
            <a:noFill/>
            <a:ln w="12700" cap="sq">
              <a:solidFill>
                <a:schemeClr val="accent5"/>
              </a:solidFill>
              <a:prstDash val="solid"/>
              <a:miter/>
            </a:ln>
          </p:spPr>
          <p:txBody>
            <a:bodyPr lIns="36000" tIns="36000" rIns="36000" bIns="36000" rtlCol="0" anchor="ctr"/>
            <a:lstStyle/>
            <a:p>
              <a:endParaRPr lang="de-DE" sz="800" dirty="0">
                <a:latin typeface="+mn-lt"/>
              </a:endParaRPr>
            </a:p>
          </p:txBody>
        </p:sp>
      </p:grpSp>
      <p:sp>
        <p:nvSpPr>
          <p:cNvPr id="806" name="Textfeld 509">
            <a:extLst>
              <a:ext uri="{FF2B5EF4-FFF2-40B4-BE49-F238E27FC236}">
                <a16:creationId xmlns:a16="http://schemas.microsoft.com/office/drawing/2014/main" id="{F8B1162D-90A9-4807-A120-E2E6D7A3F0B9}"/>
              </a:ext>
            </a:extLst>
          </p:cNvPr>
          <p:cNvSpPr txBox="1">
            <a:spLocks/>
          </p:cNvSpPr>
          <p:nvPr/>
        </p:nvSpPr>
        <p:spPr>
          <a:xfrm>
            <a:off x="5310565"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Nutzer-konto</a:t>
            </a:r>
          </a:p>
        </p:txBody>
      </p:sp>
      <p:sp>
        <p:nvSpPr>
          <p:cNvPr id="807" name="Textfeld 515">
            <a:extLst>
              <a:ext uri="{FF2B5EF4-FFF2-40B4-BE49-F238E27FC236}">
                <a16:creationId xmlns:a16="http://schemas.microsoft.com/office/drawing/2014/main" id="{4C3251A9-846A-47F8-8F0F-B1B5F99431EE}"/>
              </a:ext>
            </a:extLst>
          </p:cNvPr>
          <p:cNvSpPr txBox="1">
            <a:spLocks/>
          </p:cNvSpPr>
          <p:nvPr/>
        </p:nvSpPr>
        <p:spPr>
          <a:xfrm>
            <a:off x="5760565"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Postfach</a:t>
            </a:r>
          </a:p>
        </p:txBody>
      </p:sp>
      <p:grpSp>
        <p:nvGrpSpPr>
          <p:cNvPr id="810" name="Gruppieren 809"/>
          <p:cNvGrpSpPr/>
          <p:nvPr/>
        </p:nvGrpSpPr>
        <p:grpSpPr>
          <a:xfrm>
            <a:off x="5239994" y="4842251"/>
            <a:ext cx="792000" cy="1590275"/>
            <a:chOff x="5264148" y="4842251"/>
            <a:chExt cx="792000" cy="1590275"/>
          </a:xfrm>
        </p:grpSpPr>
        <p:sp>
          <p:nvSpPr>
            <p:cNvPr id="811" name="Textfeld 810">
              <a:extLst>
                <a:ext uri="{FF2B5EF4-FFF2-40B4-BE49-F238E27FC236}">
                  <a16:creationId xmlns:a16="http://schemas.microsoft.com/office/drawing/2014/main" id="{61FA0F73-A2AB-420B-B790-4ACF959411DD}"/>
                </a:ext>
              </a:extLst>
            </p:cNvPr>
            <p:cNvSpPr txBox="1">
              <a:spLocks/>
            </p:cNvSpPr>
            <p:nvPr/>
          </p:nvSpPr>
          <p:spPr>
            <a:xfrm>
              <a:off x="5264148"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latin typeface="+mn-lt"/>
                </a:rPr>
                <a:t>Nachweise oder</a:t>
              </a:r>
              <a:br>
                <a:rPr lang="de-DE" sz="800" dirty="0">
                  <a:latin typeface="+mn-lt"/>
                </a:rPr>
              </a:br>
              <a:r>
                <a:rPr lang="de-DE" sz="800" dirty="0">
                  <a:latin typeface="+mn-lt"/>
                </a:rPr>
                <a:t>Registerabfragen</a:t>
              </a:r>
            </a:p>
          </p:txBody>
        </p:sp>
        <p:sp>
          <p:nvSpPr>
            <p:cNvPr id="812" name="noun_project_04039.eps"/>
            <p:cNvSpPr>
              <a:spLocks noChangeAspect="1" noEditPoints="1"/>
            </p:cNvSpPr>
            <p:nvPr/>
          </p:nvSpPr>
          <p:spPr bwMode="auto">
            <a:xfrm>
              <a:off x="5408148" y="4842251"/>
              <a:ext cx="504000" cy="333375"/>
            </a:xfrm>
            <a:custGeom>
              <a:avLst/>
              <a:gdLst>
                <a:gd name="T0" fmla="*/ 146 w 3458"/>
                <a:gd name="T1" fmla="*/ 619 h 2286"/>
                <a:gd name="T2" fmla="*/ 121 w 3458"/>
                <a:gd name="T3" fmla="*/ 623 h 2286"/>
                <a:gd name="T4" fmla="*/ 113 w 3458"/>
                <a:gd name="T5" fmla="*/ 632 h 2286"/>
                <a:gd name="T6" fmla="*/ 111 w 3458"/>
                <a:gd name="T7" fmla="*/ 2164 h 2286"/>
                <a:gd name="T8" fmla="*/ 120 w 3458"/>
                <a:gd name="T9" fmla="*/ 2179 h 2286"/>
                <a:gd name="T10" fmla="*/ 3315 w 3458"/>
                <a:gd name="T11" fmla="*/ 2181 h 2286"/>
                <a:gd name="T12" fmla="*/ 3331 w 3458"/>
                <a:gd name="T13" fmla="*/ 2172 h 2286"/>
                <a:gd name="T14" fmla="*/ 3333 w 3458"/>
                <a:gd name="T15" fmla="*/ 2164 h 2286"/>
                <a:gd name="T16" fmla="*/ 3333 w 3458"/>
                <a:gd name="T17" fmla="*/ 631 h 2286"/>
                <a:gd name="T18" fmla="*/ 3328 w 3458"/>
                <a:gd name="T19" fmla="*/ 622 h 2286"/>
                <a:gd name="T20" fmla="*/ 3309 w 3458"/>
                <a:gd name="T21" fmla="*/ 618 h 2286"/>
                <a:gd name="T22" fmla="*/ 542 w 3458"/>
                <a:gd name="T23" fmla="*/ 385 h 2286"/>
                <a:gd name="T24" fmla="*/ 526 w 3458"/>
                <a:gd name="T25" fmla="*/ 394 h 2286"/>
                <a:gd name="T26" fmla="*/ 523 w 3458"/>
                <a:gd name="T27" fmla="*/ 525 h 2286"/>
                <a:gd name="T28" fmla="*/ 533 w 3458"/>
                <a:gd name="T29" fmla="*/ 540 h 2286"/>
                <a:gd name="T30" fmla="*/ 3315 w 3458"/>
                <a:gd name="T31" fmla="*/ 543 h 2286"/>
                <a:gd name="T32" fmla="*/ 3331 w 3458"/>
                <a:gd name="T33" fmla="*/ 534 h 2286"/>
                <a:gd name="T34" fmla="*/ 3333 w 3458"/>
                <a:gd name="T35" fmla="*/ 525 h 2286"/>
                <a:gd name="T36" fmla="*/ 3331 w 3458"/>
                <a:gd name="T37" fmla="*/ 394 h 2286"/>
                <a:gd name="T38" fmla="*/ 3315 w 3458"/>
                <a:gd name="T39" fmla="*/ 385 h 2286"/>
                <a:gd name="T40" fmla="*/ 299 w 3458"/>
                <a:gd name="T41" fmla="*/ 0 h 2286"/>
                <a:gd name="T42" fmla="*/ 1762 w 3458"/>
                <a:gd name="T43" fmla="*/ 1 h 2286"/>
                <a:gd name="T44" fmla="*/ 1795 w 3458"/>
                <a:gd name="T45" fmla="*/ 5 h 2286"/>
                <a:gd name="T46" fmla="*/ 1813 w 3458"/>
                <a:gd name="T47" fmla="*/ 14 h 2286"/>
                <a:gd name="T48" fmla="*/ 1822 w 3458"/>
                <a:gd name="T49" fmla="*/ 26 h 2286"/>
                <a:gd name="T50" fmla="*/ 1828 w 3458"/>
                <a:gd name="T51" fmla="*/ 39 h 2286"/>
                <a:gd name="T52" fmla="*/ 1909 w 3458"/>
                <a:gd name="T53" fmla="*/ 202 h 2286"/>
                <a:gd name="T54" fmla="*/ 1926 w 3458"/>
                <a:gd name="T55" fmla="*/ 215 h 2286"/>
                <a:gd name="T56" fmla="*/ 1950 w 3458"/>
                <a:gd name="T57" fmla="*/ 218 h 2286"/>
                <a:gd name="T58" fmla="*/ 3440 w 3458"/>
                <a:gd name="T59" fmla="*/ 218 h 2286"/>
                <a:gd name="T60" fmla="*/ 3454 w 3458"/>
                <a:gd name="T61" fmla="*/ 227 h 2286"/>
                <a:gd name="T62" fmla="*/ 3458 w 3458"/>
                <a:gd name="T63" fmla="*/ 2244 h 2286"/>
                <a:gd name="T64" fmla="*/ 3452 w 3458"/>
                <a:gd name="T65" fmla="*/ 2273 h 2286"/>
                <a:gd name="T66" fmla="*/ 3432 w 3458"/>
                <a:gd name="T67" fmla="*/ 2284 h 2286"/>
                <a:gd name="T68" fmla="*/ 38 w 3458"/>
                <a:gd name="T69" fmla="*/ 2286 h 2286"/>
                <a:gd name="T70" fmla="*/ 13 w 3458"/>
                <a:gd name="T71" fmla="*/ 2279 h 2286"/>
                <a:gd name="T72" fmla="*/ 1 w 3458"/>
                <a:gd name="T73" fmla="*/ 2261 h 2286"/>
                <a:gd name="T74" fmla="*/ 0 w 3458"/>
                <a:gd name="T75" fmla="*/ 236 h 2286"/>
                <a:gd name="T76" fmla="*/ 5 w 3458"/>
                <a:gd name="T77" fmla="*/ 223 h 2286"/>
                <a:gd name="T78" fmla="*/ 18 w 3458"/>
                <a:gd name="T79" fmla="*/ 218 h 2286"/>
                <a:gd name="T80" fmla="*/ 122 w 3458"/>
                <a:gd name="T81" fmla="*/ 216 h 2286"/>
                <a:gd name="T82" fmla="*/ 158 w 3458"/>
                <a:gd name="T83" fmla="*/ 207 h 2286"/>
                <a:gd name="T84" fmla="*/ 179 w 3458"/>
                <a:gd name="T85" fmla="*/ 184 h 2286"/>
                <a:gd name="T86" fmla="*/ 207 w 3458"/>
                <a:gd name="T87" fmla="*/ 50 h 2286"/>
                <a:gd name="T88" fmla="*/ 221 w 3458"/>
                <a:gd name="T89" fmla="*/ 22 h 2286"/>
                <a:gd name="T90" fmla="*/ 250 w 3458"/>
                <a:gd name="T91" fmla="*/ 5 h 2286"/>
                <a:gd name="T92" fmla="*/ 299 w 3458"/>
                <a:gd name="T93" fmla="*/ 0 h 2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8" h="2286">
                  <a:moveTo>
                    <a:pt x="167" y="618"/>
                  </a:moveTo>
                  <a:lnTo>
                    <a:pt x="146" y="619"/>
                  </a:lnTo>
                  <a:lnTo>
                    <a:pt x="132" y="621"/>
                  </a:lnTo>
                  <a:lnTo>
                    <a:pt x="121" y="623"/>
                  </a:lnTo>
                  <a:lnTo>
                    <a:pt x="115" y="627"/>
                  </a:lnTo>
                  <a:lnTo>
                    <a:pt x="113" y="632"/>
                  </a:lnTo>
                  <a:lnTo>
                    <a:pt x="111" y="636"/>
                  </a:lnTo>
                  <a:lnTo>
                    <a:pt x="111" y="2164"/>
                  </a:lnTo>
                  <a:lnTo>
                    <a:pt x="114" y="2172"/>
                  </a:lnTo>
                  <a:lnTo>
                    <a:pt x="120" y="2179"/>
                  </a:lnTo>
                  <a:lnTo>
                    <a:pt x="129" y="2181"/>
                  </a:lnTo>
                  <a:lnTo>
                    <a:pt x="3315" y="2181"/>
                  </a:lnTo>
                  <a:lnTo>
                    <a:pt x="3325" y="2179"/>
                  </a:lnTo>
                  <a:lnTo>
                    <a:pt x="3331" y="2172"/>
                  </a:lnTo>
                  <a:lnTo>
                    <a:pt x="3333" y="2164"/>
                  </a:lnTo>
                  <a:lnTo>
                    <a:pt x="3333" y="2164"/>
                  </a:lnTo>
                  <a:lnTo>
                    <a:pt x="3333" y="636"/>
                  </a:lnTo>
                  <a:lnTo>
                    <a:pt x="3333" y="631"/>
                  </a:lnTo>
                  <a:lnTo>
                    <a:pt x="3332" y="625"/>
                  </a:lnTo>
                  <a:lnTo>
                    <a:pt x="3328" y="622"/>
                  </a:lnTo>
                  <a:lnTo>
                    <a:pt x="3322" y="619"/>
                  </a:lnTo>
                  <a:lnTo>
                    <a:pt x="3309" y="618"/>
                  </a:lnTo>
                  <a:lnTo>
                    <a:pt x="167" y="618"/>
                  </a:lnTo>
                  <a:close/>
                  <a:moveTo>
                    <a:pt x="542" y="385"/>
                  </a:moveTo>
                  <a:lnTo>
                    <a:pt x="533" y="388"/>
                  </a:lnTo>
                  <a:lnTo>
                    <a:pt x="526" y="394"/>
                  </a:lnTo>
                  <a:lnTo>
                    <a:pt x="523" y="403"/>
                  </a:lnTo>
                  <a:lnTo>
                    <a:pt x="523" y="525"/>
                  </a:lnTo>
                  <a:lnTo>
                    <a:pt x="526" y="534"/>
                  </a:lnTo>
                  <a:lnTo>
                    <a:pt x="533" y="540"/>
                  </a:lnTo>
                  <a:lnTo>
                    <a:pt x="542" y="543"/>
                  </a:lnTo>
                  <a:lnTo>
                    <a:pt x="3315" y="543"/>
                  </a:lnTo>
                  <a:lnTo>
                    <a:pt x="3325" y="540"/>
                  </a:lnTo>
                  <a:lnTo>
                    <a:pt x="3331" y="534"/>
                  </a:lnTo>
                  <a:lnTo>
                    <a:pt x="3333" y="525"/>
                  </a:lnTo>
                  <a:lnTo>
                    <a:pt x="3333" y="525"/>
                  </a:lnTo>
                  <a:lnTo>
                    <a:pt x="3333" y="403"/>
                  </a:lnTo>
                  <a:lnTo>
                    <a:pt x="3331" y="394"/>
                  </a:lnTo>
                  <a:lnTo>
                    <a:pt x="3325" y="388"/>
                  </a:lnTo>
                  <a:lnTo>
                    <a:pt x="3315" y="385"/>
                  </a:lnTo>
                  <a:lnTo>
                    <a:pt x="542" y="385"/>
                  </a:lnTo>
                  <a:close/>
                  <a:moveTo>
                    <a:pt x="299" y="0"/>
                  </a:moveTo>
                  <a:lnTo>
                    <a:pt x="1739" y="0"/>
                  </a:lnTo>
                  <a:lnTo>
                    <a:pt x="1762" y="1"/>
                  </a:lnTo>
                  <a:lnTo>
                    <a:pt x="1781" y="2"/>
                  </a:lnTo>
                  <a:lnTo>
                    <a:pt x="1795" y="5"/>
                  </a:lnTo>
                  <a:lnTo>
                    <a:pt x="1806" y="10"/>
                  </a:lnTo>
                  <a:lnTo>
                    <a:pt x="1813" y="14"/>
                  </a:lnTo>
                  <a:lnTo>
                    <a:pt x="1818" y="19"/>
                  </a:lnTo>
                  <a:lnTo>
                    <a:pt x="1822" y="26"/>
                  </a:lnTo>
                  <a:lnTo>
                    <a:pt x="1825" y="33"/>
                  </a:lnTo>
                  <a:lnTo>
                    <a:pt x="1828" y="39"/>
                  </a:lnTo>
                  <a:lnTo>
                    <a:pt x="1900" y="190"/>
                  </a:lnTo>
                  <a:lnTo>
                    <a:pt x="1909" y="202"/>
                  </a:lnTo>
                  <a:lnTo>
                    <a:pt x="1917" y="210"/>
                  </a:lnTo>
                  <a:lnTo>
                    <a:pt x="1926" y="215"/>
                  </a:lnTo>
                  <a:lnTo>
                    <a:pt x="1936" y="217"/>
                  </a:lnTo>
                  <a:lnTo>
                    <a:pt x="1950" y="218"/>
                  </a:lnTo>
                  <a:lnTo>
                    <a:pt x="1968" y="218"/>
                  </a:lnTo>
                  <a:lnTo>
                    <a:pt x="3440" y="218"/>
                  </a:lnTo>
                  <a:lnTo>
                    <a:pt x="3448" y="221"/>
                  </a:lnTo>
                  <a:lnTo>
                    <a:pt x="3454" y="227"/>
                  </a:lnTo>
                  <a:lnTo>
                    <a:pt x="3458" y="236"/>
                  </a:lnTo>
                  <a:lnTo>
                    <a:pt x="3458" y="2244"/>
                  </a:lnTo>
                  <a:lnTo>
                    <a:pt x="3457" y="2261"/>
                  </a:lnTo>
                  <a:lnTo>
                    <a:pt x="3452" y="2273"/>
                  </a:lnTo>
                  <a:lnTo>
                    <a:pt x="3444" y="2280"/>
                  </a:lnTo>
                  <a:lnTo>
                    <a:pt x="3432" y="2284"/>
                  </a:lnTo>
                  <a:lnTo>
                    <a:pt x="3415" y="2286"/>
                  </a:lnTo>
                  <a:lnTo>
                    <a:pt x="38" y="2286"/>
                  </a:lnTo>
                  <a:lnTo>
                    <a:pt x="23" y="2284"/>
                  </a:lnTo>
                  <a:lnTo>
                    <a:pt x="13" y="2279"/>
                  </a:lnTo>
                  <a:lnTo>
                    <a:pt x="5" y="2272"/>
                  </a:lnTo>
                  <a:lnTo>
                    <a:pt x="1" y="2261"/>
                  </a:lnTo>
                  <a:lnTo>
                    <a:pt x="0" y="2247"/>
                  </a:lnTo>
                  <a:lnTo>
                    <a:pt x="0" y="236"/>
                  </a:lnTo>
                  <a:lnTo>
                    <a:pt x="1" y="228"/>
                  </a:lnTo>
                  <a:lnTo>
                    <a:pt x="5" y="223"/>
                  </a:lnTo>
                  <a:lnTo>
                    <a:pt x="11" y="219"/>
                  </a:lnTo>
                  <a:lnTo>
                    <a:pt x="18" y="218"/>
                  </a:lnTo>
                  <a:lnTo>
                    <a:pt x="99" y="218"/>
                  </a:lnTo>
                  <a:lnTo>
                    <a:pt x="122" y="216"/>
                  </a:lnTo>
                  <a:lnTo>
                    <a:pt x="142" y="213"/>
                  </a:lnTo>
                  <a:lnTo>
                    <a:pt x="158" y="207"/>
                  </a:lnTo>
                  <a:lnTo>
                    <a:pt x="171" y="197"/>
                  </a:lnTo>
                  <a:lnTo>
                    <a:pt x="179" y="184"/>
                  </a:lnTo>
                  <a:lnTo>
                    <a:pt x="185" y="168"/>
                  </a:lnTo>
                  <a:lnTo>
                    <a:pt x="207" y="50"/>
                  </a:lnTo>
                  <a:lnTo>
                    <a:pt x="212" y="35"/>
                  </a:lnTo>
                  <a:lnTo>
                    <a:pt x="221" y="22"/>
                  </a:lnTo>
                  <a:lnTo>
                    <a:pt x="233" y="13"/>
                  </a:lnTo>
                  <a:lnTo>
                    <a:pt x="250" y="5"/>
                  </a:lnTo>
                  <a:lnTo>
                    <a:pt x="273" y="1"/>
                  </a:lnTo>
                  <a:lnTo>
                    <a:pt x="299" y="0"/>
                  </a:lnTo>
                  <a:close/>
                </a:path>
              </a:pathLst>
            </a:custGeom>
            <a:solidFill>
              <a:schemeClr val="accent5"/>
            </a:solidFill>
            <a:ln w="0">
              <a:solidFill>
                <a:schemeClr val="accent5"/>
              </a:solidFill>
              <a:prstDash val="solid"/>
              <a:round/>
              <a:headEnd/>
              <a:tailEnd/>
            </a:ln>
          </p:spPr>
          <p:txBody>
            <a:bodyPr/>
            <a:lstStyle/>
            <a:p>
              <a:endParaRPr lang="de-DE" dirty="0"/>
            </a:p>
          </p:txBody>
        </p:sp>
        <p:grpSp>
          <p:nvGrpSpPr>
            <p:cNvPr id="813" name="Gruppieren 812"/>
            <p:cNvGrpSpPr/>
            <p:nvPr/>
          </p:nvGrpSpPr>
          <p:grpSpPr>
            <a:xfrm>
              <a:off x="5370458" y="5682421"/>
              <a:ext cx="579380" cy="555688"/>
              <a:chOff x="10918791" y="5571097"/>
              <a:chExt cx="579380" cy="555688"/>
            </a:xfrm>
          </p:grpSpPr>
          <p:sp>
            <p:nvSpPr>
              <p:cNvPr id="816" name="Rectangle 324"/>
              <p:cNvSpPr>
                <a:spLocks noChangeArrowheads="1"/>
              </p:cNvSpPr>
              <p:nvPr/>
            </p:nvSpPr>
            <p:spPr bwMode="auto">
              <a:xfrm>
                <a:off x="10918791" y="5571097"/>
                <a:ext cx="579380" cy="555688"/>
              </a:xfrm>
              <a:prstGeom prst="rect">
                <a:avLst/>
              </a:prstGeom>
              <a:noFill/>
              <a:ln>
                <a:noFill/>
              </a:ln>
              <a:extLst>
                <a:ext uri="{909E8E84-426E-40DD-AFC4-6F175D3DCCD1}">
                  <a14:hiddenFill xmlns:a14="http://schemas.microsoft.com/office/drawing/2010/main">
                    <a:solidFill>
                      <a:srgbClr val="797979"/>
                    </a:solidFill>
                  </a14:hiddenFill>
                </a:ext>
                <a:ext uri="{91240B29-F687-4F45-9708-019B960494DF}">
                  <a14:hiddenLine xmlns:a14="http://schemas.microsoft.com/office/drawing/2010/main" w="0">
                    <a:solidFill>
                      <a:schemeClr val="accent2"/>
                    </a:solidFill>
                    <a:miter lim="800000"/>
                    <a:headEnd/>
                    <a:tailEnd/>
                  </a14:hiddenLine>
                </a:ext>
              </a:extLst>
            </p:spPr>
            <p:txBody>
              <a:bodyPr/>
              <a:lstStyle/>
              <a:p>
                <a:endParaRPr lang="de-DE" dirty="0"/>
              </a:p>
            </p:txBody>
          </p:sp>
          <p:sp>
            <p:nvSpPr>
              <p:cNvPr id="817" name="Freeform 325"/>
              <p:cNvSpPr>
                <a:spLocks noEditPoints="1"/>
              </p:cNvSpPr>
              <p:nvPr/>
            </p:nvSpPr>
            <p:spPr bwMode="auto">
              <a:xfrm>
                <a:off x="10921966" y="5577448"/>
                <a:ext cx="574618" cy="544574"/>
              </a:xfrm>
              <a:custGeom>
                <a:avLst/>
                <a:gdLst>
                  <a:gd name="T0" fmla="*/ 2944 w 3617"/>
                  <a:gd name="T1" fmla="*/ 184 h 3429"/>
                  <a:gd name="T2" fmla="*/ 2182 w 3617"/>
                  <a:gd name="T3" fmla="*/ 189 h 3429"/>
                  <a:gd name="T4" fmla="*/ 1620 w 3617"/>
                  <a:gd name="T5" fmla="*/ 170 h 3429"/>
                  <a:gd name="T6" fmla="*/ 1050 w 3617"/>
                  <a:gd name="T7" fmla="*/ 170 h 3429"/>
                  <a:gd name="T8" fmla="*/ 484 w 3617"/>
                  <a:gd name="T9" fmla="*/ 190 h 3429"/>
                  <a:gd name="T10" fmla="*/ 196 w 3617"/>
                  <a:gd name="T11" fmla="*/ 290 h 3429"/>
                  <a:gd name="T12" fmla="*/ 198 w 3617"/>
                  <a:gd name="T13" fmla="*/ 859 h 3429"/>
                  <a:gd name="T14" fmla="*/ 177 w 3617"/>
                  <a:gd name="T15" fmla="*/ 1431 h 3429"/>
                  <a:gd name="T16" fmla="*/ 203 w 3617"/>
                  <a:gd name="T17" fmla="*/ 1999 h 3429"/>
                  <a:gd name="T18" fmla="*/ 201 w 3617"/>
                  <a:gd name="T19" fmla="*/ 2566 h 3429"/>
                  <a:gd name="T20" fmla="*/ 176 w 3617"/>
                  <a:gd name="T21" fmla="*/ 3141 h 3429"/>
                  <a:gd name="T22" fmla="*/ 484 w 3617"/>
                  <a:gd name="T23" fmla="*/ 3240 h 3429"/>
                  <a:gd name="T24" fmla="*/ 1058 w 3617"/>
                  <a:gd name="T25" fmla="*/ 3245 h 3429"/>
                  <a:gd name="T26" fmla="*/ 1620 w 3617"/>
                  <a:gd name="T27" fmla="*/ 3225 h 3429"/>
                  <a:gd name="T28" fmla="*/ 2189 w 3617"/>
                  <a:gd name="T29" fmla="*/ 3257 h 3429"/>
                  <a:gd name="T30" fmla="*/ 2756 w 3617"/>
                  <a:gd name="T31" fmla="*/ 3234 h 3429"/>
                  <a:gd name="T32" fmla="*/ 3324 w 3617"/>
                  <a:gd name="T33" fmla="*/ 3237 h 3429"/>
                  <a:gd name="T34" fmla="*/ 3424 w 3617"/>
                  <a:gd name="T35" fmla="*/ 2938 h 3429"/>
                  <a:gd name="T36" fmla="*/ 3422 w 3617"/>
                  <a:gd name="T37" fmla="*/ 2376 h 3429"/>
                  <a:gd name="T38" fmla="*/ 3420 w 3617"/>
                  <a:gd name="T39" fmla="*/ 1810 h 3429"/>
                  <a:gd name="T40" fmla="*/ 3445 w 3617"/>
                  <a:gd name="T41" fmla="*/ 1242 h 3429"/>
                  <a:gd name="T42" fmla="*/ 3419 w 3617"/>
                  <a:gd name="T43" fmla="*/ 856 h 3429"/>
                  <a:gd name="T44" fmla="*/ 3447 w 3617"/>
                  <a:gd name="T45" fmla="*/ 285 h 3429"/>
                  <a:gd name="T46" fmla="*/ 3325 w 3617"/>
                  <a:gd name="T47" fmla="*/ 0 h 3429"/>
                  <a:gd name="T48" fmla="*/ 3586 w 3617"/>
                  <a:gd name="T49" fmla="*/ 484 h 3429"/>
                  <a:gd name="T50" fmla="*/ 3595 w 3617"/>
                  <a:gd name="T51" fmla="*/ 1044 h 3429"/>
                  <a:gd name="T52" fmla="*/ 3584 w 3617"/>
                  <a:gd name="T53" fmla="*/ 1623 h 3429"/>
                  <a:gd name="T54" fmla="*/ 3593 w 3617"/>
                  <a:gd name="T55" fmla="*/ 2191 h 3429"/>
                  <a:gd name="T56" fmla="*/ 3614 w 3617"/>
                  <a:gd name="T57" fmla="*/ 2755 h 3429"/>
                  <a:gd name="T58" fmla="*/ 3596 w 3617"/>
                  <a:gd name="T59" fmla="*/ 3403 h 3429"/>
                  <a:gd name="T60" fmla="*/ 2942 w 3617"/>
                  <a:gd name="T61" fmla="*/ 3425 h 3429"/>
                  <a:gd name="T62" fmla="*/ 2378 w 3617"/>
                  <a:gd name="T63" fmla="*/ 3403 h 3429"/>
                  <a:gd name="T64" fmla="*/ 1808 w 3617"/>
                  <a:gd name="T65" fmla="*/ 3394 h 3429"/>
                  <a:gd name="T66" fmla="*/ 1242 w 3617"/>
                  <a:gd name="T67" fmla="*/ 3421 h 3429"/>
                  <a:gd name="T68" fmla="*/ 676 w 3617"/>
                  <a:gd name="T69" fmla="*/ 3413 h 3429"/>
                  <a:gd name="T70" fmla="*/ 21 w 3617"/>
                  <a:gd name="T71" fmla="*/ 3416 h 3429"/>
                  <a:gd name="T72" fmla="*/ 17 w 3617"/>
                  <a:gd name="T73" fmla="*/ 2759 h 3429"/>
                  <a:gd name="T74" fmla="*/ 16 w 3617"/>
                  <a:gd name="T75" fmla="*/ 2180 h 3429"/>
                  <a:gd name="T76" fmla="*/ 6 w 3617"/>
                  <a:gd name="T77" fmla="*/ 1621 h 3429"/>
                  <a:gd name="T78" fmla="*/ 15 w 3617"/>
                  <a:gd name="T79" fmla="*/ 1044 h 3429"/>
                  <a:gd name="T80" fmla="*/ 10 w 3617"/>
                  <a:gd name="T81" fmla="*/ 477 h 3429"/>
                  <a:gd name="T82" fmla="*/ 299 w 3617"/>
                  <a:gd name="T83" fmla="*/ 9 h 3429"/>
                  <a:gd name="T84" fmla="*/ 861 w 3617"/>
                  <a:gd name="T85" fmla="*/ 4 h 3429"/>
                  <a:gd name="T86" fmla="*/ 1428 w 3617"/>
                  <a:gd name="T87" fmla="*/ 12 h 3429"/>
                  <a:gd name="T88" fmla="*/ 2001 w 3617"/>
                  <a:gd name="T89" fmla="*/ 5 h 3429"/>
                  <a:gd name="T90" fmla="*/ 2754 w 3617"/>
                  <a:gd name="T91" fmla="*/ 0 h 3429"/>
                  <a:gd name="T92" fmla="*/ 3325 w 3617"/>
                  <a:gd name="T93" fmla="*/ 0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17" h="3429">
                    <a:moveTo>
                      <a:pt x="3325" y="169"/>
                    </a:moveTo>
                    <a:lnTo>
                      <a:pt x="3140" y="179"/>
                    </a:lnTo>
                    <a:lnTo>
                      <a:pt x="2944" y="184"/>
                    </a:lnTo>
                    <a:lnTo>
                      <a:pt x="2759" y="170"/>
                    </a:lnTo>
                    <a:lnTo>
                      <a:pt x="2572" y="193"/>
                    </a:lnTo>
                    <a:lnTo>
                      <a:pt x="2182" y="189"/>
                    </a:lnTo>
                    <a:lnTo>
                      <a:pt x="1997" y="174"/>
                    </a:lnTo>
                    <a:lnTo>
                      <a:pt x="1808" y="181"/>
                    </a:lnTo>
                    <a:lnTo>
                      <a:pt x="1620" y="170"/>
                    </a:lnTo>
                    <a:lnTo>
                      <a:pt x="1433" y="181"/>
                    </a:lnTo>
                    <a:lnTo>
                      <a:pt x="1236" y="180"/>
                    </a:lnTo>
                    <a:lnTo>
                      <a:pt x="1050" y="170"/>
                    </a:lnTo>
                    <a:lnTo>
                      <a:pt x="863" y="173"/>
                    </a:lnTo>
                    <a:lnTo>
                      <a:pt x="676" y="174"/>
                    </a:lnTo>
                    <a:lnTo>
                      <a:pt x="484" y="190"/>
                    </a:lnTo>
                    <a:lnTo>
                      <a:pt x="290" y="178"/>
                    </a:lnTo>
                    <a:lnTo>
                      <a:pt x="186" y="175"/>
                    </a:lnTo>
                    <a:lnTo>
                      <a:pt x="196" y="290"/>
                    </a:lnTo>
                    <a:lnTo>
                      <a:pt x="180" y="483"/>
                    </a:lnTo>
                    <a:lnTo>
                      <a:pt x="184" y="666"/>
                    </a:lnTo>
                    <a:lnTo>
                      <a:pt x="198" y="859"/>
                    </a:lnTo>
                    <a:lnTo>
                      <a:pt x="184" y="1052"/>
                    </a:lnTo>
                    <a:lnTo>
                      <a:pt x="182" y="1240"/>
                    </a:lnTo>
                    <a:lnTo>
                      <a:pt x="177" y="1431"/>
                    </a:lnTo>
                    <a:lnTo>
                      <a:pt x="175" y="1617"/>
                    </a:lnTo>
                    <a:lnTo>
                      <a:pt x="187" y="1803"/>
                    </a:lnTo>
                    <a:lnTo>
                      <a:pt x="203" y="1999"/>
                    </a:lnTo>
                    <a:lnTo>
                      <a:pt x="185" y="2193"/>
                    </a:lnTo>
                    <a:lnTo>
                      <a:pt x="180" y="2374"/>
                    </a:lnTo>
                    <a:lnTo>
                      <a:pt x="201" y="2566"/>
                    </a:lnTo>
                    <a:lnTo>
                      <a:pt x="187" y="2755"/>
                    </a:lnTo>
                    <a:lnTo>
                      <a:pt x="206" y="2950"/>
                    </a:lnTo>
                    <a:lnTo>
                      <a:pt x="176" y="3141"/>
                    </a:lnTo>
                    <a:lnTo>
                      <a:pt x="182" y="3243"/>
                    </a:lnTo>
                    <a:lnTo>
                      <a:pt x="292" y="3240"/>
                    </a:lnTo>
                    <a:lnTo>
                      <a:pt x="484" y="3240"/>
                    </a:lnTo>
                    <a:lnTo>
                      <a:pt x="670" y="3243"/>
                    </a:lnTo>
                    <a:lnTo>
                      <a:pt x="863" y="3226"/>
                    </a:lnTo>
                    <a:lnTo>
                      <a:pt x="1058" y="3245"/>
                    </a:lnTo>
                    <a:lnTo>
                      <a:pt x="1242" y="3251"/>
                    </a:lnTo>
                    <a:lnTo>
                      <a:pt x="1425" y="3247"/>
                    </a:lnTo>
                    <a:lnTo>
                      <a:pt x="1620" y="3225"/>
                    </a:lnTo>
                    <a:lnTo>
                      <a:pt x="1812" y="3225"/>
                    </a:lnTo>
                    <a:lnTo>
                      <a:pt x="2011" y="3233"/>
                    </a:lnTo>
                    <a:lnTo>
                      <a:pt x="2189" y="3257"/>
                    </a:lnTo>
                    <a:lnTo>
                      <a:pt x="2379" y="3231"/>
                    </a:lnTo>
                    <a:lnTo>
                      <a:pt x="2568" y="3258"/>
                    </a:lnTo>
                    <a:lnTo>
                      <a:pt x="2756" y="3234"/>
                    </a:lnTo>
                    <a:lnTo>
                      <a:pt x="2951" y="3256"/>
                    </a:lnTo>
                    <a:lnTo>
                      <a:pt x="3131" y="3254"/>
                    </a:lnTo>
                    <a:lnTo>
                      <a:pt x="3324" y="3237"/>
                    </a:lnTo>
                    <a:lnTo>
                      <a:pt x="3419" y="3236"/>
                    </a:lnTo>
                    <a:lnTo>
                      <a:pt x="3416" y="3137"/>
                    </a:lnTo>
                    <a:lnTo>
                      <a:pt x="3424" y="2938"/>
                    </a:lnTo>
                    <a:lnTo>
                      <a:pt x="3442" y="2758"/>
                    </a:lnTo>
                    <a:lnTo>
                      <a:pt x="3418" y="2571"/>
                    </a:lnTo>
                    <a:lnTo>
                      <a:pt x="3422" y="2376"/>
                    </a:lnTo>
                    <a:lnTo>
                      <a:pt x="3424" y="2180"/>
                    </a:lnTo>
                    <a:lnTo>
                      <a:pt x="3440" y="1998"/>
                    </a:lnTo>
                    <a:lnTo>
                      <a:pt x="3420" y="1810"/>
                    </a:lnTo>
                    <a:lnTo>
                      <a:pt x="3415" y="1612"/>
                    </a:lnTo>
                    <a:lnTo>
                      <a:pt x="3445" y="1421"/>
                    </a:lnTo>
                    <a:lnTo>
                      <a:pt x="3445" y="1242"/>
                    </a:lnTo>
                    <a:lnTo>
                      <a:pt x="3425" y="1051"/>
                    </a:lnTo>
                    <a:lnTo>
                      <a:pt x="3419" y="858"/>
                    </a:lnTo>
                    <a:lnTo>
                      <a:pt x="3419" y="856"/>
                    </a:lnTo>
                    <a:lnTo>
                      <a:pt x="3427" y="670"/>
                    </a:lnTo>
                    <a:lnTo>
                      <a:pt x="3416" y="475"/>
                    </a:lnTo>
                    <a:lnTo>
                      <a:pt x="3447" y="285"/>
                    </a:lnTo>
                    <a:lnTo>
                      <a:pt x="3441" y="174"/>
                    </a:lnTo>
                    <a:lnTo>
                      <a:pt x="3325" y="169"/>
                    </a:lnTo>
                    <a:close/>
                    <a:moveTo>
                      <a:pt x="3325" y="0"/>
                    </a:moveTo>
                    <a:lnTo>
                      <a:pt x="3603" y="12"/>
                    </a:lnTo>
                    <a:lnTo>
                      <a:pt x="3617" y="295"/>
                    </a:lnTo>
                    <a:lnTo>
                      <a:pt x="3586" y="484"/>
                    </a:lnTo>
                    <a:lnTo>
                      <a:pt x="3597" y="668"/>
                    </a:lnTo>
                    <a:lnTo>
                      <a:pt x="3589" y="859"/>
                    </a:lnTo>
                    <a:lnTo>
                      <a:pt x="3595" y="1044"/>
                    </a:lnTo>
                    <a:lnTo>
                      <a:pt x="3614" y="1239"/>
                    </a:lnTo>
                    <a:lnTo>
                      <a:pt x="3613" y="1441"/>
                    </a:lnTo>
                    <a:lnTo>
                      <a:pt x="3584" y="1623"/>
                    </a:lnTo>
                    <a:lnTo>
                      <a:pt x="3591" y="1802"/>
                    </a:lnTo>
                    <a:lnTo>
                      <a:pt x="3611" y="1997"/>
                    </a:lnTo>
                    <a:lnTo>
                      <a:pt x="3593" y="2191"/>
                    </a:lnTo>
                    <a:lnTo>
                      <a:pt x="3592" y="2378"/>
                    </a:lnTo>
                    <a:lnTo>
                      <a:pt x="3588" y="2562"/>
                    </a:lnTo>
                    <a:lnTo>
                      <a:pt x="3614" y="2755"/>
                    </a:lnTo>
                    <a:lnTo>
                      <a:pt x="3592" y="2952"/>
                    </a:lnTo>
                    <a:lnTo>
                      <a:pt x="3586" y="3137"/>
                    </a:lnTo>
                    <a:lnTo>
                      <a:pt x="3596" y="3403"/>
                    </a:lnTo>
                    <a:lnTo>
                      <a:pt x="3329" y="3406"/>
                    </a:lnTo>
                    <a:lnTo>
                      <a:pt x="3137" y="3423"/>
                    </a:lnTo>
                    <a:lnTo>
                      <a:pt x="2942" y="3425"/>
                    </a:lnTo>
                    <a:lnTo>
                      <a:pt x="2757" y="3404"/>
                    </a:lnTo>
                    <a:lnTo>
                      <a:pt x="2567" y="3429"/>
                    </a:lnTo>
                    <a:lnTo>
                      <a:pt x="2378" y="3403"/>
                    </a:lnTo>
                    <a:lnTo>
                      <a:pt x="2189" y="3427"/>
                    </a:lnTo>
                    <a:lnTo>
                      <a:pt x="1992" y="3402"/>
                    </a:lnTo>
                    <a:lnTo>
                      <a:pt x="1808" y="3394"/>
                    </a:lnTo>
                    <a:lnTo>
                      <a:pt x="1626" y="3395"/>
                    </a:lnTo>
                    <a:lnTo>
                      <a:pt x="1433" y="3416"/>
                    </a:lnTo>
                    <a:lnTo>
                      <a:pt x="1242" y="3421"/>
                    </a:lnTo>
                    <a:lnTo>
                      <a:pt x="1044" y="3414"/>
                    </a:lnTo>
                    <a:lnTo>
                      <a:pt x="862" y="3396"/>
                    </a:lnTo>
                    <a:lnTo>
                      <a:pt x="676" y="3413"/>
                    </a:lnTo>
                    <a:lnTo>
                      <a:pt x="483" y="3409"/>
                    </a:lnTo>
                    <a:lnTo>
                      <a:pt x="295" y="3409"/>
                    </a:lnTo>
                    <a:lnTo>
                      <a:pt x="21" y="3416"/>
                    </a:lnTo>
                    <a:lnTo>
                      <a:pt x="6" y="3132"/>
                    </a:lnTo>
                    <a:lnTo>
                      <a:pt x="36" y="2944"/>
                    </a:lnTo>
                    <a:lnTo>
                      <a:pt x="17" y="2759"/>
                    </a:lnTo>
                    <a:lnTo>
                      <a:pt x="30" y="2569"/>
                    </a:lnTo>
                    <a:lnTo>
                      <a:pt x="9" y="2381"/>
                    </a:lnTo>
                    <a:lnTo>
                      <a:pt x="16" y="2180"/>
                    </a:lnTo>
                    <a:lnTo>
                      <a:pt x="32" y="1998"/>
                    </a:lnTo>
                    <a:lnTo>
                      <a:pt x="18" y="1816"/>
                    </a:lnTo>
                    <a:lnTo>
                      <a:pt x="6" y="1621"/>
                    </a:lnTo>
                    <a:lnTo>
                      <a:pt x="8" y="1428"/>
                    </a:lnTo>
                    <a:lnTo>
                      <a:pt x="13" y="1237"/>
                    </a:lnTo>
                    <a:lnTo>
                      <a:pt x="15" y="1044"/>
                    </a:lnTo>
                    <a:lnTo>
                      <a:pt x="28" y="859"/>
                    </a:lnTo>
                    <a:lnTo>
                      <a:pt x="14" y="671"/>
                    </a:lnTo>
                    <a:lnTo>
                      <a:pt x="10" y="477"/>
                    </a:lnTo>
                    <a:lnTo>
                      <a:pt x="26" y="290"/>
                    </a:lnTo>
                    <a:lnTo>
                      <a:pt x="0" y="2"/>
                    </a:lnTo>
                    <a:lnTo>
                      <a:pt x="299" y="9"/>
                    </a:lnTo>
                    <a:lnTo>
                      <a:pt x="483" y="20"/>
                    </a:lnTo>
                    <a:lnTo>
                      <a:pt x="672" y="5"/>
                    </a:lnTo>
                    <a:lnTo>
                      <a:pt x="861" y="4"/>
                    </a:lnTo>
                    <a:lnTo>
                      <a:pt x="1053" y="0"/>
                    </a:lnTo>
                    <a:lnTo>
                      <a:pt x="1244" y="11"/>
                    </a:lnTo>
                    <a:lnTo>
                      <a:pt x="1428" y="12"/>
                    </a:lnTo>
                    <a:lnTo>
                      <a:pt x="1620" y="1"/>
                    </a:lnTo>
                    <a:lnTo>
                      <a:pt x="1810" y="12"/>
                    </a:lnTo>
                    <a:lnTo>
                      <a:pt x="2001" y="5"/>
                    </a:lnTo>
                    <a:lnTo>
                      <a:pt x="2192" y="20"/>
                    </a:lnTo>
                    <a:lnTo>
                      <a:pt x="2563" y="23"/>
                    </a:lnTo>
                    <a:lnTo>
                      <a:pt x="2754" y="0"/>
                    </a:lnTo>
                    <a:lnTo>
                      <a:pt x="2948" y="15"/>
                    </a:lnTo>
                    <a:lnTo>
                      <a:pt x="3133" y="9"/>
                    </a:lnTo>
                    <a:lnTo>
                      <a:pt x="3325" y="0"/>
                    </a:lnTo>
                    <a:close/>
                  </a:path>
                </a:pathLst>
              </a:custGeom>
              <a:solidFill>
                <a:schemeClr val="accent5"/>
              </a:solidFill>
              <a:ln>
                <a:noFill/>
              </a:ln>
            </p:spPr>
            <p:txBody>
              <a:bodyPr/>
              <a:lstStyle/>
              <a:p>
                <a:endParaRPr lang="de-DE" dirty="0"/>
              </a:p>
            </p:txBody>
          </p:sp>
          <p:sp>
            <p:nvSpPr>
              <p:cNvPr id="818" name="Freeform 326"/>
              <p:cNvSpPr>
                <a:spLocks/>
              </p:cNvSpPr>
              <p:nvPr/>
            </p:nvSpPr>
            <p:spPr bwMode="auto">
              <a:xfrm>
                <a:off x="10979110" y="5647306"/>
                <a:ext cx="55557" cy="15877"/>
              </a:xfrm>
              <a:custGeom>
                <a:avLst/>
                <a:gdLst>
                  <a:gd name="T0" fmla="*/ 51 w 344"/>
                  <a:gd name="T1" fmla="*/ 0 h 101"/>
                  <a:gd name="T2" fmla="*/ 293 w 344"/>
                  <a:gd name="T3" fmla="*/ 0 h 101"/>
                  <a:gd name="T4" fmla="*/ 310 w 344"/>
                  <a:gd name="T5" fmla="*/ 2 h 101"/>
                  <a:gd name="T6" fmla="*/ 323 w 344"/>
                  <a:gd name="T7" fmla="*/ 10 h 101"/>
                  <a:gd name="T8" fmla="*/ 334 w 344"/>
                  <a:gd name="T9" fmla="*/ 21 h 101"/>
                  <a:gd name="T10" fmla="*/ 342 w 344"/>
                  <a:gd name="T11" fmla="*/ 34 h 101"/>
                  <a:gd name="T12" fmla="*/ 344 w 344"/>
                  <a:gd name="T13" fmla="*/ 51 h 101"/>
                  <a:gd name="T14" fmla="*/ 342 w 344"/>
                  <a:gd name="T15" fmla="*/ 66 h 101"/>
                  <a:gd name="T16" fmla="*/ 334 w 344"/>
                  <a:gd name="T17" fmla="*/ 81 h 101"/>
                  <a:gd name="T18" fmla="*/ 323 w 344"/>
                  <a:gd name="T19" fmla="*/ 91 h 101"/>
                  <a:gd name="T20" fmla="*/ 310 w 344"/>
                  <a:gd name="T21" fmla="*/ 99 h 101"/>
                  <a:gd name="T22" fmla="*/ 293 w 344"/>
                  <a:gd name="T23" fmla="*/ 101 h 101"/>
                  <a:gd name="T24" fmla="*/ 51 w 344"/>
                  <a:gd name="T25" fmla="*/ 101 h 101"/>
                  <a:gd name="T26" fmla="*/ 34 w 344"/>
                  <a:gd name="T27" fmla="*/ 99 h 101"/>
                  <a:gd name="T28" fmla="*/ 21 w 344"/>
                  <a:gd name="T29" fmla="*/ 91 h 101"/>
                  <a:gd name="T30" fmla="*/ 10 w 344"/>
                  <a:gd name="T31" fmla="*/ 81 h 101"/>
                  <a:gd name="T32" fmla="*/ 3 w 344"/>
                  <a:gd name="T33" fmla="*/ 66 h 101"/>
                  <a:gd name="T34" fmla="*/ 0 w 344"/>
                  <a:gd name="T35" fmla="*/ 51 h 101"/>
                  <a:gd name="T36" fmla="*/ 3 w 344"/>
                  <a:gd name="T37" fmla="*/ 34 h 101"/>
                  <a:gd name="T38" fmla="*/ 10 w 344"/>
                  <a:gd name="T39" fmla="*/ 21 h 101"/>
                  <a:gd name="T40" fmla="*/ 21 w 344"/>
                  <a:gd name="T41" fmla="*/ 10 h 101"/>
                  <a:gd name="T42" fmla="*/ 34 w 344"/>
                  <a:gd name="T43" fmla="*/ 2 h 101"/>
                  <a:gd name="T44" fmla="*/ 51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1" y="0"/>
                    </a:moveTo>
                    <a:lnTo>
                      <a:pt x="293" y="0"/>
                    </a:lnTo>
                    <a:lnTo>
                      <a:pt x="310" y="2"/>
                    </a:lnTo>
                    <a:lnTo>
                      <a:pt x="323" y="10"/>
                    </a:lnTo>
                    <a:lnTo>
                      <a:pt x="334" y="21"/>
                    </a:lnTo>
                    <a:lnTo>
                      <a:pt x="342" y="34"/>
                    </a:lnTo>
                    <a:lnTo>
                      <a:pt x="344" y="51"/>
                    </a:lnTo>
                    <a:lnTo>
                      <a:pt x="342" y="66"/>
                    </a:lnTo>
                    <a:lnTo>
                      <a:pt x="334" y="81"/>
                    </a:lnTo>
                    <a:lnTo>
                      <a:pt x="323" y="91"/>
                    </a:lnTo>
                    <a:lnTo>
                      <a:pt x="310" y="99"/>
                    </a:lnTo>
                    <a:lnTo>
                      <a:pt x="293" y="101"/>
                    </a:lnTo>
                    <a:lnTo>
                      <a:pt x="51" y="101"/>
                    </a:lnTo>
                    <a:lnTo>
                      <a:pt x="34" y="99"/>
                    </a:lnTo>
                    <a:lnTo>
                      <a:pt x="21" y="91"/>
                    </a:lnTo>
                    <a:lnTo>
                      <a:pt x="10" y="81"/>
                    </a:lnTo>
                    <a:lnTo>
                      <a:pt x="3" y="66"/>
                    </a:lnTo>
                    <a:lnTo>
                      <a:pt x="0" y="51"/>
                    </a:lnTo>
                    <a:lnTo>
                      <a:pt x="3"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819" name="Freeform 327"/>
              <p:cNvSpPr>
                <a:spLocks/>
              </p:cNvSpPr>
              <p:nvPr/>
            </p:nvSpPr>
            <p:spPr bwMode="auto">
              <a:xfrm>
                <a:off x="11037842" y="5652069"/>
                <a:ext cx="55557" cy="17464"/>
              </a:xfrm>
              <a:custGeom>
                <a:avLst/>
                <a:gdLst>
                  <a:gd name="T0" fmla="*/ 51 w 347"/>
                  <a:gd name="T1" fmla="*/ 0 h 101"/>
                  <a:gd name="T2" fmla="*/ 298 w 347"/>
                  <a:gd name="T3" fmla="*/ 0 h 101"/>
                  <a:gd name="T4" fmla="*/ 313 w 347"/>
                  <a:gd name="T5" fmla="*/ 3 h 101"/>
                  <a:gd name="T6" fmla="*/ 328 w 347"/>
                  <a:gd name="T7" fmla="*/ 10 h 101"/>
                  <a:gd name="T8" fmla="*/ 339 w 347"/>
                  <a:gd name="T9" fmla="*/ 21 h 101"/>
                  <a:gd name="T10" fmla="*/ 345 w 347"/>
                  <a:gd name="T11" fmla="*/ 35 h 101"/>
                  <a:gd name="T12" fmla="*/ 347 w 347"/>
                  <a:gd name="T13" fmla="*/ 50 h 101"/>
                  <a:gd name="T14" fmla="*/ 345 w 347"/>
                  <a:gd name="T15" fmla="*/ 67 h 101"/>
                  <a:gd name="T16" fmla="*/ 339 w 347"/>
                  <a:gd name="T17" fmla="*/ 80 h 101"/>
                  <a:gd name="T18" fmla="*/ 328 w 347"/>
                  <a:gd name="T19" fmla="*/ 91 h 101"/>
                  <a:gd name="T20" fmla="*/ 313 w 347"/>
                  <a:gd name="T21" fmla="*/ 98 h 101"/>
                  <a:gd name="T22" fmla="*/ 298 w 347"/>
                  <a:gd name="T23" fmla="*/ 101 h 101"/>
                  <a:gd name="T24" fmla="*/ 51 w 347"/>
                  <a:gd name="T25" fmla="*/ 101 h 101"/>
                  <a:gd name="T26" fmla="*/ 35 w 347"/>
                  <a:gd name="T27" fmla="*/ 98 h 101"/>
                  <a:gd name="T28" fmla="*/ 21 w 347"/>
                  <a:gd name="T29" fmla="*/ 91 h 101"/>
                  <a:gd name="T30" fmla="*/ 10 w 347"/>
                  <a:gd name="T31" fmla="*/ 80 h 101"/>
                  <a:gd name="T32" fmla="*/ 3 w 347"/>
                  <a:gd name="T33" fmla="*/ 67 h 101"/>
                  <a:gd name="T34" fmla="*/ 0 w 347"/>
                  <a:gd name="T35" fmla="*/ 50 h 101"/>
                  <a:gd name="T36" fmla="*/ 3 w 347"/>
                  <a:gd name="T37" fmla="*/ 35 h 101"/>
                  <a:gd name="T38" fmla="*/ 10 w 347"/>
                  <a:gd name="T39" fmla="*/ 21 h 101"/>
                  <a:gd name="T40" fmla="*/ 21 w 347"/>
                  <a:gd name="T41" fmla="*/ 10 h 101"/>
                  <a:gd name="T42" fmla="*/ 35 w 347"/>
                  <a:gd name="T43" fmla="*/ 3 h 101"/>
                  <a:gd name="T44" fmla="*/ 51 w 347"/>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7" h="101">
                    <a:moveTo>
                      <a:pt x="51" y="0"/>
                    </a:moveTo>
                    <a:lnTo>
                      <a:pt x="298" y="0"/>
                    </a:lnTo>
                    <a:lnTo>
                      <a:pt x="313" y="3"/>
                    </a:lnTo>
                    <a:lnTo>
                      <a:pt x="328" y="10"/>
                    </a:lnTo>
                    <a:lnTo>
                      <a:pt x="339" y="21"/>
                    </a:lnTo>
                    <a:lnTo>
                      <a:pt x="345" y="35"/>
                    </a:lnTo>
                    <a:lnTo>
                      <a:pt x="347" y="50"/>
                    </a:lnTo>
                    <a:lnTo>
                      <a:pt x="345" y="67"/>
                    </a:lnTo>
                    <a:lnTo>
                      <a:pt x="339" y="80"/>
                    </a:lnTo>
                    <a:lnTo>
                      <a:pt x="328" y="91"/>
                    </a:lnTo>
                    <a:lnTo>
                      <a:pt x="313" y="98"/>
                    </a:lnTo>
                    <a:lnTo>
                      <a:pt x="298" y="101"/>
                    </a:lnTo>
                    <a:lnTo>
                      <a:pt x="51" y="101"/>
                    </a:lnTo>
                    <a:lnTo>
                      <a:pt x="35" y="98"/>
                    </a:lnTo>
                    <a:lnTo>
                      <a:pt x="21" y="91"/>
                    </a:lnTo>
                    <a:lnTo>
                      <a:pt x="10" y="80"/>
                    </a:lnTo>
                    <a:lnTo>
                      <a:pt x="3" y="67"/>
                    </a:lnTo>
                    <a:lnTo>
                      <a:pt x="0" y="50"/>
                    </a:lnTo>
                    <a:lnTo>
                      <a:pt x="3" y="35"/>
                    </a:lnTo>
                    <a:lnTo>
                      <a:pt x="10" y="21"/>
                    </a:lnTo>
                    <a:lnTo>
                      <a:pt x="21" y="10"/>
                    </a:lnTo>
                    <a:lnTo>
                      <a:pt x="35" y="3"/>
                    </a:lnTo>
                    <a:lnTo>
                      <a:pt x="51" y="0"/>
                    </a:lnTo>
                    <a:close/>
                  </a:path>
                </a:pathLst>
              </a:custGeom>
              <a:solidFill>
                <a:schemeClr val="accent5"/>
              </a:solidFill>
              <a:ln>
                <a:noFill/>
              </a:ln>
            </p:spPr>
            <p:txBody>
              <a:bodyPr/>
              <a:lstStyle/>
              <a:p>
                <a:endParaRPr lang="de-DE" dirty="0"/>
              </a:p>
            </p:txBody>
          </p:sp>
          <p:sp>
            <p:nvSpPr>
              <p:cNvPr id="820" name="Freeform 328"/>
              <p:cNvSpPr>
                <a:spLocks/>
              </p:cNvSpPr>
              <p:nvPr/>
            </p:nvSpPr>
            <p:spPr bwMode="auto">
              <a:xfrm>
                <a:off x="11114034" y="5648893"/>
                <a:ext cx="52382" cy="15877"/>
              </a:xfrm>
              <a:custGeom>
                <a:avLst/>
                <a:gdLst>
                  <a:gd name="T0" fmla="*/ 48 w 325"/>
                  <a:gd name="T1" fmla="*/ 0 h 98"/>
                  <a:gd name="T2" fmla="*/ 276 w 325"/>
                  <a:gd name="T3" fmla="*/ 0 h 98"/>
                  <a:gd name="T4" fmla="*/ 292 w 325"/>
                  <a:gd name="T5" fmla="*/ 3 h 98"/>
                  <a:gd name="T6" fmla="*/ 305 w 325"/>
                  <a:gd name="T7" fmla="*/ 9 h 98"/>
                  <a:gd name="T8" fmla="*/ 315 w 325"/>
                  <a:gd name="T9" fmla="*/ 20 h 98"/>
                  <a:gd name="T10" fmla="*/ 323 w 325"/>
                  <a:gd name="T11" fmla="*/ 34 h 98"/>
                  <a:gd name="T12" fmla="*/ 325 w 325"/>
                  <a:gd name="T13" fmla="*/ 49 h 98"/>
                  <a:gd name="T14" fmla="*/ 323 w 325"/>
                  <a:gd name="T15" fmla="*/ 64 h 98"/>
                  <a:gd name="T16" fmla="*/ 315 w 325"/>
                  <a:gd name="T17" fmla="*/ 78 h 98"/>
                  <a:gd name="T18" fmla="*/ 305 w 325"/>
                  <a:gd name="T19" fmla="*/ 89 h 98"/>
                  <a:gd name="T20" fmla="*/ 292 w 325"/>
                  <a:gd name="T21" fmla="*/ 95 h 98"/>
                  <a:gd name="T22" fmla="*/ 276 w 325"/>
                  <a:gd name="T23" fmla="*/ 98 h 98"/>
                  <a:gd name="T24" fmla="*/ 48 w 325"/>
                  <a:gd name="T25" fmla="*/ 98 h 98"/>
                  <a:gd name="T26" fmla="*/ 33 w 325"/>
                  <a:gd name="T27" fmla="*/ 95 h 98"/>
                  <a:gd name="T28" fmla="*/ 19 w 325"/>
                  <a:gd name="T29" fmla="*/ 89 h 98"/>
                  <a:gd name="T30" fmla="*/ 8 w 325"/>
                  <a:gd name="T31" fmla="*/ 78 h 98"/>
                  <a:gd name="T32" fmla="*/ 2 w 325"/>
                  <a:gd name="T33" fmla="*/ 64 h 98"/>
                  <a:gd name="T34" fmla="*/ 0 w 325"/>
                  <a:gd name="T35" fmla="*/ 49 h 98"/>
                  <a:gd name="T36" fmla="*/ 2 w 325"/>
                  <a:gd name="T37" fmla="*/ 34 h 98"/>
                  <a:gd name="T38" fmla="*/ 8 w 325"/>
                  <a:gd name="T39" fmla="*/ 20 h 98"/>
                  <a:gd name="T40" fmla="*/ 19 w 325"/>
                  <a:gd name="T41" fmla="*/ 9 h 98"/>
                  <a:gd name="T42" fmla="*/ 33 w 325"/>
                  <a:gd name="T43" fmla="*/ 3 h 98"/>
                  <a:gd name="T44" fmla="*/ 48 w 325"/>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5" h="98">
                    <a:moveTo>
                      <a:pt x="48" y="0"/>
                    </a:moveTo>
                    <a:lnTo>
                      <a:pt x="276" y="0"/>
                    </a:lnTo>
                    <a:lnTo>
                      <a:pt x="292" y="3"/>
                    </a:lnTo>
                    <a:lnTo>
                      <a:pt x="305" y="9"/>
                    </a:lnTo>
                    <a:lnTo>
                      <a:pt x="315" y="20"/>
                    </a:lnTo>
                    <a:lnTo>
                      <a:pt x="323" y="34"/>
                    </a:lnTo>
                    <a:lnTo>
                      <a:pt x="325" y="49"/>
                    </a:lnTo>
                    <a:lnTo>
                      <a:pt x="323" y="64"/>
                    </a:lnTo>
                    <a:lnTo>
                      <a:pt x="315" y="78"/>
                    </a:lnTo>
                    <a:lnTo>
                      <a:pt x="305" y="89"/>
                    </a:lnTo>
                    <a:lnTo>
                      <a:pt x="292" y="95"/>
                    </a:lnTo>
                    <a:lnTo>
                      <a:pt x="276" y="98"/>
                    </a:lnTo>
                    <a:lnTo>
                      <a:pt x="48" y="98"/>
                    </a:lnTo>
                    <a:lnTo>
                      <a:pt x="33" y="95"/>
                    </a:lnTo>
                    <a:lnTo>
                      <a:pt x="19" y="89"/>
                    </a:lnTo>
                    <a:lnTo>
                      <a:pt x="8" y="78"/>
                    </a:lnTo>
                    <a:lnTo>
                      <a:pt x="2" y="64"/>
                    </a:lnTo>
                    <a:lnTo>
                      <a:pt x="0" y="49"/>
                    </a:lnTo>
                    <a:lnTo>
                      <a:pt x="2" y="34"/>
                    </a:lnTo>
                    <a:lnTo>
                      <a:pt x="8" y="20"/>
                    </a:lnTo>
                    <a:lnTo>
                      <a:pt x="19" y="9"/>
                    </a:lnTo>
                    <a:lnTo>
                      <a:pt x="33" y="3"/>
                    </a:lnTo>
                    <a:lnTo>
                      <a:pt x="48" y="0"/>
                    </a:lnTo>
                    <a:close/>
                  </a:path>
                </a:pathLst>
              </a:custGeom>
              <a:solidFill>
                <a:schemeClr val="accent5"/>
              </a:solidFill>
              <a:ln>
                <a:noFill/>
              </a:ln>
            </p:spPr>
            <p:txBody>
              <a:bodyPr/>
              <a:lstStyle/>
              <a:p>
                <a:endParaRPr lang="de-DE" dirty="0"/>
              </a:p>
            </p:txBody>
          </p:sp>
          <p:sp>
            <p:nvSpPr>
              <p:cNvPr id="821" name="Freeform 329"/>
              <p:cNvSpPr>
                <a:spLocks/>
              </p:cNvSpPr>
              <p:nvPr/>
            </p:nvSpPr>
            <p:spPr bwMode="auto">
              <a:xfrm>
                <a:off x="11188639" y="5648893"/>
                <a:ext cx="41271" cy="12701"/>
              </a:xfrm>
              <a:custGeom>
                <a:avLst/>
                <a:gdLst>
                  <a:gd name="T0" fmla="*/ 43 w 266"/>
                  <a:gd name="T1" fmla="*/ 0 h 86"/>
                  <a:gd name="T2" fmla="*/ 221 w 266"/>
                  <a:gd name="T3" fmla="*/ 0 h 86"/>
                  <a:gd name="T4" fmla="*/ 236 w 266"/>
                  <a:gd name="T5" fmla="*/ 2 h 86"/>
                  <a:gd name="T6" fmla="*/ 248 w 266"/>
                  <a:gd name="T7" fmla="*/ 9 h 86"/>
                  <a:gd name="T8" fmla="*/ 257 w 266"/>
                  <a:gd name="T9" fmla="*/ 18 h 86"/>
                  <a:gd name="T10" fmla="*/ 264 w 266"/>
                  <a:gd name="T11" fmla="*/ 30 h 86"/>
                  <a:gd name="T12" fmla="*/ 266 w 266"/>
                  <a:gd name="T13" fmla="*/ 43 h 86"/>
                  <a:gd name="T14" fmla="*/ 264 w 266"/>
                  <a:gd name="T15" fmla="*/ 57 h 86"/>
                  <a:gd name="T16" fmla="*/ 257 w 266"/>
                  <a:gd name="T17" fmla="*/ 70 h 86"/>
                  <a:gd name="T18" fmla="*/ 248 w 266"/>
                  <a:gd name="T19" fmla="*/ 78 h 86"/>
                  <a:gd name="T20" fmla="*/ 236 w 266"/>
                  <a:gd name="T21" fmla="*/ 85 h 86"/>
                  <a:gd name="T22" fmla="*/ 221 w 266"/>
                  <a:gd name="T23" fmla="*/ 86 h 86"/>
                  <a:gd name="T24" fmla="*/ 43 w 266"/>
                  <a:gd name="T25" fmla="*/ 86 h 86"/>
                  <a:gd name="T26" fmla="*/ 29 w 266"/>
                  <a:gd name="T27" fmla="*/ 85 h 86"/>
                  <a:gd name="T28" fmla="*/ 18 w 266"/>
                  <a:gd name="T29" fmla="*/ 78 h 86"/>
                  <a:gd name="T30" fmla="*/ 8 w 266"/>
                  <a:gd name="T31" fmla="*/ 70 h 86"/>
                  <a:gd name="T32" fmla="*/ 2 w 266"/>
                  <a:gd name="T33" fmla="*/ 57 h 86"/>
                  <a:gd name="T34" fmla="*/ 0 w 266"/>
                  <a:gd name="T35" fmla="*/ 43 h 86"/>
                  <a:gd name="T36" fmla="*/ 2 w 266"/>
                  <a:gd name="T37" fmla="*/ 30 h 86"/>
                  <a:gd name="T38" fmla="*/ 8 w 266"/>
                  <a:gd name="T39" fmla="*/ 18 h 86"/>
                  <a:gd name="T40" fmla="*/ 18 w 266"/>
                  <a:gd name="T41" fmla="*/ 9 h 86"/>
                  <a:gd name="T42" fmla="*/ 29 w 266"/>
                  <a:gd name="T43" fmla="*/ 2 h 86"/>
                  <a:gd name="T44" fmla="*/ 43 w 266"/>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86">
                    <a:moveTo>
                      <a:pt x="43" y="0"/>
                    </a:moveTo>
                    <a:lnTo>
                      <a:pt x="221" y="0"/>
                    </a:lnTo>
                    <a:lnTo>
                      <a:pt x="236" y="2"/>
                    </a:lnTo>
                    <a:lnTo>
                      <a:pt x="248" y="9"/>
                    </a:lnTo>
                    <a:lnTo>
                      <a:pt x="257" y="18"/>
                    </a:lnTo>
                    <a:lnTo>
                      <a:pt x="264" y="30"/>
                    </a:lnTo>
                    <a:lnTo>
                      <a:pt x="266" y="43"/>
                    </a:lnTo>
                    <a:lnTo>
                      <a:pt x="264" y="57"/>
                    </a:lnTo>
                    <a:lnTo>
                      <a:pt x="257" y="70"/>
                    </a:lnTo>
                    <a:lnTo>
                      <a:pt x="248" y="78"/>
                    </a:lnTo>
                    <a:lnTo>
                      <a:pt x="236" y="85"/>
                    </a:lnTo>
                    <a:lnTo>
                      <a:pt x="221" y="86"/>
                    </a:lnTo>
                    <a:lnTo>
                      <a:pt x="43" y="86"/>
                    </a:lnTo>
                    <a:lnTo>
                      <a:pt x="29" y="85"/>
                    </a:lnTo>
                    <a:lnTo>
                      <a:pt x="18" y="78"/>
                    </a:lnTo>
                    <a:lnTo>
                      <a:pt x="8" y="70"/>
                    </a:lnTo>
                    <a:lnTo>
                      <a:pt x="2" y="57"/>
                    </a:lnTo>
                    <a:lnTo>
                      <a:pt x="0" y="43"/>
                    </a:lnTo>
                    <a:lnTo>
                      <a:pt x="2" y="30"/>
                    </a:lnTo>
                    <a:lnTo>
                      <a:pt x="8" y="18"/>
                    </a:lnTo>
                    <a:lnTo>
                      <a:pt x="18" y="9"/>
                    </a:lnTo>
                    <a:lnTo>
                      <a:pt x="29" y="2"/>
                    </a:lnTo>
                    <a:lnTo>
                      <a:pt x="43" y="0"/>
                    </a:lnTo>
                    <a:close/>
                  </a:path>
                </a:pathLst>
              </a:custGeom>
              <a:solidFill>
                <a:schemeClr val="accent5"/>
              </a:solidFill>
              <a:ln>
                <a:noFill/>
              </a:ln>
            </p:spPr>
            <p:txBody>
              <a:bodyPr/>
              <a:lstStyle/>
              <a:p>
                <a:endParaRPr lang="de-DE" dirty="0"/>
              </a:p>
            </p:txBody>
          </p:sp>
          <p:sp>
            <p:nvSpPr>
              <p:cNvPr id="822" name="Freeform 330"/>
              <p:cNvSpPr>
                <a:spLocks/>
              </p:cNvSpPr>
              <p:nvPr/>
            </p:nvSpPr>
            <p:spPr bwMode="auto">
              <a:xfrm>
                <a:off x="11255308" y="5647306"/>
                <a:ext cx="53970" cy="15877"/>
              </a:xfrm>
              <a:custGeom>
                <a:avLst/>
                <a:gdLst>
                  <a:gd name="T0" fmla="*/ 51 w 338"/>
                  <a:gd name="T1" fmla="*/ 0 h 99"/>
                  <a:gd name="T2" fmla="*/ 287 w 338"/>
                  <a:gd name="T3" fmla="*/ 0 h 99"/>
                  <a:gd name="T4" fmla="*/ 304 w 338"/>
                  <a:gd name="T5" fmla="*/ 2 h 99"/>
                  <a:gd name="T6" fmla="*/ 317 w 338"/>
                  <a:gd name="T7" fmla="*/ 8 h 99"/>
                  <a:gd name="T8" fmla="*/ 328 w 338"/>
                  <a:gd name="T9" fmla="*/ 19 h 99"/>
                  <a:gd name="T10" fmla="*/ 335 w 338"/>
                  <a:gd name="T11" fmla="*/ 33 h 99"/>
                  <a:gd name="T12" fmla="*/ 338 w 338"/>
                  <a:gd name="T13" fmla="*/ 49 h 99"/>
                  <a:gd name="T14" fmla="*/ 335 w 338"/>
                  <a:gd name="T15" fmla="*/ 65 h 99"/>
                  <a:gd name="T16" fmla="*/ 328 w 338"/>
                  <a:gd name="T17" fmla="*/ 78 h 99"/>
                  <a:gd name="T18" fmla="*/ 317 w 338"/>
                  <a:gd name="T19" fmla="*/ 89 h 99"/>
                  <a:gd name="T20" fmla="*/ 304 w 338"/>
                  <a:gd name="T21" fmla="*/ 96 h 99"/>
                  <a:gd name="T22" fmla="*/ 287 w 338"/>
                  <a:gd name="T23" fmla="*/ 99 h 99"/>
                  <a:gd name="T24" fmla="*/ 51 w 338"/>
                  <a:gd name="T25" fmla="*/ 99 h 99"/>
                  <a:gd name="T26" fmla="*/ 34 w 338"/>
                  <a:gd name="T27" fmla="*/ 96 h 99"/>
                  <a:gd name="T28" fmla="*/ 21 w 338"/>
                  <a:gd name="T29" fmla="*/ 89 h 99"/>
                  <a:gd name="T30" fmla="*/ 10 w 338"/>
                  <a:gd name="T31" fmla="*/ 78 h 99"/>
                  <a:gd name="T32" fmla="*/ 3 w 338"/>
                  <a:gd name="T33" fmla="*/ 65 h 99"/>
                  <a:gd name="T34" fmla="*/ 0 w 338"/>
                  <a:gd name="T35" fmla="*/ 49 h 99"/>
                  <a:gd name="T36" fmla="*/ 3 w 338"/>
                  <a:gd name="T37" fmla="*/ 33 h 99"/>
                  <a:gd name="T38" fmla="*/ 10 w 338"/>
                  <a:gd name="T39" fmla="*/ 19 h 99"/>
                  <a:gd name="T40" fmla="*/ 21 w 338"/>
                  <a:gd name="T41" fmla="*/ 8 h 99"/>
                  <a:gd name="T42" fmla="*/ 34 w 338"/>
                  <a:gd name="T43" fmla="*/ 2 h 99"/>
                  <a:gd name="T44" fmla="*/ 51 w 338"/>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8" h="99">
                    <a:moveTo>
                      <a:pt x="51" y="0"/>
                    </a:moveTo>
                    <a:lnTo>
                      <a:pt x="287" y="0"/>
                    </a:lnTo>
                    <a:lnTo>
                      <a:pt x="304" y="2"/>
                    </a:lnTo>
                    <a:lnTo>
                      <a:pt x="317" y="8"/>
                    </a:lnTo>
                    <a:lnTo>
                      <a:pt x="328" y="19"/>
                    </a:lnTo>
                    <a:lnTo>
                      <a:pt x="335" y="33"/>
                    </a:lnTo>
                    <a:lnTo>
                      <a:pt x="338" y="49"/>
                    </a:lnTo>
                    <a:lnTo>
                      <a:pt x="335" y="65"/>
                    </a:lnTo>
                    <a:lnTo>
                      <a:pt x="328" y="78"/>
                    </a:lnTo>
                    <a:lnTo>
                      <a:pt x="317" y="89"/>
                    </a:lnTo>
                    <a:lnTo>
                      <a:pt x="304" y="96"/>
                    </a:lnTo>
                    <a:lnTo>
                      <a:pt x="287" y="99"/>
                    </a:lnTo>
                    <a:lnTo>
                      <a:pt x="51" y="99"/>
                    </a:lnTo>
                    <a:lnTo>
                      <a:pt x="34" y="96"/>
                    </a:lnTo>
                    <a:lnTo>
                      <a:pt x="21" y="89"/>
                    </a:lnTo>
                    <a:lnTo>
                      <a:pt x="10" y="78"/>
                    </a:lnTo>
                    <a:lnTo>
                      <a:pt x="3" y="65"/>
                    </a:lnTo>
                    <a:lnTo>
                      <a:pt x="0" y="49"/>
                    </a:lnTo>
                    <a:lnTo>
                      <a:pt x="3" y="33"/>
                    </a:lnTo>
                    <a:lnTo>
                      <a:pt x="10" y="19"/>
                    </a:lnTo>
                    <a:lnTo>
                      <a:pt x="21" y="8"/>
                    </a:lnTo>
                    <a:lnTo>
                      <a:pt x="34" y="2"/>
                    </a:lnTo>
                    <a:lnTo>
                      <a:pt x="51" y="0"/>
                    </a:lnTo>
                    <a:close/>
                  </a:path>
                </a:pathLst>
              </a:custGeom>
              <a:solidFill>
                <a:schemeClr val="accent5"/>
              </a:solidFill>
              <a:ln>
                <a:noFill/>
              </a:ln>
            </p:spPr>
            <p:txBody>
              <a:bodyPr/>
              <a:lstStyle/>
              <a:p>
                <a:endParaRPr lang="de-DE" dirty="0"/>
              </a:p>
            </p:txBody>
          </p:sp>
          <p:sp>
            <p:nvSpPr>
              <p:cNvPr id="823" name="Freeform 331"/>
              <p:cNvSpPr>
                <a:spLocks/>
              </p:cNvSpPr>
              <p:nvPr/>
            </p:nvSpPr>
            <p:spPr bwMode="auto">
              <a:xfrm>
                <a:off x="11321976" y="5652069"/>
                <a:ext cx="46033" cy="14289"/>
              </a:xfrm>
              <a:custGeom>
                <a:avLst/>
                <a:gdLst>
                  <a:gd name="T0" fmla="*/ 44 w 283"/>
                  <a:gd name="T1" fmla="*/ 0 h 90"/>
                  <a:gd name="T2" fmla="*/ 239 w 283"/>
                  <a:gd name="T3" fmla="*/ 0 h 90"/>
                  <a:gd name="T4" fmla="*/ 253 w 283"/>
                  <a:gd name="T5" fmla="*/ 2 h 90"/>
                  <a:gd name="T6" fmla="*/ 265 w 283"/>
                  <a:gd name="T7" fmla="*/ 8 h 90"/>
                  <a:gd name="T8" fmla="*/ 275 w 283"/>
                  <a:gd name="T9" fmla="*/ 18 h 90"/>
                  <a:gd name="T10" fmla="*/ 281 w 283"/>
                  <a:gd name="T11" fmla="*/ 31 h 90"/>
                  <a:gd name="T12" fmla="*/ 283 w 283"/>
                  <a:gd name="T13" fmla="*/ 44 h 90"/>
                  <a:gd name="T14" fmla="*/ 281 w 283"/>
                  <a:gd name="T15" fmla="*/ 59 h 90"/>
                  <a:gd name="T16" fmla="*/ 275 w 283"/>
                  <a:gd name="T17" fmla="*/ 71 h 90"/>
                  <a:gd name="T18" fmla="*/ 265 w 283"/>
                  <a:gd name="T19" fmla="*/ 81 h 90"/>
                  <a:gd name="T20" fmla="*/ 253 w 283"/>
                  <a:gd name="T21" fmla="*/ 87 h 90"/>
                  <a:gd name="T22" fmla="*/ 239 w 283"/>
                  <a:gd name="T23" fmla="*/ 90 h 90"/>
                  <a:gd name="T24" fmla="*/ 44 w 283"/>
                  <a:gd name="T25" fmla="*/ 90 h 90"/>
                  <a:gd name="T26" fmla="*/ 30 w 283"/>
                  <a:gd name="T27" fmla="*/ 87 h 90"/>
                  <a:gd name="T28" fmla="*/ 17 w 283"/>
                  <a:gd name="T29" fmla="*/ 81 h 90"/>
                  <a:gd name="T30" fmla="*/ 7 w 283"/>
                  <a:gd name="T31" fmla="*/ 71 h 90"/>
                  <a:gd name="T32" fmla="*/ 2 w 283"/>
                  <a:gd name="T33" fmla="*/ 59 h 90"/>
                  <a:gd name="T34" fmla="*/ 0 w 283"/>
                  <a:gd name="T35" fmla="*/ 44 h 90"/>
                  <a:gd name="T36" fmla="*/ 2 w 283"/>
                  <a:gd name="T37" fmla="*/ 31 h 90"/>
                  <a:gd name="T38" fmla="*/ 7 w 283"/>
                  <a:gd name="T39" fmla="*/ 18 h 90"/>
                  <a:gd name="T40" fmla="*/ 17 w 283"/>
                  <a:gd name="T41" fmla="*/ 8 h 90"/>
                  <a:gd name="T42" fmla="*/ 30 w 283"/>
                  <a:gd name="T43" fmla="*/ 2 h 90"/>
                  <a:gd name="T44" fmla="*/ 44 w 283"/>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90">
                    <a:moveTo>
                      <a:pt x="44" y="0"/>
                    </a:moveTo>
                    <a:lnTo>
                      <a:pt x="239" y="0"/>
                    </a:lnTo>
                    <a:lnTo>
                      <a:pt x="253" y="2"/>
                    </a:lnTo>
                    <a:lnTo>
                      <a:pt x="265" y="8"/>
                    </a:lnTo>
                    <a:lnTo>
                      <a:pt x="275" y="18"/>
                    </a:lnTo>
                    <a:lnTo>
                      <a:pt x="281" y="31"/>
                    </a:lnTo>
                    <a:lnTo>
                      <a:pt x="283" y="44"/>
                    </a:lnTo>
                    <a:lnTo>
                      <a:pt x="281" y="59"/>
                    </a:lnTo>
                    <a:lnTo>
                      <a:pt x="275" y="71"/>
                    </a:lnTo>
                    <a:lnTo>
                      <a:pt x="265" y="81"/>
                    </a:lnTo>
                    <a:lnTo>
                      <a:pt x="253" y="87"/>
                    </a:lnTo>
                    <a:lnTo>
                      <a:pt x="239" y="90"/>
                    </a:lnTo>
                    <a:lnTo>
                      <a:pt x="44" y="90"/>
                    </a:lnTo>
                    <a:lnTo>
                      <a:pt x="30" y="87"/>
                    </a:lnTo>
                    <a:lnTo>
                      <a:pt x="17" y="81"/>
                    </a:lnTo>
                    <a:lnTo>
                      <a:pt x="7" y="71"/>
                    </a:lnTo>
                    <a:lnTo>
                      <a:pt x="2" y="59"/>
                    </a:lnTo>
                    <a:lnTo>
                      <a:pt x="0" y="44"/>
                    </a:lnTo>
                    <a:lnTo>
                      <a:pt x="2" y="31"/>
                    </a:lnTo>
                    <a:lnTo>
                      <a:pt x="7" y="18"/>
                    </a:lnTo>
                    <a:lnTo>
                      <a:pt x="17" y="8"/>
                    </a:lnTo>
                    <a:lnTo>
                      <a:pt x="30" y="2"/>
                    </a:lnTo>
                    <a:lnTo>
                      <a:pt x="44" y="0"/>
                    </a:lnTo>
                    <a:close/>
                  </a:path>
                </a:pathLst>
              </a:custGeom>
              <a:solidFill>
                <a:schemeClr val="accent5"/>
              </a:solidFill>
              <a:ln>
                <a:noFill/>
              </a:ln>
            </p:spPr>
            <p:txBody>
              <a:bodyPr/>
              <a:lstStyle/>
              <a:p>
                <a:endParaRPr lang="de-DE" dirty="0"/>
              </a:p>
            </p:txBody>
          </p:sp>
          <p:sp>
            <p:nvSpPr>
              <p:cNvPr id="824" name="Freeform 332"/>
              <p:cNvSpPr>
                <a:spLocks/>
              </p:cNvSpPr>
              <p:nvPr/>
            </p:nvSpPr>
            <p:spPr bwMode="auto">
              <a:xfrm>
                <a:off x="11388644" y="5653656"/>
                <a:ext cx="47620" cy="14289"/>
              </a:xfrm>
              <a:custGeom>
                <a:avLst/>
                <a:gdLst>
                  <a:gd name="T0" fmla="*/ 46 w 304"/>
                  <a:gd name="T1" fmla="*/ 0 h 94"/>
                  <a:gd name="T2" fmla="*/ 257 w 304"/>
                  <a:gd name="T3" fmla="*/ 0 h 94"/>
                  <a:gd name="T4" fmla="*/ 272 w 304"/>
                  <a:gd name="T5" fmla="*/ 2 h 94"/>
                  <a:gd name="T6" fmla="*/ 285 w 304"/>
                  <a:gd name="T7" fmla="*/ 9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7 w 304"/>
                  <a:gd name="T23" fmla="*/ 94 h 94"/>
                  <a:gd name="T24" fmla="*/ 46 w 304"/>
                  <a:gd name="T25" fmla="*/ 94 h 94"/>
                  <a:gd name="T26" fmla="*/ 32 w 304"/>
                  <a:gd name="T27" fmla="*/ 92 h 94"/>
                  <a:gd name="T28" fmla="*/ 18 w 304"/>
                  <a:gd name="T29" fmla="*/ 85 h 94"/>
                  <a:gd name="T30" fmla="*/ 8 w 304"/>
                  <a:gd name="T31" fmla="*/ 75 h 94"/>
                  <a:gd name="T32" fmla="*/ 2 w 304"/>
                  <a:gd name="T33" fmla="*/ 62 h 94"/>
                  <a:gd name="T34" fmla="*/ 0 w 304"/>
                  <a:gd name="T35" fmla="*/ 47 h 94"/>
                  <a:gd name="T36" fmla="*/ 2 w 304"/>
                  <a:gd name="T37" fmla="*/ 32 h 94"/>
                  <a:gd name="T38" fmla="*/ 8 w 304"/>
                  <a:gd name="T39" fmla="*/ 20 h 94"/>
                  <a:gd name="T40" fmla="*/ 18 w 304"/>
                  <a:gd name="T41" fmla="*/ 9 h 94"/>
                  <a:gd name="T42" fmla="*/ 32 w 304"/>
                  <a:gd name="T43" fmla="*/ 2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7" y="0"/>
                    </a:lnTo>
                    <a:lnTo>
                      <a:pt x="272" y="2"/>
                    </a:lnTo>
                    <a:lnTo>
                      <a:pt x="285" y="9"/>
                    </a:lnTo>
                    <a:lnTo>
                      <a:pt x="295" y="20"/>
                    </a:lnTo>
                    <a:lnTo>
                      <a:pt x="302" y="32"/>
                    </a:lnTo>
                    <a:lnTo>
                      <a:pt x="304" y="47"/>
                    </a:lnTo>
                    <a:lnTo>
                      <a:pt x="302" y="62"/>
                    </a:lnTo>
                    <a:lnTo>
                      <a:pt x="295" y="75"/>
                    </a:lnTo>
                    <a:lnTo>
                      <a:pt x="285" y="85"/>
                    </a:lnTo>
                    <a:lnTo>
                      <a:pt x="272" y="92"/>
                    </a:lnTo>
                    <a:lnTo>
                      <a:pt x="257" y="94"/>
                    </a:lnTo>
                    <a:lnTo>
                      <a:pt x="46" y="94"/>
                    </a:lnTo>
                    <a:lnTo>
                      <a:pt x="32" y="92"/>
                    </a:lnTo>
                    <a:lnTo>
                      <a:pt x="18" y="85"/>
                    </a:lnTo>
                    <a:lnTo>
                      <a:pt x="8" y="75"/>
                    </a:lnTo>
                    <a:lnTo>
                      <a:pt x="2" y="62"/>
                    </a:lnTo>
                    <a:lnTo>
                      <a:pt x="0" y="47"/>
                    </a:lnTo>
                    <a:lnTo>
                      <a:pt x="2" y="32"/>
                    </a:lnTo>
                    <a:lnTo>
                      <a:pt x="8" y="20"/>
                    </a:lnTo>
                    <a:lnTo>
                      <a:pt x="18" y="9"/>
                    </a:lnTo>
                    <a:lnTo>
                      <a:pt x="32" y="2"/>
                    </a:lnTo>
                    <a:lnTo>
                      <a:pt x="46" y="0"/>
                    </a:lnTo>
                    <a:close/>
                  </a:path>
                </a:pathLst>
              </a:custGeom>
              <a:solidFill>
                <a:schemeClr val="accent5"/>
              </a:solidFill>
              <a:ln>
                <a:noFill/>
              </a:ln>
            </p:spPr>
            <p:txBody>
              <a:bodyPr/>
              <a:lstStyle/>
              <a:p>
                <a:endParaRPr lang="de-DE" dirty="0"/>
              </a:p>
            </p:txBody>
          </p:sp>
          <p:sp>
            <p:nvSpPr>
              <p:cNvPr id="825" name="Freeform 333"/>
              <p:cNvSpPr>
                <a:spLocks/>
              </p:cNvSpPr>
              <p:nvPr/>
            </p:nvSpPr>
            <p:spPr bwMode="auto">
              <a:xfrm>
                <a:off x="10971173" y="5701287"/>
                <a:ext cx="53970" cy="15877"/>
              </a:xfrm>
              <a:custGeom>
                <a:avLst/>
                <a:gdLst>
                  <a:gd name="T0" fmla="*/ 49 w 341"/>
                  <a:gd name="T1" fmla="*/ 0 h 100"/>
                  <a:gd name="T2" fmla="*/ 291 w 341"/>
                  <a:gd name="T3" fmla="*/ 0 h 100"/>
                  <a:gd name="T4" fmla="*/ 307 w 341"/>
                  <a:gd name="T5" fmla="*/ 2 h 100"/>
                  <a:gd name="T6" fmla="*/ 320 w 341"/>
                  <a:gd name="T7" fmla="*/ 10 h 100"/>
                  <a:gd name="T8" fmla="*/ 332 w 341"/>
                  <a:gd name="T9" fmla="*/ 21 h 100"/>
                  <a:gd name="T10" fmla="*/ 338 w 341"/>
                  <a:gd name="T11" fmla="*/ 34 h 100"/>
                  <a:gd name="T12" fmla="*/ 341 w 341"/>
                  <a:gd name="T13" fmla="*/ 49 h 100"/>
                  <a:gd name="T14" fmla="*/ 338 w 341"/>
                  <a:gd name="T15" fmla="*/ 66 h 100"/>
                  <a:gd name="T16" fmla="*/ 332 w 341"/>
                  <a:gd name="T17" fmla="*/ 79 h 100"/>
                  <a:gd name="T18" fmla="*/ 320 w 341"/>
                  <a:gd name="T19" fmla="*/ 90 h 100"/>
                  <a:gd name="T20" fmla="*/ 307 w 341"/>
                  <a:gd name="T21" fmla="*/ 97 h 100"/>
                  <a:gd name="T22" fmla="*/ 291 w 341"/>
                  <a:gd name="T23" fmla="*/ 100 h 100"/>
                  <a:gd name="T24" fmla="*/ 49 w 341"/>
                  <a:gd name="T25" fmla="*/ 100 h 100"/>
                  <a:gd name="T26" fmla="*/ 34 w 341"/>
                  <a:gd name="T27" fmla="*/ 97 h 100"/>
                  <a:gd name="T28" fmla="*/ 20 w 341"/>
                  <a:gd name="T29" fmla="*/ 90 h 100"/>
                  <a:gd name="T30" fmla="*/ 10 w 341"/>
                  <a:gd name="T31" fmla="*/ 79 h 100"/>
                  <a:gd name="T32" fmla="*/ 2 w 341"/>
                  <a:gd name="T33" fmla="*/ 66 h 100"/>
                  <a:gd name="T34" fmla="*/ 0 w 341"/>
                  <a:gd name="T35" fmla="*/ 49 h 100"/>
                  <a:gd name="T36" fmla="*/ 2 w 341"/>
                  <a:gd name="T37" fmla="*/ 34 h 100"/>
                  <a:gd name="T38" fmla="*/ 10 w 341"/>
                  <a:gd name="T39" fmla="*/ 21 h 100"/>
                  <a:gd name="T40" fmla="*/ 20 w 341"/>
                  <a:gd name="T41" fmla="*/ 10 h 100"/>
                  <a:gd name="T42" fmla="*/ 34 w 341"/>
                  <a:gd name="T43" fmla="*/ 2 h 100"/>
                  <a:gd name="T44" fmla="*/ 49 w 341"/>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1" h="100">
                    <a:moveTo>
                      <a:pt x="49" y="0"/>
                    </a:moveTo>
                    <a:lnTo>
                      <a:pt x="291" y="0"/>
                    </a:lnTo>
                    <a:lnTo>
                      <a:pt x="307" y="2"/>
                    </a:lnTo>
                    <a:lnTo>
                      <a:pt x="320" y="10"/>
                    </a:lnTo>
                    <a:lnTo>
                      <a:pt x="332" y="21"/>
                    </a:lnTo>
                    <a:lnTo>
                      <a:pt x="338" y="34"/>
                    </a:lnTo>
                    <a:lnTo>
                      <a:pt x="341" y="49"/>
                    </a:lnTo>
                    <a:lnTo>
                      <a:pt x="338" y="66"/>
                    </a:lnTo>
                    <a:lnTo>
                      <a:pt x="332" y="79"/>
                    </a:lnTo>
                    <a:lnTo>
                      <a:pt x="320" y="90"/>
                    </a:lnTo>
                    <a:lnTo>
                      <a:pt x="307" y="97"/>
                    </a:lnTo>
                    <a:lnTo>
                      <a:pt x="291" y="100"/>
                    </a:lnTo>
                    <a:lnTo>
                      <a:pt x="49" y="100"/>
                    </a:lnTo>
                    <a:lnTo>
                      <a:pt x="34" y="97"/>
                    </a:lnTo>
                    <a:lnTo>
                      <a:pt x="20" y="90"/>
                    </a:lnTo>
                    <a:lnTo>
                      <a:pt x="10" y="79"/>
                    </a:lnTo>
                    <a:lnTo>
                      <a:pt x="2" y="66"/>
                    </a:lnTo>
                    <a:lnTo>
                      <a:pt x="0" y="49"/>
                    </a:lnTo>
                    <a:lnTo>
                      <a:pt x="2" y="34"/>
                    </a:lnTo>
                    <a:lnTo>
                      <a:pt x="10" y="21"/>
                    </a:lnTo>
                    <a:lnTo>
                      <a:pt x="20" y="10"/>
                    </a:lnTo>
                    <a:lnTo>
                      <a:pt x="34" y="2"/>
                    </a:lnTo>
                    <a:lnTo>
                      <a:pt x="49" y="0"/>
                    </a:lnTo>
                    <a:close/>
                  </a:path>
                </a:pathLst>
              </a:custGeom>
              <a:solidFill>
                <a:schemeClr val="accent5"/>
              </a:solidFill>
              <a:ln>
                <a:noFill/>
              </a:ln>
            </p:spPr>
            <p:txBody>
              <a:bodyPr/>
              <a:lstStyle/>
              <a:p>
                <a:endParaRPr lang="de-DE" dirty="0"/>
              </a:p>
            </p:txBody>
          </p:sp>
          <p:sp>
            <p:nvSpPr>
              <p:cNvPr id="826" name="Freeform 334"/>
              <p:cNvSpPr>
                <a:spLocks/>
              </p:cNvSpPr>
              <p:nvPr/>
            </p:nvSpPr>
            <p:spPr bwMode="auto">
              <a:xfrm>
                <a:off x="11053715" y="5704462"/>
                <a:ext cx="41271" cy="14289"/>
              </a:xfrm>
              <a:custGeom>
                <a:avLst/>
                <a:gdLst>
                  <a:gd name="T0" fmla="*/ 43 w 261"/>
                  <a:gd name="T1" fmla="*/ 0 h 87"/>
                  <a:gd name="T2" fmla="*/ 218 w 261"/>
                  <a:gd name="T3" fmla="*/ 0 h 87"/>
                  <a:gd name="T4" fmla="*/ 231 w 261"/>
                  <a:gd name="T5" fmla="*/ 3 h 87"/>
                  <a:gd name="T6" fmla="*/ 243 w 261"/>
                  <a:gd name="T7" fmla="*/ 9 h 87"/>
                  <a:gd name="T8" fmla="*/ 252 w 261"/>
                  <a:gd name="T9" fmla="*/ 18 h 87"/>
                  <a:gd name="T10" fmla="*/ 259 w 261"/>
                  <a:gd name="T11" fmla="*/ 30 h 87"/>
                  <a:gd name="T12" fmla="*/ 261 w 261"/>
                  <a:gd name="T13" fmla="*/ 43 h 87"/>
                  <a:gd name="T14" fmla="*/ 259 w 261"/>
                  <a:gd name="T15" fmla="*/ 57 h 87"/>
                  <a:gd name="T16" fmla="*/ 252 w 261"/>
                  <a:gd name="T17" fmla="*/ 69 h 87"/>
                  <a:gd name="T18" fmla="*/ 243 w 261"/>
                  <a:gd name="T19" fmla="*/ 78 h 87"/>
                  <a:gd name="T20" fmla="*/ 231 w 261"/>
                  <a:gd name="T21" fmla="*/ 84 h 87"/>
                  <a:gd name="T22" fmla="*/ 218 w 261"/>
                  <a:gd name="T23" fmla="*/ 87 h 87"/>
                  <a:gd name="T24" fmla="*/ 43 w 261"/>
                  <a:gd name="T25" fmla="*/ 87 h 87"/>
                  <a:gd name="T26" fmla="*/ 28 w 261"/>
                  <a:gd name="T27" fmla="*/ 84 h 87"/>
                  <a:gd name="T28" fmla="*/ 17 w 261"/>
                  <a:gd name="T29" fmla="*/ 78 h 87"/>
                  <a:gd name="T30" fmla="*/ 7 w 261"/>
                  <a:gd name="T31" fmla="*/ 69 h 87"/>
                  <a:gd name="T32" fmla="*/ 2 w 261"/>
                  <a:gd name="T33" fmla="*/ 57 h 87"/>
                  <a:gd name="T34" fmla="*/ 0 w 261"/>
                  <a:gd name="T35" fmla="*/ 43 h 87"/>
                  <a:gd name="T36" fmla="*/ 2 w 261"/>
                  <a:gd name="T37" fmla="*/ 30 h 87"/>
                  <a:gd name="T38" fmla="*/ 7 w 261"/>
                  <a:gd name="T39" fmla="*/ 18 h 87"/>
                  <a:gd name="T40" fmla="*/ 17 w 261"/>
                  <a:gd name="T41" fmla="*/ 9 h 87"/>
                  <a:gd name="T42" fmla="*/ 28 w 261"/>
                  <a:gd name="T43" fmla="*/ 3 h 87"/>
                  <a:gd name="T44" fmla="*/ 43 w 26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7">
                    <a:moveTo>
                      <a:pt x="43" y="0"/>
                    </a:moveTo>
                    <a:lnTo>
                      <a:pt x="218" y="0"/>
                    </a:lnTo>
                    <a:lnTo>
                      <a:pt x="231" y="3"/>
                    </a:lnTo>
                    <a:lnTo>
                      <a:pt x="243" y="9"/>
                    </a:lnTo>
                    <a:lnTo>
                      <a:pt x="252" y="18"/>
                    </a:lnTo>
                    <a:lnTo>
                      <a:pt x="259" y="30"/>
                    </a:lnTo>
                    <a:lnTo>
                      <a:pt x="261" y="43"/>
                    </a:lnTo>
                    <a:lnTo>
                      <a:pt x="259" y="57"/>
                    </a:lnTo>
                    <a:lnTo>
                      <a:pt x="252" y="69"/>
                    </a:lnTo>
                    <a:lnTo>
                      <a:pt x="243" y="78"/>
                    </a:lnTo>
                    <a:lnTo>
                      <a:pt x="231" y="84"/>
                    </a:lnTo>
                    <a:lnTo>
                      <a:pt x="218" y="87"/>
                    </a:lnTo>
                    <a:lnTo>
                      <a:pt x="43" y="87"/>
                    </a:lnTo>
                    <a:lnTo>
                      <a:pt x="28" y="84"/>
                    </a:lnTo>
                    <a:lnTo>
                      <a:pt x="17" y="78"/>
                    </a:lnTo>
                    <a:lnTo>
                      <a:pt x="7" y="69"/>
                    </a:lnTo>
                    <a:lnTo>
                      <a:pt x="2" y="57"/>
                    </a:lnTo>
                    <a:lnTo>
                      <a:pt x="0" y="43"/>
                    </a:lnTo>
                    <a:lnTo>
                      <a:pt x="2" y="30"/>
                    </a:lnTo>
                    <a:lnTo>
                      <a:pt x="7" y="18"/>
                    </a:lnTo>
                    <a:lnTo>
                      <a:pt x="17" y="9"/>
                    </a:lnTo>
                    <a:lnTo>
                      <a:pt x="28" y="3"/>
                    </a:lnTo>
                    <a:lnTo>
                      <a:pt x="43" y="0"/>
                    </a:lnTo>
                    <a:close/>
                  </a:path>
                </a:pathLst>
              </a:custGeom>
              <a:solidFill>
                <a:schemeClr val="accent5"/>
              </a:solidFill>
              <a:ln>
                <a:noFill/>
              </a:ln>
            </p:spPr>
            <p:txBody>
              <a:bodyPr/>
              <a:lstStyle/>
              <a:p>
                <a:endParaRPr lang="de-DE" dirty="0"/>
              </a:p>
            </p:txBody>
          </p:sp>
          <p:sp>
            <p:nvSpPr>
              <p:cNvPr id="827" name="Freeform 335"/>
              <p:cNvSpPr>
                <a:spLocks/>
              </p:cNvSpPr>
              <p:nvPr/>
            </p:nvSpPr>
            <p:spPr bwMode="auto">
              <a:xfrm>
                <a:off x="11110859" y="5701287"/>
                <a:ext cx="47620" cy="14289"/>
              </a:xfrm>
              <a:custGeom>
                <a:avLst/>
                <a:gdLst>
                  <a:gd name="T0" fmla="*/ 46 w 295"/>
                  <a:gd name="T1" fmla="*/ 0 h 91"/>
                  <a:gd name="T2" fmla="*/ 249 w 295"/>
                  <a:gd name="T3" fmla="*/ 0 h 91"/>
                  <a:gd name="T4" fmla="*/ 263 w 295"/>
                  <a:gd name="T5" fmla="*/ 2 h 91"/>
                  <a:gd name="T6" fmla="*/ 276 w 295"/>
                  <a:gd name="T7" fmla="*/ 9 h 91"/>
                  <a:gd name="T8" fmla="*/ 286 w 295"/>
                  <a:gd name="T9" fmla="*/ 18 h 91"/>
                  <a:gd name="T10" fmla="*/ 293 w 295"/>
                  <a:gd name="T11" fmla="*/ 31 h 91"/>
                  <a:gd name="T12" fmla="*/ 295 w 295"/>
                  <a:gd name="T13" fmla="*/ 45 h 91"/>
                  <a:gd name="T14" fmla="*/ 293 w 295"/>
                  <a:gd name="T15" fmla="*/ 60 h 91"/>
                  <a:gd name="T16" fmla="*/ 286 w 295"/>
                  <a:gd name="T17" fmla="*/ 73 h 91"/>
                  <a:gd name="T18" fmla="*/ 276 w 295"/>
                  <a:gd name="T19" fmla="*/ 83 h 91"/>
                  <a:gd name="T20" fmla="*/ 263 w 295"/>
                  <a:gd name="T21" fmla="*/ 89 h 91"/>
                  <a:gd name="T22" fmla="*/ 249 w 295"/>
                  <a:gd name="T23" fmla="*/ 91 h 91"/>
                  <a:gd name="T24" fmla="*/ 46 w 295"/>
                  <a:gd name="T25" fmla="*/ 91 h 91"/>
                  <a:gd name="T26" fmla="*/ 32 w 295"/>
                  <a:gd name="T27" fmla="*/ 89 h 91"/>
                  <a:gd name="T28" fmla="*/ 18 w 295"/>
                  <a:gd name="T29" fmla="*/ 83 h 91"/>
                  <a:gd name="T30" fmla="*/ 8 w 295"/>
                  <a:gd name="T31" fmla="*/ 73 h 91"/>
                  <a:gd name="T32" fmla="*/ 3 w 295"/>
                  <a:gd name="T33" fmla="*/ 60 h 91"/>
                  <a:gd name="T34" fmla="*/ 0 w 295"/>
                  <a:gd name="T35" fmla="*/ 45 h 91"/>
                  <a:gd name="T36" fmla="*/ 3 w 295"/>
                  <a:gd name="T37" fmla="*/ 31 h 91"/>
                  <a:gd name="T38" fmla="*/ 8 w 295"/>
                  <a:gd name="T39" fmla="*/ 18 h 91"/>
                  <a:gd name="T40" fmla="*/ 18 w 295"/>
                  <a:gd name="T41" fmla="*/ 9 h 91"/>
                  <a:gd name="T42" fmla="*/ 32 w 295"/>
                  <a:gd name="T43" fmla="*/ 2 h 91"/>
                  <a:gd name="T44" fmla="*/ 46 w 295"/>
                  <a:gd name="T4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5" h="91">
                    <a:moveTo>
                      <a:pt x="46" y="0"/>
                    </a:moveTo>
                    <a:lnTo>
                      <a:pt x="249" y="0"/>
                    </a:lnTo>
                    <a:lnTo>
                      <a:pt x="263" y="2"/>
                    </a:lnTo>
                    <a:lnTo>
                      <a:pt x="276" y="9"/>
                    </a:lnTo>
                    <a:lnTo>
                      <a:pt x="286" y="18"/>
                    </a:lnTo>
                    <a:lnTo>
                      <a:pt x="293" y="31"/>
                    </a:lnTo>
                    <a:lnTo>
                      <a:pt x="295" y="45"/>
                    </a:lnTo>
                    <a:lnTo>
                      <a:pt x="293" y="60"/>
                    </a:lnTo>
                    <a:lnTo>
                      <a:pt x="286" y="73"/>
                    </a:lnTo>
                    <a:lnTo>
                      <a:pt x="276" y="83"/>
                    </a:lnTo>
                    <a:lnTo>
                      <a:pt x="263" y="89"/>
                    </a:lnTo>
                    <a:lnTo>
                      <a:pt x="249" y="91"/>
                    </a:lnTo>
                    <a:lnTo>
                      <a:pt x="46" y="91"/>
                    </a:lnTo>
                    <a:lnTo>
                      <a:pt x="32" y="89"/>
                    </a:lnTo>
                    <a:lnTo>
                      <a:pt x="18" y="83"/>
                    </a:lnTo>
                    <a:lnTo>
                      <a:pt x="8" y="73"/>
                    </a:lnTo>
                    <a:lnTo>
                      <a:pt x="3" y="60"/>
                    </a:lnTo>
                    <a:lnTo>
                      <a:pt x="0" y="45"/>
                    </a:lnTo>
                    <a:lnTo>
                      <a:pt x="3" y="31"/>
                    </a:lnTo>
                    <a:lnTo>
                      <a:pt x="8" y="18"/>
                    </a:lnTo>
                    <a:lnTo>
                      <a:pt x="18" y="9"/>
                    </a:lnTo>
                    <a:lnTo>
                      <a:pt x="32" y="2"/>
                    </a:lnTo>
                    <a:lnTo>
                      <a:pt x="46" y="0"/>
                    </a:lnTo>
                    <a:close/>
                  </a:path>
                </a:pathLst>
              </a:custGeom>
              <a:solidFill>
                <a:schemeClr val="accent5"/>
              </a:solidFill>
              <a:ln>
                <a:noFill/>
              </a:ln>
            </p:spPr>
            <p:txBody>
              <a:bodyPr/>
              <a:lstStyle/>
              <a:p>
                <a:endParaRPr lang="de-DE" dirty="0"/>
              </a:p>
            </p:txBody>
          </p:sp>
          <p:sp>
            <p:nvSpPr>
              <p:cNvPr id="828" name="Freeform 336"/>
              <p:cNvSpPr>
                <a:spLocks/>
              </p:cNvSpPr>
              <p:nvPr/>
            </p:nvSpPr>
            <p:spPr bwMode="auto">
              <a:xfrm>
                <a:off x="11188639" y="5706050"/>
                <a:ext cx="46033" cy="14289"/>
              </a:xfrm>
              <a:custGeom>
                <a:avLst/>
                <a:gdLst>
                  <a:gd name="T0" fmla="*/ 46 w 292"/>
                  <a:gd name="T1" fmla="*/ 0 h 90"/>
                  <a:gd name="T2" fmla="*/ 246 w 292"/>
                  <a:gd name="T3" fmla="*/ 0 h 90"/>
                  <a:gd name="T4" fmla="*/ 261 w 292"/>
                  <a:gd name="T5" fmla="*/ 2 h 90"/>
                  <a:gd name="T6" fmla="*/ 273 w 292"/>
                  <a:gd name="T7" fmla="*/ 8 h 90"/>
                  <a:gd name="T8" fmla="*/ 283 w 292"/>
                  <a:gd name="T9" fmla="*/ 17 h 90"/>
                  <a:gd name="T10" fmla="*/ 289 w 292"/>
                  <a:gd name="T11" fmla="*/ 31 h 90"/>
                  <a:gd name="T12" fmla="*/ 292 w 292"/>
                  <a:gd name="T13" fmla="*/ 45 h 90"/>
                  <a:gd name="T14" fmla="*/ 289 w 292"/>
                  <a:gd name="T15" fmla="*/ 59 h 90"/>
                  <a:gd name="T16" fmla="*/ 283 w 292"/>
                  <a:gd name="T17" fmla="*/ 71 h 90"/>
                  <a:gd name="T18" fmla="*/ 273 w 292"/>
                  <a:gd name="T19" fmla="*/ 81 h 90"/>
                  <a:gd name="T20" fmla="*/ 261 w 292"/>
                  <a:gd name="T21" fmla="*/ 88 h 90"/>
                  <a:gd name="T22" fmla="*/ 246 w 292"/>
                  <a:gd name="T23" fmla="*/ 90 h 90"/>
                  <a:gd name="T24" fmla="*/ 46 w 292"/>
                  <a:gd name="T25" fmla="*/ 90 h 90"/>
                  <a:gd name="T26" fmla="*/ 32 w 292"/>
                  <a:gd name="T27" fmla="*/ 88 h 90"/>
                  <a:gd name="T28" fmla="*/ 18 w 292"/>
                  <a:gd name="T29" fmla="*/ 81 h 90"/>
                  <a:gd name="T30" fmla="*/ 8 w 292"/>
                  <a:gd name="T31" fmla="*/ 71 h 90"/>
                  <a:gd name="T32" fmla="*/ 3 w 292"/>
                  <a:gd name="T33" fmla="*/ 59 h 90"/>
                  <a:gd name="T34" fmla="*/ 0 w 292"/>
                  <a:gd name="T35" fmla="*/ 45 h 90"/>
                  <a:gd name="T36" fmla="*/ 3 w 292"/>
                  <a:gd name="T37" fmla="*/ 31 h 90"/>
                  <a:gd name="T38" fmla="*/ 8 w 292"/>
                  <a:gd name="T39" fmla="*/ 17 h 90"/>
                  <a:gd name="T40" fmla="*/ 18 w 292"/>
                  <a:gd name="T41" fmla="*/ 8 h 90"/>
                  <a:gd name="T42" fmla="*/ 32 w 292"/>
                  <a:gd name="T43" fmla="*/ 2 h 90"/>
                  <a:gd name="T44" fmla="*/ 46 w 292"/>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0">
                    <a:moveTo>
                      <a:pt x="46" y="0"/>
                    </a:moveTo>
                    <a:lnTo>
                      <a:pt x="246" y="0"/>
                    </a:lnTo>
                    <a:lnTo>
                      <a:pt x="261" y="2"/>
                    </a:lnTo>
                    <a:lnTo>
                      <a:pt x="273" y="8"/>
                    </a:lnTo>
                    <a:lnTo>
                      <a:pt x="283" y="17"/>
                    </a:lnTo>
                    <a:lnTo>
                      <a:pt x="289" y="31"/>
                    </a:lnTo>
                    <a:lnTo>
                      <a:pt x="292" y="45"/>
                    </a:lnTo>
                    <a:lnTo>
                      <a:pt x="289" y="59"/>
                    </a:lnTo>
                    <a:lnTo>
                      <a:pt x="283" y="71"/>
                    </a:lnTo>
                    <a:lnTo>
                      <a:pt x="273" y="81"/>
                    </a:lnTo>
                    <a:lnTo>
                      <a:pt x="261" y="88"/>
                    </a:lnTo>
                    <a:lnTo>
                      <a:pt x="246" y="90"/>
                    </a:lnTo>
                    <a:lnTo>
                      <a:pt x="46" y="90"/>
                    </a:lnTo>
                    <a:lnTo>
                      <a:pt x="32" y="88"/>
                    </a:lnTo>
                    <a:lnTo>
                      <a:pt x="18" y="81"/>
                    </a:lnTo>
                    <a:lnTo>
                      <a:pt x="8" y="71"/>
                    </a:lnTo>
                    <a:lnTo>
                      <a:pt x="3" y="59"/>
                    </a:lnTo>
                    <a:lnTo>
                      <a:pt x="0" y="45"/>
                    </a:lnTo>
                    <a:lnTo>
                      <a:pt x="3" y="31"/>
                    </a:lnTo>
                    <a:lnTo>
                      <a:pt x="8" y="17"/>
                    </a:lnTo>
                    <a:lnTo>
                      <a:pt x="18" y="8"/>
                    </a:lnTo>
                    <a:lnTo>
                      <a:pt x="32" y="2"/>
                    </a:lnTo>
                    <a:lnTo>
                      <a:pt x="46" y="0"/>
                    </a:lnTo>
                    <a:close/>
                  </a:path>
                </a:pathLst>
              </a:custGeom>
              <a:solidFill>
                <a:schemeClr val="accent5"/>
              </a:solidFill>
              <a:ln>
                <a:noFill/>
              </a:ln>
            </p:spPr>
            <p:txBody>
              <a:bodyPr/>
              <a:lstStyle/>
              <a:p>
                <a:endParaRPr lang="de-DE" dirty="0"/>
              </a:p>
            </p:txBody>
          </p:sp>
          <p:sp>
            <p:nvSpPr>
              <p:cNvPr id="829" name="Freeform 337"/>
              <p:cNvSpPr>
                <a:spLocks/>
              </p:cNvSpPr>
              <p:nvPr/>
            </p:nvSpPr>
            <p:spPr bwMode="auto">
              <a:xfrm>
                <a:off x="11245784" y="5704462"/>
                <a:ext cx="52382" cy="15877"/>
              </a:xfrm>
              <a:custGeom>
                <a:avLst/>
                <a:gdLst>
                  <a:gd name="T0" fmla="*/ 48 w 329"/>
                  <a:gd name="T1" fmla="*/ 0 h 99"/>
                  <a:gd name="T2" fmla="*/ 281 w 329"/>
                  <a:gd name="T3" fmla="*/ 0 h 99"/>
                  <a:gd name="T4" fmla="*/ 296 w 329"/>
                  <a:gd name="T5" fmla="*/ 4 h 99"/>
                  <a:gd name="T6" fmla="*/ 309 w 329"/>
                  <a:gd name="T7" fmla="*/ 10 h 99"/>
                  <a:gd name="T8" fmla="*/ 320 w 329"/>
                  <a:gd name="T9" fmla="*/ 21 h 99"/>
                  <a:gd name="T10" fmla="*/ 327 w 329"/>
                  <a:gd name="T11" fmla="*/ 35 h 99"/>
                  <a:gd name="T12" fmla="*/ 329 w 329"/>
                  <a:gd name="T13" fmla="*/ 50 h 99"/>
                  <a:gd name="T14" fmla="*/ 327 w 329"/>
                  <a:gd name="T15" fmla="*/ 65 h 99"/>
                  <a:gd name="T16" fmla="*/ 320 w 329"/>
                  <a:gd name="T17" fmla="*/ 79 h 99"/>
                  <a:gd name="T18" fmla="*/ 309 w 329"/>
                  <a:gd name="T19" fmla="*/ 90 h 99"/>
                  <a:gd name="T20" fmla="*/ 296 w 329"/>
                  <a:gd name="T21" fmla="*/ 96 h 99"/>
                  <a:gd name="T22" fmla="*/ 281 w 329"/>
                  <a:gd name="T23" fmla="*/ 99 h 99"/>
                  <a:gd name="T24" fmla="*/ 48 w 329"/>
                  <a:gd name="T25" fmla="*/ 99 h 99"/>
                  <a:gd name="T26" fmla="*/ 33 w 329"/>
                  <a:gd name="T27" fmla="*/ 96 h 99"/>
                  <a:gd name="T28" fmla="*/ 19 w 329"/>
                  <a:gd name="T29" fmla="*/ 90 h 99"/>
                  <a:gd name="T30" fmla="*/ 8 w 329"/>
                  <a:gd name="T31" fmla="*/ 79 h 99"/>
                  <a:gd name="T32" fmla="*/ 2 w 329"/>
                  <a:gd name="T33" fmla="*/ 65 h 99"/>
                  <a:gd name="T34" fmla="*/ 0 w 329"/>
                  <a:gd name="T35" fmla="*/ 50 h 99"/>
                  <a:gd name="T36" fmla="*/ 2 w 329"/>
                  <a:gd name="T37" fmla="*/ 35 h 99"/>
                  <a:gd name="T38" fmla="*/ 8 w 329"/>
                  <a:gd name="T39" fmla="*/ 21 h 99"/>
                  <a:gd name="T40" fmla="*/ 19 w 329"/>
                  <a:gd name="T41" fmla="*/ 10 h 99"/>
                  <a:gd name="T42" fmla="*/ 33 w 329"/>
                  <a:gd name="T43" fmla="*/ 4 h 99"/>
                  <a:gd name="T44" fmla="*/ 48 w 329"/>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99">
                    <a:moveTo>
                      <a:pt x="48" y="0"/>
                    </a:moveTo>
                    <a:lnTo>
                      <a:pt x="281" y="0"/>
                    </a:lnTo>
                    <a:lnTo>
                      <a:pt x="296" y="4"/>
                    </a:lnTo>
                    <a:lnTo>
                      <a:pt x="309" y="10"/>
                    </a:lnTo>
                    <a:lnTo>
                      <a:pt x="320" y="21"/>
                    </a:lnTo>
                    <a:lnTo>
                      <a:pt x="327" y="35"/>
                    </a:lnTo>
                    <a:lnTo>
                      <a:pt x="329" y="50"/>
                    </a:lnTo>
                    <a:lnTo>
                      <a:pt x="327" y="65"/>
                    </a:lnTo>
                    <a:lnTo>
                      <a:pt x="320" y="79"/>
                    </a:lnTo>
                    <a:lnTo>
                      <a:pt x="309" y="90"/>
                    </a:lnTo>
                    <a:lnTo>
                      <a:pt x="296" y="96"/>
                    </a:lnTo>
                    <a:lnTo>
                      <a:pt x="281" y="99"/>
                    </a:lnTo>
                    <a:lnTo>
                      <a:pt x="48" y="99"/>
                    </a:lnTo>
                    <a:lnTo>
                      <a:pt x="33" y="96"/>
                    </a:lnTo>
                    <a:lnTo>
                      <a:pt x="19" y="90"/>
                    </a:lnTo>
                    <a:lnTo>
                      <a:pt x="8" y="79"/>
                    </a:lnTo>
                    <a:lnTo>
                      <a:pt x="2" y="65"/>
                    </a:lnTo>
                    <a:lnTo>
                      <a:pt x="0" y="50"/>
                    </a:lnTo>
                    <a:lnTo>
                      <a:pt x="2" y="35"/>
                    </a:lnTo>
                    <a:lnTo>
                      <a:pt x="8" y="21"/>
                    </a:lnTo>
                    <a:lnTo>
                      <a:pt x="19" y="10"/>
                    </a:lnTo>
                    <a:lnTo>
                      <a:pt x="33" y="4"/>
                    </a:lnTo>
                    <a:lnTo>
                      <a:pt x="48" y="0"/>
                    </a:lnTo>
                    <a:close/>
                  </a:path>
                </a:pathLst>
              </a:custGeom>
              <a:solidFill>
                <a:schemeClr val="accent5"/>
              </a:solidFill>
              <a:ln>
                <a:noFill/>
              </a:ln>
            </p:spPr>
            <p:txBody>
              <a:bodyPr/>
              <a:lstStyle/>
              <a:p>
                <a:endParaRPr lang="de-DE" dirty="0"/>
              </a:p>
            </p:txBody>
          </p:sp>
          <p:sp>
            <p:nvSpPr>
              <p:cNvPr id="830" name="Freeform 338"/>
              <p:cNvSpPr>
                <a:spLocks/>
              </p:cNvSpPr>
              <p:nvPr/>
            </p:nvSpPr>
            <p:spPr bwMode="auto">
              <a:xfrm>
                <a:off x="11310865" y="5706050"/>
                <a:ext cx="55557" cy="15877"/>
              </a:xfrm>
              <a:custGeom>
                <a:avLst/>
                <a:gdLst>
                  <a:gd name="T0" fmla="*/ 50 w 348"/>
                  <a:gd name="T1" fmla="*/ 0 h 102"/>
                  <a:gd name="T2" fmla="*/ 297 w 348"/>
                  <a:gd name="T3" fmla="*/ 0 h 102"/>
                  <a:gd name="T4" fmla="*/ 313 w 348"/>
                  <a:gd name="T5" fmla="*/ 3 h 102"/>
                  <a:gd name="T6" fmla="*/ 327 w 348"/>
                  <a:gd name="T7" fmla="*/ 10 h 102"/>
                  <a:gd name="T8" fmla="*/ 338 w 348"/>
                  <a:gd name="T9" fmla="*/ 21 h 102"/>
                  <a:gd name="T10" fmla="*/ 345 w 348"/>
                  <a:gd name="T11" fmla="*/ 35 h 102"/>
                  <a:gd name="T12" fmla="*/ 348 w 348"/>
                  <a:gd name="T13" fmla="*/ 51 h 102"/>
                  <a:gd name="T14" fmla="*/ 345 w 348"/>
                  <a:gd name="T15" fmla="*/ 68 h 102"/>
                  <a:gd name="T16" fmla="*/ 338 w 348"/>
                  <a:gd name="T17" fmla="*/ 81 h 102"/>
                  <a:gd name="T18" fmla="*/ 327 w 348"/>
                  <a:gd name="T19" fmla="*/ 92 h 102"/>
                  <a:gd name="T20" fmla="*/ 313 w 348"/>
                  <a:gd name="T21" fmla="*/ 100 h 102"/>
                  <a:gd name="T22" fmla="*/ 297 w 348"/>
                  <a:gd name="T23" fmla="*/ 102 h 102"/>
                  <a:gd name="T24" fmla="*/ 50 w 348"/>
                  <a:gd name="T25" fmla="*/ 102 h 102"/>
                  <a:gd name="T26" fmla="*/ 34 w 348"/>
                  <a:gd name="T27" fmla="*/ 100 h 102"/>
                  <a:gd name="T28" fmla="*/ 20 w 348"/>
                  <a:gd name="T29" fmla="*/ 92 h 102"/>
                  <a:gd name="T30" fmla="*/ 10 w 348"/>
                  <a:gd name="T31" fmla="*/ 81 h 102"/>
                  <a:gd name="T32" fmla="*/ 2 w 348"/>
                  <a:gd name="T33" fmla="*/ 68 h 102"/>
                  <a:gd name="T34" fmla="*/ 0 w 348"/>
                  <a:gd name="T35" fmla="*/ 51 h 102"/>
                  <a:gd name="T36" fmla="*/ 2 w 348"/>
                  <a:gd name="T37" fmla="*/ 35 h 102"/>
                  <a:gd name="T38" fmla="*/ 10 w 348"/>
                  <a:gd name="T39" fmla="*/ 21 h 102"/>
                  <a:gd name="T40" fmla="*/ 20 w 348"/>
                  <a:gd name="T41" fmla="*/ 10 h 102"/>
                  <a:gd name="T42" fmla="*/ 34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3" y="3"/>
                    </a:lnTo>
                    <a:lnTo>
                      <a:pt x="327" y="10"/>
                    </a:lnTo>
                    <a:lnTo>
                      <a:pt x="338" y="21"/>
                    </a:lnTo>
                    <a:lnTo>
                      <a:pt x="345" y="35"/>
                    </a:lnTo>
                    <a:lnTo>
                      <a:pt x="348" y="51"/>
                    </a:lnTo>
                    <a:lnTo>
                      <a:pt x="345" y="68"/>
                    </a:lnTo>
                    <a:lnTo>
                      <a:pt x="338" y="81"/>
                    </a:lnTo>
                    <a:lnTo>
                      <a:pt x="327" y="92"/>
                    </a:lnTo>
                    <a:lnTo>
                      <a:pt x="313" y="100"/>
                    </a:lnTo>
                    <a:lnTo>
                      <a:pt x="297" y="102"/>
                    </a:lnTo>
                    <a:lnTo>
                      <a:pt x="50" y="102"/>
                    </a:lnTo>
                    <a:lnTo>
                      <a:pt x="34" y="100"/>
                    </a:lnTo>
                    <a:lnTo>
                      <a:pt x="20" y="92"/>
                    </a:lnTo>
                    <a:lnTo>
                      <a:pt x="10" y="81"/>
                    </a:lnTo>
                    <a:lnTo>
                      <a:pt x="2" y="68"/>
                    </a:lnTo>
                    <a:lnTo>
                      <a:pt x="0" y="51"/>
                    </a:lnTo>
                    <a:lnTo>
                      <a:pt x="2" y="35"/>
                    </a:lnTo>
                    <a:lnTo>
                      <a:pt x="10" y="21"/>
                    </a:lnTo>
                    <a:lnTo>
                      <a:pt x="20" y="10"/>
                    </a:lnTo>
                    <a:lnTo>
                      <a:pt x="34" y="3"/>
                    </a:lnTo>
                    <a:lnTo>
                      <a:pt x="50" y="0"/>
                    </a:lnTo>
                    <a:close/>
                  </a:path>
                </a:pathLst>
              </a:custGeom>
              <a:solidFill>
                <a:schemeClr val="accent5"/>
              </a:solidFill>
              <a:ln>
                <a:noFill/>
              </a:ln>
            </p:spPr>
            <p:txBody>
              <a:bodyPr/>
              <a:lstStyle/>
              <a:p>
                <a:endParaRPr lang="de-DE" dirty="0"/>
              </a:p>
            </p:txBody>
          </p:sp>
          <p:sp>
            <p:nvSpPr>
              <p:cNvPr id="831" name="Freeform 339"/>
              <p:cNvSpPr>
                <a:spLocks/>
              </p:cNvSpPr>
              <p:nvPr/>
            </p:nvSpPr>
            <p:spPr bwMode="auto">
              <a:xfrm>
                <a:off x="11390232" y="5707637"/>
                <a:ext cx="41271" cy="14289"/>
              </a:xfrm>
              <a:custGeom>
                <a:avLst/>
                <a:gdLst>
                  <a:gd name="T0" fmla="*/ 43 w 268"/>
                  <a:gd name="T1" fmla="*/ 0 h 88"/>
                  <a:gd name="T2" fmla="*/ 225 w 268"/>
                  <a:gd name="T3" fmla="*/ 0 h 88"/>
                  <a:gd name="T4" fmla="*/ 238 w 268"/>
                  <a:gd name="T5" fmla="*/ 3 h 88"/>
                  <a:gd name="T6" fmla="*/ 250 w 268"/>
                  <a:gd name="T7" fmla="*/ 9 h 88"/>
                  <a:gd name="T8" fmla="*/ 260 w 268"/>
                  <a:gd name="T9" fmla="*/ 18 h 88"/>
                  <a:gd name="T10" fmla="*/ 266 w 268"/>
                  <a:gd name="T11" fmla="*/ 30 h 88"/>
                  <a:gd name="T12" fmla="*/ 268 w 268"/>
                  <a:gd name="T13" fmla="*/ 43 h 88"/>
                  <a:gd name="T14" fmla="*/ 266 w 268"/>
                  <a:gd name="T15" fmla="*/ 58 h 88"/>
                  <a:gd name="T16" fmla="*/ 260 w 268"/>
                  <a:gd name="T17" fmla="*/ 70 h 88"/>
                  <a:gd name="T18" fmla="*/ 250 w 268"/>
                  <a:gd name="T19" fmla="*/ 79 h 88"/>
                  <a:gd name="T20" fmla="*/ 238 w 268"/>
                  <a:gd name="T21" fmla="*/ 85 h 88"/>
                  <a:gd name="T22" fmla="*/ 225 w 268"/>
                  <a:gd name="T23" fmla="*/ 88 h 88"/>
                  <a:gd name="T24" fmla="*/ 43 w 268"/>
                  <a:gd name="T25" fmla="*/ 88 h 88"/>
                  <a:gd name="T26" fmla="*/ 30 w 268"/>
                  <a:gd name="T27" fmla="*/ 85 h 88"/>
                  <a:gd name="T28" fmla="*/ 18 w 268"/>
                  <a:gd name="T29" fmla="*/ 79 h 88"/>
                  <a:gd name="T30" fmla="*/ 8 w 268"/>
                  <a:gd name="T31" fmla="*/ 70 h 88"/>
                  <a:gd name="T32" fmla="*/ 2 w 268"/>
                  <a:gd name="T33" fmla="*/ 58 h 88"/>
                  <a:gd name="T34" fmla="*/ 0 w 268"/>
                  <a:gd name="T35" fmla="*/ 43 h 88"/>
                  <a:gd name="T36" fmla="*/ 2 w 268"/>
                  <a:gd name="T37" fmla="*/ 30 h 88"/>
                  <a:gd name="T38" fmla="*/ 8 w 268"/>
                  <a:gd name="T39" fmla="*/ 18 h 88"/>
                  <a:gd name="T40" fmla="*/ 18 w 268"/>
                  <a:gd name="T41" fmla="*/ 9 h 88"/>
                  <a:gd name="T42" fmla="*/ 30 w 268"/>
                  <a:gd name="T43" fmla="*/ 3 h 88"/>
                  <a:gd name="T44" fmla="*/ 43 w 268"/>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8" h="88">
                    <a:moveTo>
                      <a:pt x="43" y="0"/>
                    </a:moveTo>
                    <a:lnTo>
                      <a:pt x="225" y="0"/>
                    </a:lnTo>
                    <a:lnTo>
                      <a:pt x="238" y="3"/>
                    </a:lnTo>
                    <a:lnTo>
                      <a:pt x="250" y="9"/>
                    </a:lnTo>
                    <a:lnTo>
                      <a:pt x="260" y="18"/>
                    </a:lnTo>
                    <a:lnTo>
                      <a:pt x="266" y="30"/>
                    </a:lnTo>
                    <a:lnTo>
                      <a:pt x="268" y="43"/>
                    </a:lnTo>
                    <a:lnTo>
                      <a:pt x="266" y="58"/>
                    </a:lnTo>
                    <a:lnTo>
                      <a:pt x="260" y="70"/>
                    </a:lnTo>
                    <a:lnTo>
                      <a:pt x="250" y="79"/>
                    </a:lnTo>
                    <a:lnTo>
                      <a:pt x="238" y="85"/>
                    </a:lnTo>
                    <a:lnTo>
                      <a:pt x="225" y="88"/>
                    </a:lnTo>
                    <a:lnTo>
                      <a:pt x="43" y="88"/>
                    </a:lnTo>
                    <a:lnTo>
                      <a:pt x="30" y="85"/>
                    </a:lnTo>
                    <a:lnTo>
                      <a:pt x="18" y="79"/>
                    </a:lnTo>
                    <a:lnTo>
                      <a:pt x="8" y="70"/>
                    </a:lnTo>
                    <a:lnTo>
                      <a:pt x="2" y="58"/>
                    </a:lnTo>
                    <a:lnTo>
                      <a:pt x="0" y="43"/>
                    </a:lnTo>
                    <a:lnTo>
                      <a:pt x="2" y="30"/>
                    </a:lnTo>
                    <a:lnTo>
                      <a:pt x="8" y="18"/>
                    </a:lnTo>
                    <a:lnTo>
                      <a:pt x="18" y="9"/>
                    </a:lnTo>
                    <a:lnTo>
                      <a:pt x="30" y="3"/>
                    </a:lnTo>
                    <a:lnTo>
                      <a:pt x="43" y="0"/>
                    </a:lnTo>
                    <a:close/>
                  </a:path>
                </a:pathLst>
              </a:custGeom>
              <a:solidFill>
                <a:schemeClr val="accent5"/>
              </a:solidFill>
              <a:ln>
                <a:noFill/>
              </a:ln>
            </p:spPr>
            <p:txBody>
              <a:bodyPr/>
              <a:lstStyle/>
              <a:p>
                <a:endParaRPr lang="de-DE" dirty="0"/>
              </a:p>
            </p:txBody>
          </p:sp>
          <p:sp>
            <p:nvSpPr>
              <p:cNvPr id="832" name="Freeform 340"/>
              <p:cNvSpPr>
                <a:spLocks/>
              </p:cNvSpPr>
              <p:nvPr/>
            </p:nvSpPr>
            <p:spPr bwMode="auto">
              <a:xfrm>
                <a:off x="10974348" y="5760031"/>
                <a:ext cx="53970" cy="15877"/>
              </a:xfrm>
              <a:custGeom>
                <a:avLst/>
                <a:gdLst>
                  <a:gd name="T0" fmla="*/ 50 w 344"/>
                  <a:gd name="T1" fmla="*/ 0 h 101"/>
                  <a:gd name="T2" fmla="*/ 294 w 344"/>
                  <a:gd name="T3" fmla="*/ 0 h 101"/>
                  <a:gd name="T4" fmla="*/ 309 w 344"/>
                  <a:gd name="T5" fmla="*/ 3 h 101"/>
                  <a:gd name="T6" fmla="*/ 324 w 344"/>
                  <a:gd name="T7" fmla="*/ 10 h 101"/>
                  <a:gd name="T8" fmla="*/ 335 w 344"/>
                  <a:gd name="T9" fmla="*/ 21 h 101"/>
                  <a:gd name="T10" fmla="*/ 341 w 344"/>
                  <a:gd name="T11" fmla="*/ 35 h 101"/>
                  <a:gd name="T12" fmla="*/ 344 w 344"/>
                  <a:gd name="T13" fmla="*/ 51 h 101"/>
                  <a:gd name="T14" fmla="*/ 341 w 344"/>
                  <a:gd name="T15" fmla="*/ 66 h 101"/>
                  <a:gd name="T16" fmla="*/ 335 w 344"/>
                  <a:gd name="T17" fmla="*/ 80 h 101"/>
                  <a:gd name="T18" fmla="*/ 324 w 344"/>
                  <a:gd name="T19" fmla="*/ 91 h 101"/>
                  <a:gd name="T20" fmla="*/ 309 w 344"/>
                  <a:gd name="T21" fmla="*/ 98 h 101"/>
                  <a:gd name="T22" fmla="*/ 294 w 344"/>
                  <a:gd name="T23" fmla="*/ 101 h 101"/>
                  <a:gd name="T24" fmla="*/ 50 w 344"/>
                  <a:gd name="T25" fmla="*/ 101 h 101"/>
                  <a:gd name="T26" fmla="*/ 35 w 344"/>
                  <a:gd name="T27" fmla="*/ 98 h 101"/>
                  <a:gd name="T28" fmla="*/ 21 w 344"/>
                  <a:gd name="T29" fmla="*/ 91 h 101"/>
                  <a:gd name="T30" fmla="*/ 9 w 344"/>
                  <a:gd name="T31" fmla="*/ 80 h 101"/>
                  <a:gd name="T32" fmla="*/ 3 w 344"/>
                  <a:gd name="T33" fmla="*/ 66 h 101"/>
                  <a:gd name="T34" fmla="*/ 0 w 344"/>
                  <a:gd name="T35" fmla="*/ 51 h 101"/>
                  <a:gd name="T36" fmla="*/ 3 w 344"/>
                  <a:gd name="T37" fmla="*/ 35 h 101"/>
                  <a:gd name="T38" fmla="*/ 9 w 344"/>
                  <a:gd name="T39" fmla="*/ 21 h 101"/>
                  <a:gd name="T40" fmla="*/ 21 w 344"/>
                  <a:gd name="T41" fmla="*/ 10 h 101"/>
                  <a:gd name="T42" fmla="*/ 35 w 344"/>
                  <a:gd name="T43" fmla="*/ 3 h 101"/>
                  <a:gd name="T44" fmla="*/ 50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0" y="0"/>
                    </a:moveTo>
                    <a:lnTo>
                      <a:pt x="294" y="0"/>
                    </a:lnTo>
                    <a:lnTo>
                      <a:pt x="309" y="3"/>
                    </a:lnTo>
                    <a:lnTo>
                      <a:pt x="324" y="10"/>
                    </a:lnTo>
                    <a:lnTo>
                      <a:pt x="335" y="21"/>
                    </a:lnTo>
                    <a:lnTo>
                      <a:pt x="341" y="35"/>
                    </a:lnTo>
                    <a:lnTo>
                      <a:pt x="344" y="51"/>
                    </a:lnTo>
                    <a:lnTo>
                      <a:pt x="341" y="66"/>
                    </a:lnTo>
                    <a:lnTo>
                      <a:pt x="335" y="80"/>
                    </a:lnTo>
                    <a:lnTo>
                      <a:pt x="324" y="91"/>
                    </a:lnTo>
                    <a:lnTo>
                      <a:pt x="309" y="98"/>
                    </a:lnTo>
                    <a:lnTo>
                      <a:pt x="294" y="101"/>
                    </a:lnTo>
                    <a:lnTo>
                      <a:pt x="50" y="101"/>
                    </a:lnTo>
                    <a:lnTo>
                      <a:pt x="35" y="98"/>
                    </a:lnTo>
                    <a:lnTo>
                      <a:pt x="21" y="91"/>
                    </a:lnTo>
                    <a:lnTo>
                      <a:pt x="9" y="80"/>
                    </a:lnTo>
                    <a:lnTo>
                      <a:pt x="3" y="66"/>
                    </a:lnTo>
                    <a:lnTo>
                      <a:pt x="0" y="51"/>
                    </a:lnTo>
                    <a:lnTo>
                      <a:pt x="3" y="35"/>
                    </a:lnTo>
                    <a:lnTo>
                      <a:pt x="9" y="21"/>
                    </a:lnTo>
                    <a:lnTo>
                      <a:pt x="21" y="10"/>
                    </a:lnTo>
                    <a:lnTo>
                      <a:pt x="35" y="3"/>
                    </a:lnTo>
                    <a:lnTo>
                      <a:pt x="50" y="0"/>
                    </a:lnTo>
                    <a:close/>
                  </a:path>
                </a:pathLst>
              </a:custGeom>
              <a:solidFill>
                <a:schemeClr val="accent5"/>
              </a:solidFill>
              <a:ln>
                <a:noFill/>
              </a:ln>
            </p:spPr>
            <p:txBody>
              <a:bodyPr/>
              <a:lstStyle/>
              <a:p>
                <a:endParaRPr lang="de-DE" dirty="0"/>
              </a:p>
            </p:txBody>
          </p:sp>
          <p:sp>
            <p:nvSpPr>
              <p:cNvPr id="833" name="Freeform 341"/>
              <p:cNvSpPr>
                <a:spLocks/>
              </p:cNvSpPr>
              <p:nvPr/>
            </p:nvSpPr>
            <p:spPr bwMode="auto">
              <a:xfrm>
                <a:off x="11048953" y="5756856"/>
                <a:ext cx="50795" cy="15877"/>
              </a:xfrm>
              <a:custGeom>
                <a:avLst/>
                <a:gdLst>
                  <a:gd name="T0" fmla="*/ 48 w 312"/>
                  <a:gd name="T1" fmla="*/ 0 h 95"/>
                  <a:gd name="T2" fmla="*/ 265 w 312"/>
                  <a:gd name="T3" fmla="*/ 0 h 95"/>
                  <a:gd name="T4" fmla="*/ 279 w 312"/>
                  <a:gd name="T5" fmla="*/ 3 h 95"/>
                  <a:gd name="T6" fmla="*/ 292 w 312"/>
                  <a:gd name="T7" fmla="*/ 10 h 95"/>
                  <a:gd name="T8" fmla="*/ 302 w 312"/>
                  <a:gd name="T9" fmla="*/ 20 h 95"/>
                  <a:gd name="T10" fmla="*/ 309 w 312"/>
                  <a:gd name="T11" fmla="*/ 33 h 95"/>
                  <a:gd name="T12" fmla="*/ 312 w 312"/>
                  <a:gd name="T13" fmla="*/ 48 h 95"/>
                  <a:gd name="T14" fmla="*/ 309 w 312"/>
                  <a:gd name="T15" fmla="*/ 63 h 95"/>
                  <a:gd name="T16" fmla="*/ 302 w 312"/>
                  <a:gd name="T17" fmla="*/ 76 h 95"/>
                  <a:gd name="T18" fmla="*/ 292 w 312"/>
                  <a:gd name="T19" fmla="*/ 86 h 95"/>
                  <a:gd name="T20" fmla="*/ 279 w 312"/>
                  <a:gd name="T21" fmla="*/ 92 h 95"/>
                  <a:gd name="T22" fmla="*/ 265 w 312"/>
                  <a:gd name="T23" fmla="*/ 95 h 95"/>
                  <a:gd name="T24" fmla="*/ 48 w 312"/>
                  <a:gd name="T25" fmla="*/ 95 h 95"/>
                  <a:gd name="T26" fmla="*/ 32 w 312"/>
                  <a:gd name="T27" fmla="*/ 92 h 95"/>
                  <a:gd name="T28" fmla="*/ 20 w 312"/>
                  <a:gd name="T29" fmla="*/ 86 h 95"/>
                  <a:gd name="T30" fmla="*/ 9 w 312"/>
                  <a:gd name="T31" fmla="*/ 76 h 95"/>
                  <a:gd name="T32" fmla="*/ 2 w 312"/>
                  <a:gd name="T33" fmla="*/ 63 h 95"/>
                  <a:gd name="T34" fmla="*/ 0 w 312"/>
                  <a:gd name="T35" fmla="*/ 48 h 95"/>
                  <a:gd name="T36" fmla="*/ 2 w 312"/>
                  <a:gd name="T37" fmla="*/ 33 h 95"/>
                  <a:gd name="T38" fmla="*/ 9 w 312"/>
                  <a:gd name="T39" fmla="*/ 20 h 95"/>
                  <a:gd name="T40" fmla="*/ 20 w 312"/>
                  <a:gd name="T41" fmla="*/ 10 h 95"/>
                  <a:gd name="T42" fmla="*/ 32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5" y="0"/>
                    </a:lnTo>
                    <a:lnTo>
                      <a:pt x="279" y="3"/>
                    </a:lnTo>
                    <a:lnTo>
                      <a:pt x="292" y="10"/>
                    </a:lnTo>
                    <a:lnTo>
                      <a:pt x="302" y="20"/>
                    </a:lnTo>
                    <a:lnTo>
                      <a:pt x="309" y="33"/>
                    </a:lnTo>
                    <a:lnTo>
                      <a:pt x="312" y="48"/>
                    </a:lnTo>
                    <a:lnTo>
                      <a:pt x="309" y="63"/>
                    </a:lnTo>
                    <a:lnTo>
                      <a:pt x="302" y="76"/>
                    </a:lnTo>
                    <a:lnTo>
                      <a:pt x="292" y="86"/>
                    </a:lnTo>
                    <a:lnTo>
                      <a:pt x="279" y="92"/>
                    </a:lnTo>
                    <a:lnTo>
                      <a:pt x="265" y="95"/>
                    </a:lnTo>
                    <a:lnTo>
                      <a:pt x="48" y="95"/>
                    </a:lnTo>
                    <a:lnTo>
                      <a:pt x="32" y="92"/>
                    </a:lnTo>
                    <a:lnTo>
                      <a:pt x="20" y="86"/>
                    </a:lnTo>
                    <a:lnTo>
                      <a:pt x="9" y="76"/>
                    </a:lnTo>
                    <a:lnTo>
                      <a:pt x="2" y="63"/>
                    </a:lnTo>
                    <a:lnTo>
                      <a:pt x="0" y="48"/>
                    </a:lnTo>
                    <a:lnTo>
                      <a:pt x="2" y="33"/>
                    </a:lnTo>
                    <a:lnTo>
                      <a:pt x="9" y="20"/>
                    </a:lnTo>
                    <a:lnTo>
                      <a:pt x="20" y="10"/>
                    </a:lnTo>
                    <a:lnTo>
                      <a:pt x="32" y="3"/>
                    </a:lnTo>
                    <a:lnTo>
                      <a:pt x="48" y="0"/>
                    </a:lnTo>
                    <a:close/>
                  </a:path>
                </a:pathLst>
              </a:custGeom>
              <a:solidFill>
                <a:schemeClr val="accent5"/>
              </a:solidFill>
              <a:ln>
                <a:noFill/>
              </a:ln>
            </p:spPr>
            <p:txBody>
              <a:bodyPr/>
              <a:lstStyle/>
              <a:p>
                <a:endParaRPr lang="de-DE" dirty="0"/>
              </a:p>
            </p:txBody>
          </p:sp>
          <p:sp>
            <p:nvSpPr>
              <p:cNvPr id="834" name="Freeform 342"/>
              <p:cNvSpPr>
                <a:spLocks/>
              </p:cNvSpPr>
              <p:nvPr/>
            </p:nvSpPr>
            <p:spPr bwMode="auto">
              <a:xfrm>
                <a:off x="11112447" y="5761619"/>
                <a:ext cx="49208" cy="14289"/>
              </a:xfrm>
              <a:custGeom>
                <a:avLst/>
                <a:gdLst>
                  <a:gd name="T0" fmla="*/ 48 w 310"/>
                  <a:gd name="T1" fmla="*/ 0 h 95"/>
                  <a:gd name="T2" fmla="*/ 262 w 310"/>
                  <a:gd name="T3" fmla="*/ 0 h 95"/>
                  <a:gd name="T4" fmla="*/ 278 w 310"/>
                  <a:gd name="T5" fmla="*/ 3 h 95"/>
                  <a:gd name="T6" fmla="*/ 290 w 310"/>
                  <a:gd name="T7" fmla="*/ 9 h 95"/>
                  <a:gd name="T8" fmla="*/ 301 w 310"/>
                  <a:gd name="T9" fmla="*/ 19 h 95"/>
                  <a:gd name="T10" fmla="*/ 308 w 310"/>
                  <a:gd name="T11" fmla="*/ 32 h 95"/>
                  <a:gd name="T12" fmla="*/ 310 w 310"/>
                  <a:gd name="T13" fmla="*/ 48 h 95"/>
                  <a:gd name="T14" fmla="*/ 308 w 310"/>
                  <a:gd name="T15" fmla="*/ 62 h 95"/>
                  <a:gd name="T16" fmla="*/ 301 w 310"/>
                  <a:gd name="T17" fmla="*/ 76 h 95"/>
                  <a:gd name="T18" fmla="*/ 290 w 310"/>
                  <a:gd name="T19" fmla="*/ 85 h 95"/>
                  <a:gd name="T20" fmla="*/ 278 w 310"/>
                  <a:gd name="T21" fmla="*/ 92 h 95"/>
                  <a:gd name="T22" fmla="*/ 262 w 310"/>
                  <a:gd name="T23" fmla="*/ 95 h 95"/>
                  <a:gd name="T24" fmla="*/ 48 w 310"/>
                  <a:gd name="T25" fmla="*/ 95 h 95"/>
                  <a:gd name="T26" fmla="*/ 32 w 310"/>
                  <a:gd name="T27" fmla="*/ 92 h 95"/>
                  <a:gd name="T28" fmla="*/ 19 w 310"/>
                  <a:gd name="T29" fmla="*/ 85 h 95"/>
                  <a:gd name="T30" fmla="*/ 9 w 310"/>
                  <a:gd name="T31" fmla="*/ 76 h 95"/>
                  <a:gd name="T32" fmla="*/ 2 w 310"/>
                  <a:gd name="T33" fmla="*/ 62 h 95"/>
                  <a:gd name="T34" fmla="*/ 0 w 310"/>
                  <a:gd name="T35" fmla="*/ 48 h 95"/>
                  <a:gd name="T36" fmla="*/ 2 w 310"/>
                  <a:gd name="T37" fmla="*/ 32 h 95"/>
                  <a:gd name="T38" fmla="*/ 9 w 310"/>
                  <a:gd name="T39" fmla="*/ 19 h 95"/>
                  <a:gd name="T40" fmla="*/ 19 w 310"/>
                  <a:gd name="T41" fmla="*/ 9 h 95"/>
                  <a:gd name="T42" fmla="*/ 32 w 310"/>
                  <a:gd name="T43" fmla="*/ 3 h 95"/>
                  <a:gd name="T44" fmla="*/ 48 w 310"/>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0" h="95">
                    <a:moveTo>
                      <a:pt x="48" y="0"/>
                    </a:moveTo>
                    <a:lnTo>
                      <a:pt x="262" y="0"/>
                    </a:lnTo>
                    <a:lnTo>
                      <a:pt x="278" y="3"/>
                    </a:lnTo>
                    <a:lnTo>
                      <a:pt x="290" y="9"/>
                    </a:lnTo>
                    <a:lnTo>
                      <a:pt x="301" y="19"/>
                    </a:lnTo>
                    <a:lnTo>
                      <a:pt x="308" y="32"/>
                    </a:lnTo>
                    <a:lnTo>
                      <a:pt x="310" y="48"/>
                    </a:lnTo>
                    <a:lnTo>
                      <a:pt x="308" y="62"/>
                    </a:lnTo>
                    <a:lnTo>
                      <a:pt x="301" y="76"/>
                    </a:lnTo>
                    <a:lnTo>
                      <a:pt x="290" y="85"/>
                    </a:lnTo>
                    <a:lnTo>
                      <a:pt x="278" y="92"/>
                    </a:lnTo>
                    <a:lnTo>
                      <a:pt x="262" y="95"/>
                    </a:lnTo>
                    <a:lnTo>
                      <a:pt x="48" y="95"/>
                    </a:lnTo>
                    <a:lnTo>
                      <a:pt x="32" y="92"/>
                    </a:lnTo>
                    <a:lnTo>
                      <a:pt x="19" y="85"/>
                    </a:lnTo>
                    <a:lnTo>
                      <a:pt x="9" y="76"/>
                    </a:lnTo>
                    <a:lnTo>
                      <a:pt x="2" y="62"/>
                    </a:lnTo>
                    <a:lnTo>
                      <a:pt x="0" y="48"/>
                    </a:lnTo>
                    <a:lnTo>
                      <a:pt x="2" y="32"/>
                    </a:lnTo>
                    <a:lnTo>
                      <a:pt x="9" y="19"/>
                    </a:lnTo>
                    <a:lnTo>
                      <a:pt x="19" y="9"/>
                    </a:lnTo>
                    <a:lnTo>
                      <a:pt x="32" y="3"/>
                    </a:lnTo>
                    <a:lnTo>
                      <a:pt x="48" y="0"/>
                    </a:lnTo>
                    <a:close/>
                  </a:path>
                </a:pathLst>
              </a:custGeom>
              <a:solidFill>
                <a:schemeClr val="accent5"/>
              </a:solidFill>
              <a:ln>
                <a:noFill/>
              </a:ln>
            </p:spPr>
            <p:txBody>
              <a:bodyPr/>
              <a:lstStyle/>
              <a:p>
                <a:endParaRPr lang="de-DE" dirty="0"/>
              </a:p>
            </p:txBody>
          </p:sp>
          <p:sp>
            <p:nvSpPr>
              <p:cNvPr id="835" name="Freeform 343"/>
              <p:cNvSpPr>
                <a:spLocks/>
              </p:cNvSpPr>
              <p:nvPr/>
            </p:nvSpPr>
            <p:spPr bwMode="auto">
              <a:xfrm>
                <a:off x="11190227" y="5761619"/>
                <a:ext cx="39684" cy="12701"/>
              </a:xfrm>
              <a:custGeom>
                <a:avLst/>
                <a:gdLst>
                  <a:gd name="T0" fmla="*/ 41 w 249"/>
                  <a:gd name="T1" fmla="*/ 0 h 83"/>
                  <a:gd name="T2" fmla="*/ 207 w 249"/>
                  <a:gd name="T3" fmla="*/ 0 h 83"/>
                  <a:gd name="T4" fmla="*/ 223 w 249"/>
                  <a:gd name="T5" fmla="*/ 3 h 83"/>
                  <a:gd name="T6" fmla="*/ 237 w 249"/>
                  <a:gd name="T7" fmla="*/ 12 h 83"/>
                  <a:gd name="T8" fmla="*/ 246 w 249"/>
                  <a:gd name="T9" fmla="*/ 25 h 83"/>
                  <a:gd name="T10" fmla="*/ 249 w 249"/>
                  <a:gd name="T11" fmla="*/ 42 h 83"/>
                  <a:gd name="T12" fmla="*/ 246 w 249"/>
                  <a:gd name="T13" fmla="*/ 57 h 83"/>
                  <a:gd name="T14" fmla="*/ 237 w 249"/>
                  <a:gd name="T15" fmla="*/ 71 h 83"/>
                  <a:gd name="T16" fmla="*/ 223 w 249"/>
                  <a:gd name="T17" fmla="*/ 80 h 83"/>
                  <a:gd name="T18" fmla="*/ 207 w 249"/>
                  <a:gd name="T19" fmla="*/ 83 h 83"/>
                  <a:gd name="T20" fmla="*/ 41 w 249"/>
                  <a:gd name="T21" fmla="*/ 83 h 83"/>
                  <a:gd name="T22" fmla="*/ 25 w 249"/>
                  <a:gd name="T23" fmla="*/ 80 h 83"/>
                  <a:gd name="T24" fmla="*/ 12 w 249"/>
                  <a:gd name="T25" fmla="*/ 71 h 83"/>
                  <a:gd name="T26" fmla="*/ 3 w 249"/>
                  <a:gd name="T27" fmla="*/ 57 h 83"/>
                  <a:gd name="T28" fmla="*/ 0 w 249"/>
                  <a:gd name="T29" fmla="*/ 42 h 83"/>
                  <a:gd name="T30" fmla="*/ 3 w 249"/>
                  <a:gd name="T31" fmla="*/ 25 h 83"/>
                  <a:gd name="T32" fmla="*/ 12 w 249"/>
                  <a:gd name="T33" fmla="*/ 12 h 83"/>
                  <a:gd name="T34" fmla="*/ 25 w 249"/>
                  <a:gd name="T35" fmla="*/ 3 h 83"/>
                  <a:gd name="T36" fmla="*/ 41 w 24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83">
                    <a:moveTo>
                      <a:pt x="41" y="0"/>
                    </a:moveTo>
                    <a:lnTo>
                      <a:pt x="207" y="0"/>
                    </a:lnTo>
                    <a:lnTo>
                      <a:pt x="223" y="3"/>
                    </a:lnTo>
                    <a:lnTo>
                      <a:pt x="237" y="12"/>
                    </a:lnTo>
                    <a:lnTo>
                      <a:pt x="246" y="25"/>
                    </a:lnTo>
                    <a:lnTo>
                      <a:pt x="249" y="42"/>
                    </a:lnTo>
                    <a:lnTo>
                      <a:pt x="246" y="57"/>
                    </a:lnTo>
                    <a:lnTo>
                      <a:pt x="237" y="71"/>
                    </a:lnTo>
                    <a:lnTo>
                      <a:pt x="223" y="80"/>
                    </a:lnTo>
                    <a:lnTo>
                      <a:pt x="207" y="83"/>
                    </a:lnTo>
                    <a:lnTo>
                      <a:pt x="41" y="83"/>
                    </a:lnTo>
                    <a:lnTo>
                      <a:pt x="25" y="80"/>
                    </a:lnTo>
                    <a:lnTo>
                      <a:pt x="12" y="71"/>
                    </a:lnTo>
                    <a:lnTo>
                      <a:pt x="3" y="57"/>
                    </a:lnTo>
                    <a:lnTo>
                      <a:pt x="0" y="42"/>
                    </a:lnTo>
                    <a:lnTo>
                      <a:pt x="3" y="25"/>
                    </a:lnTo>
                    <a:lnTo>
                      <a:pt x="12" y="12"/>
                    </a:lnTo>
                    <a:lnTo>
                      <a:pt x="25" y="3"/>
                    </a:lnTo>
                    <a:lnTo>
                      <a:pt x="41" y="0"/>
                    </a:lnTo>
                    <a:close/>
                  </a:path>
                </a:pathLst>
              </a:custGeom>
              <a:solidFill>
                <a:schemeClr val="accent5"/>
              </a:solidFill>
              <a:ln>
                <a:noFill/>
              </a:ln>
            </p:spPr>
            <p:txBody>
              <a:bodyPr/>
              <a:lstStyle/>
              <a:p>
                <a:endParaRPr lang="de-DE" dirty="0"/>
              </a:p>
            </p:txBody>
          </p:sp>
          <p:sp>
            <p:nvSpPr>
              <p:cNvPr id="836" name="Freeform 344"/>
              <p:cNvSpPr>
                <a:spLocks/>
              </p:cNvSpPr>
              <p:nvPr/>
            </p:nvSpPr>
            <p:spPr bwMode="auto">
              <a:xfrm>
                <a:off x="11245784" y="5755268"/>
                <a:ext cx="50795" cy="15877"/>
              </a:xfrm>
              <a:custGeom>
                <a:avLst/>
                <a:gdLst>
                  <a:gd name="T0" fmla="*/ 48 w 323"/>
                  <a:gd name="T1" fmla="*/ 0 h 97"/>
                  <a:gd name="T2" fmla="*/ 274 w 323"/>
                  <a:gd name="T3" fmla="*/ 0 h 97"/>
                  <a:gd name="T4" fmla="*/ 290 w 323"/>
                  <a:gd name="T5" fmla="*/ 2 h 97"/>
                  <a:gd name="T6" fmla="*/ 303 w 323"/>
                  <a:gd name="T7" fmla="*/ 9 h 97"/>
                  <a:gd name="T8" fmla="*/ 313 w 323"/>
                  <a:gd name="T9" fmla="*/ 20 h 97"/>
                  <a:gd name="T10" fmla="*/ 321 w 323"/>
                  <a:gd name="T11" fmla="*/ 33 h 97"/>
                  <a:gd name="T12" fmla="*/ 323 w 323"/>
                  <a:gd name="T13" fmla="*/ 48 h 97"/>
                  <a:gd name="T14" fmla="*/ 321 w 323"/>
                  <a:gd name="T15" fmla="*/ 64 h 97"/>
                  <a:gd name="T16" fmla="*/ 313 w 323"/>
                  <a:gd name="T17" fmla="*/ 77 h 97"/>
                  <a:gd name="T18" fmla="*/ 303 w 323"/>
                  <a:gd name="T19" fmla="*/ 87 h 97"/>
                  <a:gd name="T20" fmla="*/ 290 w 323"/>
                  <a:gd name="T21" fmla="*/ 94 h 97"/>
                  <a:gd name="T22" fmla="*/ 274 w 323"/>
                  <a:gd name="T23" fmla="*/ 97 h 97"/>
                  <a:gd name="T24" fmla="*/ 48 w 323"/>
                  <a:gd name="T25" fmla="*/ 97 h 97"/>
                  <a:gd name="T26" fmla="*/ 33 w 323"/>
                  <a:gd name="T27" fmla="*/ 94 h 97"/>
                  <a:gd name="T28" fmla="*/ 20 w 323"/>
                  <a:gd name="T29" fmla="*/ 87 h 97"/>
                  <a:gd name="T30" fmla="*/ 9 w 323"/>
                  <a:gd name="T31" fmla="*/ 77 h 97"/>
                  <a:gd name="T32" fmla="*/ 2 w 323"/>
                  <a:gd name="T33" fmla="*/ 64 h 97"/>
                  <a:gd name="T34" fmla="*/ 0 w 323"/>
                  <a:gd name="T35" fmla="*/ 48 h 97"/>
                  <a:gd name="T36" fmla="*/ 2 w 323"/>
                  <a:gd name="T37" fmla="*/ 33 h 97"/>
                  <a:gd name="T38" fmla="*/ 9 w 323"/>
                  <a:gd name="T39" fmla="*/ 20 h 97"/>
                  <a:gd name="T40" fmla="*/ 20 w 323"/>
                  <a:gd name="T41" fmla="*/ 9 h 97"/>
                  <a:gd name="T42" fmla="*/ 33 w 323"/>
                  <a:gd name="T43" fmla="*/ 2 h 97"/>
                  <a:gd name="T44" fmla="*/ 48 w 323"/>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97">
                    <a:moveTo>
                      <a:pt x="48" y="0"/>
                    </a:moveTo>
                    <a:lnTo>
                      <a:pt x="274" y="0"/>
                    </a:lnTo>
                    <a:lnTo>
                      <a:pt x="290" y="2"/>
                    </a:lnTo>
                    <a:lnTo>
                      <a:pt x="303" y="9"/>
                    </a:lnTo>
                    <a:lnTo>
                      <a:pt x="313" y="20"/>
                    </a:lnTo>
                    <a:lnTo>
                      <a:pt x="321" y="33"/>
                    </a:lnTo>
                    <a:lnTo>
                      <a:pt x="323" y="48"/>
                    </a:lnTo>
                    <a:lnTo>
                      <a:pt x="321" y="64"/>
                    </a:lnTo>
                    <a:lnTo>
                      <a:pt x="313" y="77"/>
                    </a:lnTo>
                    <a:lnTo>
                      <a:pt x="303" y="87"/>
                    </a:lnTo>
                    <a:lnTo>
                      <a:pt x="290" y="94"/>
                    </a:lnTo>
                    <a:lnTo>
                      <a:pt x="274" y="97"/>
                    </a:lnTo>
                    <a:lnTo>
                      <a:pt x="48" y="97"/>
                    </a:lnTo>
                    <a:lnTo>
                      <a:pt x="33" y="94"/>
                    </a:lnTo>
                    <a:lnTo>
                      <a:pt x="20" y="87"/>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837" name="Freeform 345"/>
              <p:cNvSpPr>
                <a:spLocks/>
              </p:cNvSpPr>
              <p:nvPr/>
            </p:nvSpPr>
            <p:spPr bwMode="auto">
              <a:xfrm>
                <a:off x="11310865" y="5755268"/>
                <a:ext cx="57144" cy="15877"/>
              </a:xfrm>
              <a:custGeom>
                <a:avLst/>
                <a:gdLst>
                  <a:gd name="T0" fmla="*/ 52 w 356"/>
                  <a:gd name="T1" fmla="*/ 0 h 102"/>
                  <a:gd name="T2" fmla="*/ 304 w 356"/>
                  <a:gd name="T3" fmla="*/ 0 h 102"/>
                  <a:gd name="T4" fmla="*/ 321 w 356"/>
                  <a:gd name="T5" fmla="*/ 3 h 102"/>
                  <a:gd name="T6" fmla="*/ 335 w 356"/>
                  <a:gd name="T7" fmla="*/ 10 h 102"/>
                  <a:gd name="T8" fmla="*/ 346 w 356"/>
                  <a:gd name="T9" fmla="*/ 21 h 102"/>
                  <a:gd name="T10" fmla="*/ 353 w 356"/>
                  <a:gd name="T11" fmla="*/ 35 h 102"/>
                  <a:gd name="T12" fmla="*/ 356 w 356"/>
                  <a:gd name="T13" fmla="*/ 51 h 102"/>
                  <a:gd name="T14" fmla="*/ 353 w 356"/>
                  <a:gd name="T15" fmla="*/ 68 h 102"/>
                  <a:gd name="T16" fmla="*/ 346 w 356"/>
                  <a:gd name="T17" fmla="*/ 81 h 102"/>
                  <a:gd name="T18" fmla="*/ 335 w 356"/>
                  <a:gd name="T19" fmla="*/ 92 h 102"/>
                  <a:gd name="T20" fmla="*/ 321 w 356"/>
                  <a:gd name="T21" fmla="*/ 100 h 102"/>
                  <a:gd name="T22" fmla="*/ 304 w 356"/>
                  <a:gd name="T23" fmla="*/ 102 h 102"/>
                  <a:gd name="T24" fmla="*/ 52 w 356"/>
                  <a:gd name="T25" fmla="*/ 102 h 102"/>
                  <a:gd name="T26" fmla="*/ 35 w 356"/>
                  <a:gd name="T27" fmla="*/ 100 h 102"/>
                  <a:gd name="T28" fmla="*/ 21 w 356"/>
                  <a:gd name="T29" fmla="*/ 92 h 102"/>
                  <a:gd name="T30" fmla="*/ 10 w 356"/>
                  <a:gd name="T31" fmla="*/ 81 h 102"/>
                  <a:gd name="T32" fmla="*/ 3 w 356"/>
                  <a:gd name="T33" fmla="*/ 68 h 102"/>
                  <a:gd name="T34" fmla="*/ 0 w 356"/>
                  <a:gd name="T35" fmla="*/ 51 h 102"/>
                  <a:gd name="T36" fmla="*/ 3 w 356"/>
                  <a:gd name="T37" fmla="*/ 35 h 102"/>
                  <a:gd name="T38" fmla="*/ 10 w 356"/>
                  <a:gd name="T39" fmla="*/ 21 h 102"/>
                  <a:gd name="T40" fmla="*/ 21 w 356"/>
                  <a:gd name="T41" fmla="*/ 10 h 102"/>
                  <a:gd name="T42" fmla="*/ 35 w 356"/>
                  <a:gd name="T43" fmla="*/ 3 h 102"/>
                  <a:gd name="T44" fmla="*/ 52 w 356"/>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6" h="102">
                    <a:moveTo>
                      <a:pt x="52" y="0"/>
                    </a:moveTo>
                    <a:lnTo>
                      <a:pt x="304" y="0"/>
                    </a:lnTo>
                    <a:lnTo>
                      <a:pt x="321" y="3"/>
                    </a:lnTo>
                    <a:lnTo>
                      <a:pt x="335" y="10"/>
                    </a:lnTo>
                    <a:lnTo>
                      <a:pt x="346" y="21"/>
                    </a:lnTo>
                    <a:lnTo>
                      <a:pt x="353" y="35"/>
                    </a:lnTo>
                    <a:lnTo>
                      <a:pt x="356" y="51"/>
                    </a:lnTo>
                    <a:lnTo>
                      <a:pt x="353" y="68"/>
                    </a:lnTo>
                    <a:lnTo>
                      <a:pt x="346" y="81"/>
                    </a:lnTo>
                    <a:lnTo>
                      <a:pt x="335" y="92"/>
                    </a:lnTo>
                    <a:lnTo>
                      <a:pt x="321" y="100"/>
                    </a:lnTo>
                    <a:lnTo>
                      <a:pt x="304" y="102"/>
                    </a:lnTo>
                    <a:lnTo>
                      <a:pt x="52" y="102"/>
                    </a:lnTo>
                    <a:lnTo>
                      <a:pt x="35" y="100"/>
                    </a:lnTo>
                    <a:lnTo>
                      <a:pt x="21" y="92"/>
                    </a:lnTo>
                    <a:lnTo>
                      <a:pt x="10" y="81"/>
                    </a:lnTo>
                    <a:lnTo>
                      <a:pt x="3" y="68"/>
                    </a:lnTo>
                    <a:lnTo>
                      <a:pt x="0" y="51"/>
                    </a:lnTo>
                    <a:lnTo>
                      <a:pt x="3" y="35"/>
                    </a:lnTo>
                    <a:lnTo>
                      <a:pt x="10" y="21"/>
                    </a:lnTo>
                    <a:lnTo>
                      <a:pt x="21" y="10"/>
                    </a:lnTo>
                    <a:lnTo>
                      <a:pt x="35" y="3"/>
                    </a:lnTo>
                    <a:lnTo>
                      <a:pt x="52" y="0"/>
                    </a:lnTo>
                    <a:close/>
                  </a:path>
                </a:pathLst>
              </a:custGeom>
              <a:solidFill>
                <a:schemeClr val="accent5"/>
              </a:solidFill>
              <a:ln>
                <a:noFill/>
              </a:ln>
            </p:spPr>
            <p:txBody>
              <a:bodyPr/>
              <a:lstStyle/>
              <a:p>
                <a:endParaRPr lang="de-DE" dirty="0"/>
              </a:p>
            </p:txBody>
          </p:sp>
          <p:sp>
            <p:nvSpPr>
              <p:cNvPr id="838" name="Freeform 346"/>
              <p:cNvSpPr>
                <a:spLocks/>
              </p:cNvSpPr>
              <p:nvPr/>
            </p:nvSpPr>
            <p:spPr bwMode="auto">
              <a:xfrm>
                <a:off x="11396581" y="5756856"/>
                <a:ext cx="44446" cy="14289"/>
              </a:xfrm>
              <a:custGeom>
                <a:avLst/>
                <a:gdLst>
                  <a:gd name="T0" fmla="*/ 44 w 282"/>
                  <a:gd name="T1" fmla="*/ 0 h 89"/>
                  <a:gd name="T2" fmla="*/ 238 w 282"/>
                  <a:gd name="T3" fmla="*/ 0 h 89"/>
                  <a:gd name="T4" fmla="*/ 252 w 282"/>
                  <a:gd name="T5" fmla="*/ 2 h 89"/>
                  <a:gd name="T6" fmla="*/ 265 w 282"/>
                  <a:gd name="T7" fmla="*/ 9 h 89"/>
                  <a:gd name="T8" fmla="*/ 274 w 282"/>
                  <a:gd name="T9" fmla="*/ 19 h 89"/>
                  <a:gd name="T10" fmla="*/ 280 w 282"/>
                  <a:gd name="T11" fmla="*/ 31 h 89"/>
                  <a:gd name="T12" fmla="*/ 282 w 282"/>
                  <a:gd name="T13" fmla="*/ 44 h 89"/>
                  <a:gd name="T14" fmla="*/ 280 w 282"/>
                  <a:gd name="T15" fmla="*/ 58 h 89"/>
                  <a:gd name="T16" fmla="*/ 274 w 282"/>
                  <a:gd name="T17" fmla="*/ 71 h 89"/>
                  <a:gd name="T18" fmla="*/ 265 w 282"/>
                  <a:gd name="T19" fmla="*/ 80 h 89"/>
                  <a:gd name="T20" fmla="*/ 252 w 282"/>
                  <a:gd name="T21" fmla="*/ 87 h 89"/>
                  <a:gd name="T22" fmla="*/ 238 w 282"/>
                  <a:gd name="T23" fmla="*/ 89 h 89"/>
                  <a:gd name="T24" fmla="*/ 44 w 282"/>
                  <a:gd name="T25" fmla="*/ 89 h 89"/>
                  <a:gd name="T26" fmla="*/ 30 w 282"/>
                  <a:gd name="T27" fmla="*/ 87 h 89"/>
                  <a:gd name="T28" fmla="*/ 18 w 282"/>
                  <a:gd name="T29" fmla="*/ 80 h 89"/>
                  <a:gd name="T30" fmla="*/ 9 w 282"/>
                  <a:gd name="T31" fmla="*/ 71 h 89"/>
                  <a:gd name="T32" fmla="*/ 2 w 282"/>
                  <a:gd name="T33" fmla="*/ 58 h 89"/>
                  <a:gd name="T34" fmla="*/ 0 w 282"/>
                  <a:gd name="T35" fmla="*/ 44 h 89"/>
                  <a:gd name="T36" fmla="*/ 2 w 282"/>
                  <a:gd name="T37" fmla="*/ 31 h 89"/>
                  <a:gd name="T38" fmla="*/ 9 w 282"/>
                  <a:gd name="T39" fmla="*/ 19 h 89"/>
                  <a:gd name="T40" fmla="*/ 18 w 282"/>
                  <a:gd name="T41" fmla="*/ 9 h 89"/>
                  <a:gd name="T42" fmla="*/ 30 w 282"/>
                  <a:gd name="T43" fmla="*/ 2 h 89"/>
                  <a:gd name="T44" fmla="*/ 44 w 282"/>
                  <a:gd name="T4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2" h="89">
                    <a:moveTo>
                      <a:pt x="44" y="0"/>
                    </a:moveTo>
                    <a:lnTo>
                      <a:pt x="238" y="0"/>
                    </a:lnTo>
                    <a:lnTo>
                      <a:pt x="252" y="2"/>
                    </a:lnTo>
                    <a:lnTo>
                      <a:pt x="265" y="9"/>
                    </a:lnTo>
                    <a:lnTo>
                      <a:pt x="274" y="19"/>
                    </a:lnTo>
                    <a:lnTo>
                      <a:pt x="280" y="31"/>
                    </a:lnTo>
                    <a:lnTo>
                      <a:pt x="282" y="44"/>
                    </a:lnTo>
                    <a:lnTo>
                      <a:pt x="280" y="58"/>
                    </a:lnTo>
                    <a:lnTo>
                      <a:pt x="274" y="71"/>
                    </a:lnTo>
                    <a:lnTo>
                      <a:pt x="265" y="80"/>
                    </a:lnTo>
                    <a:lnTo>
                      <a:pt x="252" y="87"/>
                    </a:lnTo>
                    <a:lnTo>
                      <a:pt x="238" y="89"/>
                    </a:lnTo>
                    <a:lnTo>
                      <a:pt x="44" y="89"/>
                    </a:lnTo>
                    <a:lnTo>
                      <a:pt x="30" y="87"/>
                    </a:lnTo>
                    <a:lnTo>
                      <a:pt x="18" y="80"/>
                    </a:lnTo>
                    <a:lnTo>
                      <a:pt x="9" y="71"/>
                    </a:lnTo>
                    <a:lnTo>
                      <a:pt x="2" y="58"/>
                    </a:lnTo>
                    <a:lnTo>
                      <a:pt x="0" y="44"/>
                    </a:lnTo>
                    <a:lnTo>
                      <a:pt x="2" y="31"/>
                    </a:lnTo>
                    <a:lnTo>
                      <a:pt x="9" y="19"/>
                    </a:lnTo>
                    <a:lnTo>
                      <a:pt x="18" y="9"/>
                    </a:lnTo>
                    <a:lnTo>
                      <a:pt x="30" y="2"/>
                    </a:lnTo>
                    <a:lnTo>
                      <a:pt x="44" y="0"/>
                    </a:lnTo>
                    <a:close/>
                  </a:path>
                </a:pathLst>
              </a:custGeom>
              <a:solidFill>
                <a:schemeClr val="accent5"/>
              </a:solidFill>
              <a:ln>
                <a:noFill/>
              </a:ln>
            </p:spPr>
            <p:txBody>
              <a:bodyPr/>
              <a:lstStyle/>
              <a:p>
                <a:endParaRPr lang="de-DE" dirty="0"/>
              </a:p>
            </p:txBody>
          </p:sp>
          <p:sp>
            <p:nvSpPr>
              <p:cNvPr id="839" name="Freeform 347"/>
              <p:cNvSpPr>
                <a:spLocks/>
              </p:cNvSpPr>
              <p:nvPr/>
            </p:nvSpPr>
            <p:spPr bwMode="auto">
              <a:xfrm>
                <a:off x="10975935" y="5815600"/>
                <a:ext cx="42858" cy="14289"/>
              </a:xfrm>
              <a:custGeom>
                <a:avLst/>
                <a:gdLst>
                  <a:gd name="T0" fmla="*/ 44 w 273"/>
                  <a:gd name="T1" fmla="*/ 0 h 88"/>
                  <a:gd name="T2" fmla="*/ 228 w 273"/>
                  <a:gd name="T3" fmla="*/ 0 h 88"/>
                  <a:gd name="T4" fmla="*/ 243 w 273"/>
                  <a:gd name="T5" fmla="*/ 3 h 88"/>
                  <a:gd name="T6" fmla="*/ 255 w 273"/>
                  <a:gd name="T7" fmla="*/ 9 h 88"/>
                  <a:gd name="T8" fmla="*/ 264 w 273"/>
                  <a:gd name="T9" fmla="*/ 18 h 88"/>
                  <a:gd name="T10" fmla="*/ 270 w 273"/>
                  <a:gd name="T11" fmla="*/ 30 h 88"/>
                  <a:gd name="T12" fmla="*/ 273 w 273"/>
                  <a:gd name="T13" fmla="*/ 45 h 88"/>
                  <a:gd name="T14" fmla="*/ 270 w 273"/>
                  <a:gd name="T15" fmla="*/ 58 h 88"/>
                  <a:gd name="T16" fmla="*/ 264 w 273"/>
                  <a:gd name="T17" fmla="*/ 70 h 88"/>
                  <a:gd name="T18" fmla="*/ 255 w 273"/>
                  <a:gd name="T19" fmla="*/ 80 h 88"/>
                  <a:gd name="T20" fmla="*/ 243 w 273"/>
                  <a:gd name="T21" fmla="*/ 86 h 88"/>
                  <a:gd name="T22" fmla="*/ 228 w 273"/>
                  <a:gd name="T23" fmla="*/ 88 h 88"/>
                  <a:gd name="T24" fmla="*/ 44 w 273"/>
                  <a:gd name="T25" fmla="*/ 88 h 88"/>
                  <a:gd name="T26" fmla="*/ 30 w 273"/>
                  <a:gd name="T27" fmla="*/ 86 h 88"/>
                  <a:gd name="T28" fmla="*/ 18 w 273"/>
                  <a:gd name="T29" fmla="*/ 80 h 88"/>
                  <a:gd name="T30" fmla="*/ 8 w 273"/>
                  <a:gd name="T31" fmla="*/ 70 h 88"/>
                  <a:gd name="T32" fmla="*/ 3 w 273"/>
                  <a:gd name="T33" fmla="*/ 58 h 88"/>
                  <a:gd name="T34" fmla="*/ 0 w 273"/>
                  <a:gd name="T35" fmla="*/ 45 h 88"/>
                  <a:gd name="T36" fmla="*/ 3 w 273"/>
                  <a:gd name="T37" fmla="*/ 30 h 88"/>
                  <a:gd name="T38" fmla="*/ 8 w 273"/>
                  <a:gd name="T39" fmla="*/ 18 h 88"/>
                  <a:gd name="T40" fmla="*/ 18 w 273"/>
                  <a:gd name="T41" fmla="*/ 9 h 88"/>
                  <a:gd name="T42" fmla="*/ 30 w 273"/>
                  <a:gd name="T43" fmla="*/ 3 h 88"/>
                  <a:gd name="T44" fmla="*/ 44 w 273"/>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88">
                    <a:moveTo>
                      <a:pt x="44" y="0"/>
                    </a:moveTo>
                    <a:lnTo>
                      <a:pt x="228" y="0"/>
                    </a:lnTo>
                    <a:lnTo>
                      <a:pt x="243" y="3"/>
                    </a:lnTo>
                    <a:lnTo>
                      <a:pt x="255" y="9"/>
                    </a:lnTo>
                    <a:lnTo>
                      <a:pt x="264" y="18"/>
                    </a:lnTo>
                    <a:lnTo>
                      <a:pt x="270" y="30"/>
                    </a:lnTo>
                    <a:lnTo>
                      <a:pt x="273" y="45"/>
                    </a:lnTo>
                    <a:lnTo>
                      <a:pt x="270" y="58"/>
                    </a:lnTo>
                    <a:lnTo>
                      <a:pt x="264" y="70"/>
                    </a:lnTo>
                    <a:lnTo>
                      <a:pt x="255" y="80"/>
                    </a:lnTo>
                    <a:lnTo>
                      <a:pt x="243" y="86"/>
                    </a:lnTo>
                    <a:lnTo>
                      <a:pt x="228" y="88"/>
                    </a:lnTo>
                    <a:lnTo>
                      <a:pt x="44" y="88"/>
                    </a:lnTo>
                    <a:lnTo>
                      <a:pt x="30" y="86"/>
                    </a:lnTo>
                    <a:lnTo>
                      <a:pt x="18" y="80"/>
                    </a:lnTo>
                    <a:lnTo>
                      <a:pt x="8" y="70"/>
                    </a:lnTo>
                    <a:lnTo>
                      <a:pt x="3" y="58"/>
                    </a:lnTo>
                    <a:lnTo>
                      <a:pt x="0" y="45"/>
                    </a:lnTo>
                    <a:lnTo>
                      <a:pt x="3" y="30"/>
                    </a:lnTo>
                    <a:lnTo>
                      <a:pt x="8" y="18"/>
                    </a:lnTo>
                    <a:lnTo>
                      <a:pt x="18" y="9"/>
                    </a:lnTo>
                    <a:lnTo>
                      <a:pt x="30" y="3"/>
                    </a:lnTo>
                    <a:lnTo>
                      <a:pt x="44" y="0"/>
                    </a:lnTo>
                    <a:close/>
                  </a:path>
                </a:pathLst>
              </a:custGeom>
              <a:solidFill>
                <a:schemeClr val="accent5"/>
              </a:solidFill>
              <a:ln>
                <a:noFill/>
              </a:ln>
            </p:spPr>
            <p:txBody>
              <a:bodyPr/>
              <a:lstStyle/>
              <a:p>
                <a:endParaRPr lang="de-DE" dirty="0"/>
              </a:p>
            </p:txBody>
          </p:sp>
          <p:sp>
            <p:nvSpPr>
              <p:cNvPr id="840" name="Freeform 348"/>
              <p:cNvSpPr>
                <a:spLocks/>
              </p:cNvSpPr>
              <p:nvPr/>
            </p:nvSpPr>
            <p:spPr bwMode="auto">
              <a:xfrm>
                <a:off x="11045778" y="5810837"/>
                <a:ext cx="52382" cy="15877"/>
              </a:xfrm>
              <a:custGeom>
                <a:avLst/>
                <a:gdLst>
                  <a:gd name="T0" fmla="*/ 48 w 327"/>
                  <a:gd name="T1" fmla="*/ 0 h 97"/>
                  <a:gd name="T2" fmla="*/ 279 w 327"/>
                  <a:gd name="T3" fmla="*/ 0 h 97"/>
                  <a:gd name="T4" fmla="*/ 294 w 327"/>
                  <a:gd name="T5" fmla="*/ 2 h 97"/>
                  <a:gd name="T6" fmla="*/ 307 w 327"/>
                  <a:gd name="T7" fmla="*/ 9 h 97"/>
                  <a:gd name="T8" fmla="*/ 317 w 327"/>
                  <a:gd name="T9" fmla="*/ 20 h 97"/>
                  <a:gd name="T10" fmla="*/ 325 w 327"/>
                  <a:gd name="T11" fmla="*/ 33 h 97"/>
                  <a:gd name="T12" fmla="*/ 327 w 327"/>
                  <a:gd name="T13" fmla="*/ 48 h 97"/>
                  <a:gd name="T14" fmla="*/ 325 w 327"/>
                  <a:gd name="T15" fmla="*/ 64 h 97"/>
                  <a:gd name="T16" fmla="*/ 317 w 327"/>
                  <a:gd name="T17" fmla="*/ 77 h 97"/>
                  <a:gd name="T18" fmla="*/ 307 w 327"/>
                  <a:gd name="T19" fmla="*/ 88 h 97"/>
                  <a:gd name="T20" fmla="*/ 294 w 327"/>
                  <a:gd name="T21" fmla="*/ 95 h 97"/>
                  <a:gd name="T22" fmla="*/ 279 w 327"/>
                  <a:gd name="T23" fmla="*/ 97 h 97"/>
                  <a:gd name="T24" fmla="*/ 48 w 327"/>
                  <a:gd name="T25" fmla="*/ 97 h 97"/>
                  <a:gd name="T26" fmla="*/ 33 w 327"/>
                  <a:gd name="T27" fmla="*/ 95 h 97"/>
                  <a:gd name="T28" fmla="*/ 20 w 327"/>
                  <a:gd name="T29" fmla="*/ 88 h 97"/>
                  <a:gd name="T30" fmla="*/ 9 w 327"/>
                  <a:gd name="T31" fmla="*/ 77 h 97"/>
                  <a:gd name="T32" fmla="*/ 2 w 327"/>
                  <a:gd name="T33" fmla="*/ 64 h 97"/>
                  <a:gd name="T34" fmla="*/ 0 w 327"/>
                  <a:gd name="T35" fmla="*/ 48 h 97"/>
                  <a:gd name="T36" fmla="*/ 2 w 327"/>
                  <a:gd name="T37" fmla="*/ 33 h 97"/>
                  <a:gd name="T38" fmla="*/ 9 w 327"/>
                  <a:gd name="T39" fmla="*/ 20 h 97"/>
                  <a:gd name="T40" fmla="*/ 20 w 327"/>
                  <a:gd name="T41" fmla="*/ 9 h 97"/>
                  <a:gd name="T42" fmla="*/ 33 w 327"/>
                  <a:gd name="T43" fmla="*/ 2 h 97"/>
                  <a:gd name="T44" fmla="*/ 48 w 327"/>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7" h="97">
                    <a:moveTo>
                      <a:pt x="48" y="0"/>
                    </a:moveTo>
                    <a:lnTo>
                      <a:pt x="279" y="0"/>
                    </a:lnTo>
                    <a:lnTo>
                      <a:pt x="294" y="2"/>
                    </a:lnTo>
                    <a:lnTo>
                      <a:pt x="307" y="9"/>
                    </a:lnTo>
                    <a:lnTo>
                      <a:pt x="317" y="20"/>
                    </a:lnTo>
                    <a:lnTo>
                      <a:pt x="325" y="33"/>
                    </a:lnTo>
                    <a:lnTo>
                      <a:pt x="327" y="48"/>
                    </a:lnTo>
                    <a:lnTo>
                      <a:pt x="325" y="64"/>
                    </a:lnTo>
                    <a:lnTo>
                      <a:pt x="317" y="77"/>
                    </a:lnTo>
                    <a:lnTo>
                      <a:pt x="307" y="88"/>
                    </a:lnTo>
                    <a:lnTo>
                      <a:pt x="294" y="95"/>
                    </a:lnTo>
                    <a:lnTo>
                      <a:pt x="279" y="97"/>
                    </a:lnTo>
                    <a:lnTo>
                      <a:pt x="48" y="97"/>
                    </a:lnTo>
                    <a:lnTo>
                      <a:pt x="33" y="95"/>
                    </a:lnTo>
                    <a:lnTo>
                      <a:pt x="20" y="88"/>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841" name="Freeform 349"/>
              <p:cNvSpPr>
                <a:spLocks/>
              </p:cNvSpPr>
              <p:nvPr/>
            </p:nvSpPr>
            <p:spPr bwMode="auto">
              <a:xfrm>
                <a:off x="11117209" y="5814012"/>
                <a:ext cx="50795" cy="14289"/>
              </a:xfrm>
              <a:custGeom>
                <a:avLst/>
                <a:gdLst>
                  <a:gd name="T0" fmla="*/ 50 w 326"/>
                  <a:gd name="T1" fmla="*/ 0 h 98"/>
                  <a:gd name="T2" fmla="*/ 278 w 326"/>
                  <a:gd name="T3" fmla="*/ 0 h 98"/>
                  <a:gd name="T4" fmla="*/ 293 w 326"/>
                  <a:gd name="T5" fmla="*/ 3 h 98"/>
                  <a:gd name="T6" fmla="*/ 306 w 326"/>
                  <a:gd name="T7" fmla="*/ 9 h 98"/>
                  <a:gd name="T8" fmla="*/ 317 w 326"/>
                  <a:gd name="T9" fmla="*/ 20 h 98"/>
                  <a:gd name="T10" fmla="*/ 324 w 326"/>
                  <a:gd name="T11" fmla="*/ 34 h 98"/>
                  <a:gd name="T12" fmla="*/ 326 w 326"/>
                  <a:gd name="T13" fmla="*/ 49 h 98"/>
                  <a:gd name="T14" fmla="*/ 324 w 326"/>
                  <a:gd name="T15" fmla="*/ 65 h 98"/>
                  <a:gd name="T16" fmla="*/ 317 w 326"/>
                  <a:gd name="T17" fmla="*/ 78 h 98"/>
                  <a:gd name="T18" fmla="*/ 306 w 326"/>
                  <a:gd name="T19" fmla="*/ 89 h 98"/>
                  <a:gd name="T20" fmla="*/ 293 w 326"/>
                  <a:gd name="T21" fmla="*/ 95 h 98"/>
                  <a:gd name="T22" fmla="*/ 278 w 326"/>
                  <a:gd name="T23" fmla="*/ 98 h 98"/>
                  <a:gd name="T24" fmla="*/ 50 w 326"/>
                  <a:gd name="T25" fmla="*/ 98 h 98"/>
                  <a:gd name="T26" fmla="*/ 34 w 326"/>
                  <a:gd name="T27" fmla="*/ 95 h 98"/>
                  <a:gd name="T28" fmla="*/ 20 w 326"/>
                  <a:gd name="T29" fmla="*/ 89 h 98"/>
                  <a:gd name="T30" fmla="*/ 10 w 326"/>
                  <a:gd name="T31" fmla="*/ 78 h 98"/>
                  <a:gd name="T32" fmla="*/ 3 w 326"/>
                  <a:gd name="T33" fmla="*/ 65 h 98"/>
                  <a:gd name="T34" fmla="*/ 0 w 326"/>
                  <a:gd name="T35" fmla="*/ 49 h 98"/>
                  <a:gd name="T36" fmla="*/ 3 w 326"/>
                  <a:gd name="T37" fmla="*/ 34 h 98"/>
                  <a:gd name="T38" fmla="*/ 10 w 326"/>
                  <a:gd name="T39" fmla="*/ 20 h 98"/>
                  <a:gd name="T40" fmla="*/ 20 w 326"/>
                  <a:gd name="T41" fmla="*/ 9 h 98"/>
                  <a:gd name="T42" fmla="*/ 34 w 326"/>
                  <a:gd name="T43" fmla="*/ 3 h 98"/>
                  <a:gd name="T44" fmla="*/ 50 w 326"/>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6" h="98">
                    <a:moveTo>
                      <a:pt x="50" y="0"/>
                    </a:moveTo>
                    <a:lnTo>
                      <a:pt x="278" y="0"/>
                    </a:lnTo>
                    <a:lnTo>
                      <a:pt x="293" y="3"/>
                    </a:lnTo>
                    <a:lnTo>
                      <a:pt x="306" y="9"/>
                    </a:lnTo>
                    <a:lnTo>
                      <a:pt x="317" y="20"/>
                    </a:lnTo>
                    <a:lnTo>
                      <a:pt x="324" y="34"/>
                    </a:lnTo>
                    <a:lnTo>
                      <a:pt x="326" y="49"/>
                    </a:lnTo>
                    <a:lnTo>
                      <a:pt x="324" y="65"/>
                    </a:lnTo>
                    <a:lnTo>
                      <a:pt x="317" y="78"/>
                    </a:lnTo>
                    <a:lnTo>
                      <a:pt x="306" y="89"/>
                    </a:lnTo>
                    <a:lnTo>
                      <a:pt x="293" y="95"/>
                    </a:lnTo>
                    <a:lnTo>
                      <a:pt x="278" y="98"/>
                    </a:lnTo>
                    <a:lnTo>
                      <a:pt x="50" y="98"/>
                    </a:lnTo>
                    <a:lnTo>
                      <a:pt x="34" y="95"/>
                    </a:lnTo>
                    <a:lnTo>
                      <a:pt x="20" y="89"/>
                    </a:lnTo>
                    <a:lnTo>
                      <a:pt x="10" y="78"/>
                    </a:lnTo>
                    <a:lnTo>
                      <a:pt x="3" y="65"/>
                    </a:lnTo>
                    <a:lnTo>
                      <a:pt x="0" y="49"/>
                    </a:lnTo>
                    <a:lnTo>
                      <a:pt x="3" y="34"/>
                    </a:lnTo>
                    <a:lnTo>
                      <a:pt x="10" y="20"/>
                    </a:lnTo>
                    <a:lnTo>
                      <a:pt x="20" y="9"/>
                    </a:lnTo>
                    <a:lnTo>
                      <a:pt x="34" y="3"/>
                    </a:lnTo>
                    <a:lnTo>
                      <a:pt x="50" y="0"/>
                    </a:lnTo>
                    <a:close/>
                  </a:path>
                </a:pathLst>
              </a:custGeom>
              <a:solidFill>
                <a:schemeClr val="accent5"/>
              </a:solidFill>
              <a:ln>
                <a:noFill/>
              </a:ln>
            </p:spPr>
            <p:txBody>
              <a:bodyPr/>
              <a:lstStyle/>
              <a:p>
                <a:endParaRPr lang="de-DE" dirty="0"/>
              </a:p>
            </p:txBody>
          </p:sp>
          <p:sp>
            <p:nvSpPr>
              <p:cNvPr id="842" name="Freeform 350"/>
              <p:cNvSpPr>
                <a:spLocks/>
              </p:cNvSpPr>
              <p:nvPr/>
            </p:nvSpPr>
            <p:spPr bwMode="auto">
              <a:xfrm>
                <a:off x="11182290" y="5814012"/>
                <a:ext cx="42858" cy="14289"/>
              </a:xfrm>
              <a:custGeom>
                <a:avLst/>
                <a:gdLst>
                  <a:gd name="T0" fmla="*/ 43 w 265"/>
                  <a:gd name="T1" fmla="*/ 0 h 87"/>
                  <a:gd name="T2" fmla="*/ 222 w 265"/>
                  <a:gd name="T3" fmla="*/ 0 h 87"/>
                  <a:gd name="T4" fmla="*/ 235 w 265"/>
                  <a:gd name="T5" fmla="*/ 2 h 87"/>
                  <a:gd name="T6" fmla="*/ 247 w 265"/>
                  <a:gd name="T7" fmla="*/ 9 h 87"/>
                  <a:gd name="T8" fmla="*/ 257 w 265"/>
                  <a:gd name="T9" fmla="*/ 17 h 87"/>
                  <a:gd name="T10" fmla="*/ 263 w 265"/>
                  <a:gd name="T11" fmla="*/ 30 h 87"/>
                  <a:gd name="T12" fmla="*/ 265 w 265"/>
                  <a:gd name="T13" fmla="*/ 44 h 87"/>
                  <a:gd name="T14" fmla="*/ 263 w 265"/>
                  <a:gd name="T15" fmla="*/ 57 h 87"/>
                  <a:gd name="T16" fmla="*/ 257 w 265"/>
                  <a:gd name="T17" fmla="*/ 69 h 87"/>
                  <a:gd name="T18" fmla="*/ 247 w 265"/>
                  <a:gd name="T19" fmla="*/ 78 h 87"/>
                  <a:gd name="T20" fmla="*/ 235 w 265"/>
                  <a:gd name="T21" fmla="*/ 85 h 87"/>
                  <a:gd name="T22" fmla="*/ 222 w 265"/>
                  <a:gd name="T23" fmla="*/ 87 h 87"/>
                  <a:gd name="T24" fmla="*/ 43 w 265"/>
                  <a:gd name="T25" fmla="*/ 87 h 87"/>
                  <a:gd name="T26" fmla="*/ 29 w 265"/>
                  <a:gd name="T27" fmla="*/ 85 h 87"/>
                  <a:gd name="T28" fmla="*/ 17 w 265"/>
                  <a:gd name="T29" fmla="*/ 78 h 87"/>
                  <a:gd name="T30" fmla="*/ 8 w 265"/>
                  <a:gd name="T31" fmla="*/ 69 h 87"/>
                  <a:gd name="T32" fmla="*/ 2 w 265"/>
                  <a:gd name="T33" fmla="*/ 57 h 87"/>
                  <a:gd name="T34" fmla="*/ 0 w 265"/>
                  <a:gd name="T35" fmla="*/ 44 h 87"/>
                  <a:gd name="T36" fmla="*/ 2 w 265"/>
                  <a:gd name="T37" fmla="*/ 30 h 87"/>
                  <a:gd name="T38" fmla="*/ 8 w 265"/>
                  <a:gd name="T39" fmla="*/ 17 h 87"/>
                  <a:gd name="T40" fmla="*/ 17 w 265"/>
                  <a:gd name="T41" fmla="*/ 9 h 87"/>
                  <a:gd name="T42" fmla="*/ 29 w 265"/>
                  <a:gd name="T43" fmla="*/ 2 h 87"/>
                  <a:gd name="T44" fmla="*/ 43 w 265"/>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5" h="87">
                    <a:moveTo>
                      <a:pt x="43" y="0"/>
                    </a:moveTo>
                    <a:lnTo>
                      <a:pt x="222" y="0"/>
                    </a:lnTo>
                    <a:lnTo>
                      <a:pt x="235" y="2"/>
                    </a:lnTo>
                    <a:lnTo>
                      <a:pt x="247" y="9"/>
                    </a:lnTo>
                    <a:lnTo>
                      <a:pt x="257" y="17"/>
                    </a:lnTo>
                    <a:lnTo>
                      <a:pt x="263" y="30"/>
                    </a:lnTo>
                    <a:lnTo>
                      <a:pt x="265" y="44"/>
                    </a:lnTo>
                    <a:lnTo>
                      <a:pt x="263" y="57"/>
                    </a:lnTo>
                    <a:lnTo>
                      <a:pt x="257" y="69"/>
                    </a:lnTo>
                    <a:lnTo>
                      <a:pt x="247" y="78"/>
                    </a:lnTo>
                    <a:lnTo>
                      <a:pt x="235" y="85"/>
                    </a:lnTo>
                    <a:lnTo>
                      <a:pt x="222" y="87"/>
                    </a:lnTo>
                    <a:lnTo>
                      <a:pt x="43" y="87"/>
                    </a:lnTo>
                    <a:lnTo>
                      <a:pt x="29" y="85"/>
                    </a:lnTo>
                    <a:lnTo>
                      <a:pt x="17" y="78"/>
                    </a:lnTo>
                    <a:lnTo>
                      <a:pt x="8" y="69"/>
                    </a:lnTo>
                    <a:lnTo>
                      <a:pt x="2" y="57"/>
                    </a:lnTo>
                    <a:lnTo>
                      <a:pt x="0" y="44"/>
                    </a:lnTo>
                    <a:lnTo>
                      <a:pt x="2" y="30"/>
                    </a:lnTo>
                    <a:lnTo>
                      <a:pt x="8" y="17"/>
                    </a:lnTo>
                    <a:lnTo>
                      <a:pt x="17" y="9"/>
                    </a:lnTo>
                    <a:lnTo>
                      <a:pt x="29" y="2"/>
                    </a:lnTo>
                    <a:lnTo>
                      <a:pt x="43" y="0"/>
                    </a:lnTo>
                    <a:close/>
                  </a:path>
                </a:pathLst>
              </a:custGeom>
              <a:solidFill>
                <a:schemeClr val="accent5"/>
              </a:solidFill>
              <a:ln>
                <a:noFill/>
              </a:ln>
            </p:spPr>
            <p:txBody>
              <a:bodyPr/>
              <a:lstStyle/>
              <a:p>
                <a:endParaRPr lang="de-DE" dirty="0"/>
              </a:p>
            </p:txBody>
          </p:sp>
          <p:sp>
            <p:nvSpPr>
              <p:cNvPr id="843" name="Freeform 351"/>
              <p:cNvSpPr>
                <a:spLocks/>
              </p:cNvSpPr>
              <p:nvPr/>
            </p:nvSpPr>
            <p:spPr bwMode="auto">
              <a:xfrm>
                <a:off x="11253720" y="5810837"/>
                <a:ext cx="55557" cy="15877"/>
              </a:xfrm>
              <a:custGeom>
                <a:avLst/>
                <a:gdLst>
                  <a:gd name="T0" fmla="*/ 51 w 350"/>
                  <a:gd name="T1" fmla="*/ 0 h 101"/>
                  <a:gd name="T2" fmla="*/ 300 w 350"/>
                  <a:gd name="T3" fmla="*/ 0 h 101"/>
                  <a:gd name="T4" fmla="*/ 315 w 350"/>
                  <a:gd name="T5" fmla="*/ 2 h 101"/>
                  <a:gd name="T6" fmla="*/ 329 w 350"/>
                  <a:gd name="T7" fmla="*/ 10 h 101"/>
                  <a:gd name="T8" fmla="*/ 340 w 350"/>
                  <a:gd name="T9" fmla="*/ 21 h 101"/>
                  <a:gd name="T10" fmla="*/ 348 w 350"/>
                  <a:gd name="T11" fmla="*/ 34 h 101"/>
                  <a:gd name="T12" fmla="*/ 350 w 350"/>
                  <a:gd name="T13" fmla="*/ 50 h 101"/>
                  <a:gd name="T14" fmla="*/ 348 w 350"/>
                  <a:gd name="T15" fmla="*/ 66 h 101"/>
                  <a:gd name="T16" fmla="*/ 340 w 350"/>
                  <a:gd name="T17" fmla="*/ 80 h 101"/>
                  <a:gd name="T18" fmla="*/ 329 w 350"/>
                  <a:gd name="T19" fmla="*/ 91 h 101"/>
                  <a:gd name="T20" fmla="*/ 315 w 350"/>
                  <a:gd name="T21" fmla="*/ 99 h 101"/>
                  <a:gd name="T22" fmla="*/ 300 w 350"/>
                  <a:gd name="T23" fmla="*/ 101 h 101"/>
                  <a:gd name="T24" fmla="*/ 51 w 350"/>
                  <a:gd name="T25" fmla="*/ 101 h 101"/>
                  <a:gd name="T26" fmla="*/ 34 w 350"/>
                  <a:gd name="T27" fmla="*/ 99 h 101"/>
                  <a:gd name="T28" fmla="*/ 21 w 350"/>
                  <a:gd name="T29" fmla="*/ 91 h 101"/>
                  <a:gd name="T30" fmla="*/ 10 w 350"/>
                  <a:gd name="T31" fmla="*/ 80 h 101"/>
                  <a:gd name="T32" fmla="*/ 2 w 350"/>
                  <a:gd name="T33" fmla="*/ 66 h 101"/>
                  <a:gd name="T34" fmla="*/ 0 w 350"/>
                  <a:gd name="T35" fmla="*/ 50 h 101"/>
                  <a:gd name="T36" fmla="*/ 2 w 350"/>
                  <a:gd name="T37" fmla="*/ 34 h 101"/>
                  <a:gd name="T38" fmla="*/ 10 w 350"/>
                  <a:gd name="T39" fmla="*/ 21 h 101"/>
                  <a:gd name="T40" fmla="*/ 21 w 350"/>
                  <a:gd name="T41" fmla="*/ 10 h 101"/>
                  <a:gd name="T42" fmla="*/ 34 w 350"/>
                  <a:gd name="T43" fmla="*/ 2 h 101"/>
                  <a:gd name="T44" fmla="*/ 51 w 350"/>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0" h="101">
                    <a:moveTo>
                      <a:pt x="51" y="0"/>
                    </a:moveTo>
                    <a:lnTo>
                      <a:pt x="300" y="0"/>
                    </a:lnTo>
                    <a:lnTo>
                      <a:pt x="315" y="2"/>
                    </a:lnTo>
                    <a:lnTo>
                      <a:pt x="329" y="10"/>
                    </a:lnTo>
                    <a:lnTo>
                      <a:pt x="340" y="21"/>
                    </a:lnTo>
                    <a:lnTo>
                      <a:pt x="348" y="34"/>
                    </a:lnTo>
                    <a:lnTo>
                      <a:pt x="350" y="50"/>
                    </a:lnTo>
                    <a:lnTo>
                      <a:pt x="348" y="66"/>
                    </a:lnTo>
                    <a:lnTo>
                      <a:pt x="340" y="80"/>
                    </a:lnTo>
                    <a:lnTo>
                      <a:pt x="329" y="91"/>
                    </a:lnTo>
                    <a:lnTo>
                      <a:pt x="315" y="99"/>
                    </a:lnTo>
                    <a:lnTo>
                      <a:pt x="300" y="101"/>
                    </a:lnTo>
                    <a:lnTo>
                      <a:pt x="51" y="101"/>
                    </a:lnTo>
                    <a:lnTo>
                      <a:pt x="34" y="99"/>
                    </a:lnTo>
                    <a:lnTo>
                      <a:pt x="21" y="91"/>
                    </a:lnTo>
                    <a:lnTo>
                      <a:pt x="10" y="80"/>
                    </a:lnTo>
                    <a:lnTo>
                      <a:pt x="2" y="66"/>
                    </a:lnTo>
                    <a:lnTo>
                      <a:pt x="0" y="50"/>
                    </a:lnTo>
                    <a:lnTo>
                      <a:pt x="2"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844" name="Freeform 352"/>
              <p:cNvSpPr>
                <a:spLocks/>
              </p:cNvSpPr>
              <p:nvPr/>
            </p:nvSpPr>
            <p:spPr bwMode="auto">
              <a:xfrm>
                <a:off x="11329913" y="5812424"/>
                <a:ext cx="41271" cy="12701"/>
              </a:xfrm>
              <a:custGeom>
                <a:avLst/>
                <a:gdLst>
                  <a:gd name="T0" fmla="*/ 43 w 259"/>
                  <a:gd name="T1" fmla="*/ 0 h 85"/>
                  <a:gd name="T2" fmla="*/ 217 w 259"/>
                  <a:gd name="T3" fmla="*/ 0 h 85"/>
                  <a:gd name="T4" fmla="*/ 234 w 259"/>
                  <a:gd name="T5" fmla="*/ 3 h 85"/>
                  <a:gd name="T6" fmla="*/ 247 w 259"/>
                  <a:gd name="T7" fmla="*/ 12 h 85"/>
                  <a:gd name="T8" fmla="*/ 256 w 259"/>
                  <a:gd name="T9" fmla="*/ 25 h 85"/>
                  <a:gd name="T10" fmla="*/ 259 w 259"/>
                  <a:gd name="T11" fmla="*/ 41 h 85"/>
                  <a:gd name="T12" fmla="*/ 256 w 259"/>
                  <a:gd name="T13" fmla="*/ 58 h 85"/>
                  <a:gd name="T14" fmla="*/ 247 w 259"/>
                  <a:gd name="T15" fmla="*/ 72 h 85"/>
                  <a:gd name="T16" fmla="*/ 234 w 259"/>
                  <a:gd name="T17" fmla="*/ 81 h 85"/>
                  <a:gd name="T18" fmla="*/ 217 w 259"/>
                  <a:gd name="T19" fmla="*/ 85 h 85"/>
                  <a:gd name="T20" fmla="*/ 43 w 259"/>
                  <a:gd name="T21" fmla="*/ 85 h 85"/>
                  <a:gd name="T22" fmla="*/ 29 w 259"/>
                  <a:gd name="T23" fmla="*/ 82 h 85"/>
                  <a:gd name="T24" fmla="*/ 18 w 259"/>
                  <a:gd name="T25" fmla="*/ 76 h 85"/>
                  <a:gd name="T26" fmla="*/ 8 w 259"/>
                  <a:gd name="T27" fmla="*/ 67 h 85"/>
                  <a:gd name="T28" fmla="*/ 2 w 259"/>
                  <a:gd name="T29" fmla="*/ 55 h 85"/>
                  <a:gd name="T30" fmla="*/ 0 w 259"/>
                  <a:gd name="T31" fmla="*/ 41 h 85"/>
                  <a:gd name="T32" fmla="*/ 2 w 259"/>
                  <a:gd name="T33" fmla="*/ 28 h 85"/>
                  <a:gd name="T34" fmla="*/ 8 w 259"/>
                  <a:gd name="T35" fmla="*/ 16 h 85"/>
                  <a:gd name="T36" fmla="*/ 18 w 259"/>
                  <a:gd name="T37" fmla="*/ 7 h 85"/>
                  <a:gd name="T38" fmla="*/ 29 w 259"/>
                  <a:gd name="T39" fmla="*/ 2 h 85"/>
                  <a:gd name="T40" fmla="*/ 43 w 259"/>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85">
                    <a:moveTo>
                      <a:pt x="43" y="0"/>
                    </a:moveTo>
                    <a:lnTo>
                      <a:pt x="217" y="0"/>
                    </a:lnTo>
                    <a:lnTo>
                      <a:pt x="234" y="3"/>
                    </a:lnTo>
                    <a:lnTo>
                      <a:pt x="247" y="12"/>
                    </a:lnTo>
                    <a:lnTo>
                      <a:pt x="256" y="25"/>
                    </a:lnTo>
                    <a:lnTo>
                      <a:pt x="259" y="41"/>
                    </a:lnTo>
                    <a:lnTo>
                      <a:pt x="256" y="58"/>
                    </a:lnTo>
                    <a:lnTo>
                      <a:pt x="247" y="72"/>
                    </a:lnTo>
                    <a:lnTo>
                      <a:pt x="234" y="81"/>
                    </a:lnTo>
                    <a:lnTo>
                      <a:pt x="217" y="85"/>
                    </a:lnTo>
                    <a:lnTo>
                      <a:pt x="43" y="85"/>
                    </a:lnTo>
                    <a:lnTo>
                      <a:pt x="29" y="82"/>
                    </a:lnTo>
                    <a:lnTo>
                      <a:pt x="18" y="76"/>
                    </a:lnTo>
                    <a:lnTo>
                      <a:pt x="8" y="67"/>
                    </a:lnTo>
                    <a:lnTo>
                      <a:pt x="2" y="55"/>
                    </a:lnTo>
                    <a:lnTo>
                      <a:pt x="0" y="41"/>
                    </a:lnTo>
                    <a:lnTo>
                      <a:pt x="2" y="28"/>
                    </a:lnTo>
                    <a:lnTo>
                      <a:pt x="8" y="16"/>
                    </a:lnTo>
                    <a:lnTo>
                      <a:pt x="18" y="7"/>
                    </a:lnTo>
                    <a:lnTo>
                      <a:pt x="29" y="2"/>
                    </a:lnTo>
                    <a:lnTo>
                      <a:pt x="43" y="0"/>
                    </a:lnTo>
                    <a:close/>
                  </a:path>
                </a:pathLst>
              </a:custGeom>
              <a:solidFill>
                <a:schemeClr val="accent5"/>
              </a:solidFill>
              <a:ln>
                <a:noFill/>
              </a:ln>
            </p:spPr>
            <p:txBody>
              <a:bodyPr/>
              <a:lstStyle/>
              <a:p>
                <a:endParaRPr lang="de-DE" dirty="0"/>
              </a:p>
            </p:txBody>
          </p:sp>
          <p:sp>
            <p:nvSpPr>
              <p:cNvPr id="845" name="Freeform 353"/>
              <p:cNvSpPr>
                <a:spLocks/>
              </p:cNvSpPr>
              <p:nvPr/>
            </p:nvSpPr>
            <p:spPr bwMode="auto">
              <a:xfrm>
                <a:off x="11388644" y="5810837"/>
                <a:ext cx="57144" cy="15877"/>
              </a:xfrm>
              <a:custGeom>
                <a:avLst/>
                <a:gdLst>
                  <a:gd name="T0" fmla="*/ 52 w 359"/>
                  <a:gd name="T1" fmla="*/ 0 h 103"/>
                  <a:gd name="T2" fmla="*/ 307 w 359"/>
                  <a:gd name="T3" fmla="*/ 0 h 103"/>
                  <a:gd name="T4" fmla="*/ 324 w 359"/>
                  <a:gd name="T5" fmla="*/ 3 h 103"/>
                  <a:gd name="T6" fmla="*/ 338 w 359"/>
                  <a:gd name="T7" fmla="*/ 10 h 103"/>
                  <a:gd name="T8" fmla="*/ 349 w 359"/>
                  <a:gd name="T9" fmla="*/ 22 h 103"/>
                  <a:gd name="T10" fmla="*/ 356 w 359"/>
                  <a:gd name="T11" fmla="*/ 35 h 103"/>
                  <a:gd name="T12" fmla="*/ 359 w 359"/>
                  <a:gd name="T13" fmla="*/ 51 h 103"/>
                  <a:gd name="T14" fmla="*/ 356 w 359"/>
                  <a:gd name="T15" fmla="*/ 68 h 103"/>
                  <a:gd name="T16" fmla="*/ 349 w 359"/>
                  <a:gd name="T17" fmla="*/ 82 h 103"/>
                  <a:gd name="T18" fmla="*/ 338 w 359"/>
                  <a:gd name="T19" fmla="*/ 93 h 103"/>
                  <a:gd name="T20" fmla="*/ 324 w 359"/>
                  <a:gd name="T21" fmla="*/ 100 h 103"/>
                  <a:gd name="T22" fmla="*/ 307 w 359"/>
                  <a:gd name="T23" fmla="*/ 103 h 103"/>
                  <a:gd name="T24" fmla="*/ 52 w 359"/>
                  <a:gd name="T25" fmla="*/ 103 h 103"/>
                  <a:gd name="T26" fmla="*/ 35 w 359"/>
                  <a:gd name="T27" fmla="*/ 100 h 103"/>
                  <a:gd name="T28" fmla="*/ 21 w 359"/>
                  <a:gd name="T29" fmla="*/ 93 h 103"/>
                  <a:gd name="T30" fmla="*/ 10 w 359"/>
                  <a:gd name="T31" fmla="*/ 82 h 103"/>
                  <a:gd name="T32" fmla="*/ 3 w 359"/>
                  <a:gd name="T33" fmla="*/ 68 h 103"/>
                  <a:gd name="T34" fmla="*/ 0 w 359"/>
                  <a:gd name="T35" fmla="*/ 51 h 103"/>
                  <a:gd name="T36" fmla="*/ 3 w 359"/>
                  <a:gd name="T37" fmla="*/ 35 h 103"/>
                  <a:gd name="T38" fmla="*/ 10 w 359"/>
                  <a:gd name="T39" fmla="*/ 22 h 103"/>
                  <a:gd name="T40" fmla="*/ 21 w 359"/>
                  <a:gd name="T41" fmla="*/ 10 h 103"/>
                  <a:gd name="T42" fmla="*/ 35 w 359"/>
                  <a:gd name="T43" fmla="*/ 3 h 103"/>
                  <a:gd name="T44" fmla="*/ 52 w 359"/>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9" h="103">
                    <a:moveTo>
                      <a:pt x="52" y="0"/>
                    </a:moveTo>
                    <a:lnTo>
                      <a:pt x="307" y="0"/>
                    </a:lnTo>
                    <a:lnTo>
                      <a:pt x="324" y="3"/>
                    </a:lnTo>
                    <a:lnTo>
                      <a:pt x="338" y="10"/>
                    </a:lnTo>
                    <a:lnTo>
                      <a:pt x="349" y="22"/>
                    </a:lnTo>
                    <a:lnTo>
                      <a:pt x="356" y="35"/>
                    </a:lnTo>
                    <a:lnTo>
                      <a:pt x="359" y="51"/>
                    </a:lnTo>
                    <a:lnTo>
                      <a:pt x="356" y="68"/>
                    </a:lnTo>
                    <a:lnTo>
                      <a:pt x="349" y="82"/>
                    </a:lnTo>
                    <a:lnTo>
                      <a:pt x="338" y="93"/>
                    </a:lnTo>
                    <a:lnTo>
                      <a:pt x="324" y="100"/>
                    </a:lnTo>
                    <a:lnTo>
                      <a:pt x="307" y="103"/>
                    </a:lnTo>
                    <a:lnTo>
                      <a:pt x="52" y="103"/>
                    </a:lnTo>
                    <a:lnTo>
                      <a:pt x="35" y="100"/>
                    </a:lnTo>
                    <a:lnTo>
                      <a:pt x="21" y="93"/>
                    </a:lnTo>
                    <a:lnTo>
                      <a:pt x="10" y="82"/>
                    </a:lnTo>
                    <a:lnTo>
                      <a:pt x="3" y="68"/>
                    </a:lnTo>
                    <a:lnTo>
                      <a:pt x="0" y="51"/>
                    </a:lnTo>
                    <a:lnTo>
                      <a:pt x="3" y="35"/>
                    </a:lnTo>
                    <a:lnTo>
                      <a:pt x="10" y="22"/>
                    </a:lnTo>
                    <a:lnTo>
                      <a:pt x="21" y="10"/>
                    </a:lnTo>
                    <a:lnTo>
                      <a:pt x="35" y="3"/>
                    </a:lnTo>
                    <a:lnTo>
                      <a:pt x="52" y="0"/>
                    </a:lnTo>
                    <a:close/>
                  </a:path>
                </a:pathLst>
              </a:custGeom>
              <a:solidFill>
                <a:schemeClr val="accent5"/>
              </a:solidFill>
              <a:ln>
                <a:noFill/>
              </a:ln>
            </p:spPr>
            <p:txBody>
              <a:bodyPr/>
              <a:lstStyle/>
              <a:p>
                <a:endParaRPr lang="de-DE" dirty="0"/>
              </a:p>
            </p:txBody>
          </p:sp>
          <p:sp>
            <p:nvSpPr>
              <p:cNvPr id="846" name="Freeform 354"/>
              <p:cNvSpPr>
                <a:spLocks/>
              </p:cNvSpPr>
              <p:nvPr/>
            </p:nvSpPr>
            <p:spPr bwMode="auto">
              <a:xfrm>
                <a:off x="10974348" y="5864818"/>
                <a:ext cx="49208" cy="14289"/>
              </a:xfrm>
              <a:custGeom>
                <a:avLst/>
                <a:gdLst>
                  <a:gd name="T0" fmla="*/ 47 w 312"/>
                  <a:gd name="T1" fmla="*/ 0 h 95"/>
                  <a:gd name="T2" fmla="*/ 264 w 312"/>
                  <a:gd name="T3" fmla="*/ 0 h 95"/>
                  <a:gd name="T4" fmla="*/ 280 w 312"/>
                  <a:gd name="T5" fmla="*/ 2 h 95"/>
                  <a:gd name="T6" fmla="*/ 293 w 312"/>
                  <a:gd name="T7" fmla="*/ 8 h 95"/>
                  <a:gd name="T8" fmla="*/ 303 w 312"/>
                  <a:gd name="T9" fmla="*/ 20 h 95"/>
                  <a:gd name="T10" fmla="*/ 310 w 312"/>
                  <a:gd name="T11" fmla="*/ 32 h 95"/>
                  <a:gd name="T12" fmla="*/ 312 w 312"/>
                  <a:gd name="T13" fmla="*/ 47 h 95"/>
                  <a:gd name="T14" fmla="*/ 310 w 312"/>
                  <a:gd name="T15" fmla="*/ 63 h 95"/>
                  <a:gd name="T16" fmla="*/ 303 w 312"/>
                  <a:gd name="T17" fmla="*/ 76 h 95"/>
                  <a:gd name="T18" fmla="*/ 293 w 312"/>
                  <a:gd name="T19" fmla="*/ 86 h 95"/>
                  <a:gd name="T20" fmla="*/ 280 w 312"/>
                  <a:gd name="T21" fmla="*/ 92 h 95"/>
                  <a:gd name="T22" fmla="*/ 264 w 312"/>
                  <a:gd name="T23" fmla="*/ 95 h 95"/>
                  <a:gd name="T24" fmla="*/ 47 w 312"/>
                  <a:gd name="T25" fmla="*/ 95 h 95"/>
                  <a:gd name="T26" fmla="*/ 32 w 312"/>
                  <a:gd name="T27" fmla="*/ 92 h 95"/>
                  <a:gd name="T28" fmla="*/ 19 w 312"/>
                  <a:gd name="T29" fmla="*/ 86 h 95"/>
                  <a:gd name="T30" fmla="*/ 9 w 312"/>
                  <a:gd name="T31" fmla="*/ 76 h 95"/>
                  <a:gd name="T32" fmla="*/ 2 w 312"/>
                  <a:gd name="T33" fmla="*/ 63 h 95"/>
                  <a:gd name="T34" fmla="*/ 0 w 312"/>
                  <a:gd name="T35" fmla="*/ 47 h 95"/>
                  <a:gd name="T36" fmla="*/ 2 w 312"/>
                  <a:gd name="T37" fmla="*/ 32 h 95"/>
                  <a:gd name="T38" fmla="*/ 9 w 312"/>
                  <a:gd name="T39" fmla="*/ 20 h 95"/>
                  <a:gd name="T40" fmla="*/ 19 w 312"/>
                  <a:gd name="T41" fmla="*/ 8 h 95"/>
                  <a:gd name="T42" fmla="*/ 32 w 312"/>
                  <a:gd name="T43" fmla="*/ 2 h 95"/>
                  <a:gd name="T44" fmla="*/ 47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7" y="0"/>
                    </a:moveTo>
                    <a:lnTo>
                      <a:pt x="264" y="0"/>
                    </a:lnTo>
                    <a:lnTo>
                      <a:pt x="280" y="2"/>
                    </a:lnTo>
                    <a:lnTo>
                      <a:pt x="293" y="8"/>
                    </a:lnTo>
                    <a:lnTo>
                      <a:pt x="303" y="20"/>
                    </a:lnTo>
                    <a:lnTo>
                      <a:pt x="310" y="32"/>
                    </a:lnTo>
                    <a:lnTo>
                      <a:pt x="312" y="47"/>
                    </a:lnTo>
                    <a:lnTo>
                      <a:pt x="310" y="63"/>
                    </a:lnTo>
                    <a:lnTo>
                      <a:pt x="303" y="76"/>
                    </a:lnTo>
                    <a:lnTo>
                      <a:pt x="293" y="86"/>
                    </a:lnTo>
                    <a:lnTo>
                      <a:pt x="280" y="92"/>
                    </a:lnTo>
                    <a:lnTo>
                      <a:pt x="264" y="95"/>
                    </a:lnTo>
                    <a:lnTo>
                      <a:pt x="47" y="95"/>
                    </a:lnTo>
                    <a:lnTo>
                      <a:pt x="32" y="92"/>
                    </a:lnTo>
                    <a:lnTo>
                      <a:pt x="19" y="86"/>
                    </a:lnTo>
                    <a:lnTo>
                      <a:pt x="9" y="76"/>
                    </a:lnTo>
                    <a:lnTo>
                      <a:pt x="2" y="63"/>
                    </a:lnTo>
                    <a:lnTo>
                      <a:pt x="0" y="47"/>
                    </a:lnTo>
                    <a:lnTo>
                      <a:pt x="2" y="32"/>
                    </a:lnTo>
                    <a:lnTo>
                      <a:pt x="9" y="20"/>
                    </a:lnTo>
                    <a:lnTo>
                      <a:pt x="19" y="8"/>
                    </a:lnTo>
                    <a:lnTo>
                      <a:pt x="32" y="2"/>
                    </a:lnTo>
                    <a:lnTo>
                      <a:pt x="47" y="0"/>
                    </a:lnTo>
                    <a:close/>
                  </a:path>
                </a:pathLst>
              </a:custGeom>
              <a:solidFill>
                <a:schemeClr val="accent5"/>
              </a:solidFill>
              <a:ln>
                <a:noFill/>
              </a:ln>
            </p:spPr>
            <p:txBody>
              <a:bodyPr/>
              <a:lstStyle/>
              <a:p>
                <a:endParaRPr lang="de-DE" dirty="0"/>
              </a:p>
            </p:txBody>
          </p:sp>
          <p:sp>
            <p:nvSpPr>
              <p:cNvPr id="847" name="Freeform 355"/>
              <p:cNvSpPr>
                <a:spLocks/>
              </p:cNvSpPr>
              <p:nvPr/>
            </p:nvSpPr>
            <p:spPr bwMode="auto">
              <a:xfrm>
                <a:off x="11052128" y="5867993"/>
                <a:ext cx="47620" cy="14289"/>
              </a:xfrm>
              <a:custGeom>
                <a:avLst/>
                <a:gdLst>
                  <a:gd name="T0" fmla="*/ 46 w 301"/>
                  <a:gd name="T1" fmla="*/ 0 h 94"/>
                  <a:gd name="T2" fmla="*/ 254 w 301"/>
                  <a:gd name="T3" fmla="*/ 0 h 94"/>
                  <a:gd name="T4" fmla="*/ 269 w 301"/>
                  <a:gd name="T5" fmla="*/ 3 h 94"/>
                  <a:gd name="T6" fmla="*/ 282 w 301"/>
                  <a:gd name="T7" fmla="*/ 9 h 94"/>
                  <a:gd name="T8" fmla="*/ 292 w 301"/>
                  <a:gd name="T9" fmla="*/ 20 h 94"/>
                  <a:gd name="T10" fmla="*/ 298 w 301"/>
                  <a:gd name="T11" fmla="*/ 32 h 94"/>
                  <a:gd name="T12" fmla="*/ 301 w 301"/>
                  <a:gd name="T13" fmla="*/ 47 h 94"/>
                  <a:gd name="T14" fmla="*/ 298 w 301"/>
                  <a:gd name="T15" fmla="*/ 62 h 94"/>
                  <a:gd name="T16" fmla="*/ 292 w 301"/>
                  <a:gd name="T17" fmla="*/ 74 h 94"/>
                  <a:gd name="T18" fmla="*/ 282 w 301"/>
                  <a:gd name="T19" fmla="*/ 84 h 94"/>
                  <a:gd name="T20" fmla="*/ 269 w 301"/>
                  <a:gd name="T21" fmla="*/ 91 h 94"/>
                  <a:gd name="T22" fmla="*/ 254 w 301"/>
                  <a:gd name="T23" fmla="*/ 94 h 94"/>
                  <a:gd name="T24" fmla="*/ 46 w 301"/>
                  <a:gd name="T25" fmla="*/ 94 h 94"/>
                  <a:gd name="T26" fmla="*/ 32 w 301"/>
                  <a:gd name="T27" fmla="*/ 91 h 94"/>
                  <a:gd name="T28" fmla="*/ 18 w 301"/>
                  <a:gd name="T29" fmla="*/ 84 h 94"/>
                  <a:gd name="T30" fmla="*/ 8 w 301"/>
                  <a:gd name="T31" fmla="*/ 74 h 94"/>
                  <a:gd name="T32" fmla="*/ 2 w 301"/>
                  <a:gd name="T33" fmla="*/ 62 h 94"/>
                  <a:gd name="T34" fmla="*/ 0 w 301"/>
                  <a:gd name="T35" fmla="*/ 47 h 94"/>
                  <a:gd name="T36" fmla="*/ 2 w 301"/>
                  <a:gd name="T37" fmla="*/ 32 h 94"/>
                  <a:gd name="T38" fmla="*/ 8 w 301"/>
                  <a:gd name="T39" fmla="*/ 20 h 94"/>
                  <a:gd name="T40" fmla="*/ 18 w 301"/>
                  <a:gd name="T41" fmla="*/ 9 h 94"/>
                  <a:gd name="T42" fmla="*/ 32 w 301"/>
                  <a:gd name="T43" fmla="*/ 3 h 94"/>
                  <a:gd name="T44" fmla="*/ 46 w 301"/>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1" h="94">
                    <a:moveTo>
                      <a:pt x="46" y="0"/>
                    </a:moveTo>
                    <a:lnTo>
                      <a:pt x="254" y="0"/>
                    </a:lnTo>
                    <a:lnTo>
                      <a:pt x="269" y="3"/>
                    </a:lnTo>
                    <a:lnTo>
                      <a:pt x="282" y="9"/>
                    </a:lnTo>
                    <a:lnTo>
                      <a:pt x="292" y="20"/>
                    </a:lnTo>
                    <a:lnTo>
                      <a:pt x="298" y="32"/>
                    </a:lnTo>
                    <a:lnTo>
                      <a:pt x="301" y="47"/>
                    </a:lnTo>
                    <a:lnTo>
                      <a:pt x="298" y="62"/>
                    </a:lnTo>
                    <a:lnTo>
                      <a:pt x="292" y="74"/>
                    </a:lnTo>
                    <a:lnTo>
                      <a:pt x="282" y="84"/>
                    </a:lnTo>
                    <a:lnTo>
                      <a:pt x="269" y="91"/>
                    </a:lnTo>
                    <a:lnTo>
                      <a:pt x="254" y="94"/>
                    </a:lnTo>
                    <a:lnTo>
                      <a:pt x="46" y="94"/>
                    </a:lnTo>
                    <a:lnTo>
                      <a:pt x="32" y="91"/>
                    </a:lnTo>
                    <a:lnTo>
                      <a:pt x="18" y="84"/>
                    </a:lnTo>
                    <a:lnTo>
                      <a:pt x="8" y="74"/>
                    </a:lnTo>
                    <a:lnTo>
                      <a:pt x="2" y="62"/>
                    </a:lnTo>
                    <a:lnTo>
                      <a:pt x="0" y="47"/>
                    </a:lnTo>
                    <a:lnTo>
                      <a:pt x="2" y="32"/>
                    </a:lnTo>
                    <a:lnTo>
                      <a:pt x="8" y="20"/>
                    </a:lnTo>
                    <a:lnTo>
                      <a:pt x="18" y="9"/>
                    </a:lnTo>
                    <a:lnTo>
                      <a:pt x="32" y="3"/>
                    </a:lnTo>
                    <a:lnTo>
                      <a:pt x="46" y="0"/>
                    </a:lnTo>
                    <a:close/>
                  </a:path>
                </a:pathLst>
              </a:custGeom>
              <a:solidFill>
                <a:schemeClr val="accent5"/>
              </a:solidFill>
              <a:ln>
                <a:noFill/>
              </a:ln>
            </p:spPr>
            <p:txBody>
              <a:bodyPr/>
              <a:lstStyle/>
              <a:p>
                <a:endParaRPr lang="de-DE" dirty="0"/>
              </a:p>
            </p:txBody>
          </p:sp>
          <p:sp>
            <p:nvSpPr>
              <p:cNvPr id="848" name="Freeform 356"/>
              <p:cNvSpPr>
                <a:spLocks/>
              </p:cNvSpPr>
              <p:nvPr/>
            </p:nvSpPr>
            <p:spPr bwMode="auto">
              <a:xfrm>
                <a:off x="11120383" y="5866405"/>
                <a:ext cx="41271" cy="12701"/>
              </a:xfrm>
              <a:custGeom>
                <a:avLst/>
                <a:gdLst>
                  <a:gd name="T0" fmla="*/ 42 w 252"/>
                  <a:gd name="T1" fmla="*/ 0 h 84"/>
                  <a:gd name="T2" fmla="*/ 210 w 252"/>
                  <a:gd name="T3" fmla="*/ 0 h 84"/>
                  <a:gd name="T4" fmla="*/ 226 w 252"/>
                  <a:gd name="T5" fmla="*/ 3 h 84"/>
                  <a:gd name="T6" fmla="*/ 240 w 252"/>
                  <a:gd name="T7" fmla="*/ 12 h 84"/>
                  <a:gd name="T8" fmla="*/ 249 w 252"/>
                  <a:gd name="T9" fmla="*/ 25 h 84"/>
                  <a:gd name="T10" fmla="*/ 252 w 252"/>
                  <a:gd name="T11" fmla="*/ 42 h 84"/>
                  <a:gd name="T12" fmla="*/ 249 w 252"/>
                  <a:gd name="T13" fmla="*/ 57 h 84"/>
                  <a:gd name="T14" fmla="*/ 240 w 252"/>
                  <a:gd name="T15" fmla="*/ 71 h 84"/>
                  <a:gd name="T16" fmla="*/ 226 w 252"/>
                  <a:gd name="T17" fmla="*/ 81 h 84"/>
                  <a:gd name="T18" fmla="*/ 210 w 252"/>
                  <a:gd name="T19" fmla="*/ 84 h 84"/>
                  <a:gd name="T20" fmla="*/ 42 w 252"/>
                  <a:gd name="T21" fmla="*/ 84 h 84"/>
                  <a:gd name="T22" fmla="*/ 25 w 252"/>
                  <a:gd name="T23" fmla="*/ 81 h 84"/>
                  <a:gd name="T24" fmla="*/ 12 w 252"/>
                  <a:gd name="T25" fmla="*/ 71 h 84"/>
                  <a:gd name="T26" fmla="*/ 3 w 252"/>
                  <a:gd name="T27" fmla="*/ 57 h 84"/>
                  <a:gd name="T28" fmla="*/ 0 w 252"/>
                  <a:gd name="T29" fmla="*/ 42 h 84"/>
                  <a:gd name="T30" fmla="*/ 3 w 252"/>
                  <a:gd name="T31" fmla="*/ 25 h 84"/>
                  <a:gd name="T32" fmla="*/ 12 w 252"/>
                  <a:gd name="T33" fmla="*/ 12 h 84"/>
                  <a:gd name="T34" fmla="*/ 25 w 252"/>
                  <a:gd name="T35" fmla="*/ 3 h 84"/>
                  <a:gd name="T36" fmla="*/ 42 w 252"/>
                  <a:gd name="T3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84">
                    <a:moveTo>
                      <a:pt x="42" y="0"/>
                    </a:moveTo>
                    <a:lnTo>
                      <a:pt x="210" y="0"/>
                    </a:lnTo>
                    <a:lnTo>
                      <a:pt x="226" y="3"/>
                    </a:lnTo>
                    <a:lnTo>
                      <a:pt x="240" y="12"/>
                    </a:lnTo>
                    <a:lnTo>
                      <a:pt x="249" y="25"/>
                    </a:lnTo>
                    <a:lnTo>
                      <a:pt x="252" y="42"/>
                    </a:lnTo>
                    <a:lnTo>
                      <a:pt x="249" y="57"/>
                    </a:lnTo>
                    <a:lnTo>
                      <a:pt x="240" y="71"/>
                    </a:lnTo>
                    <a:lnTo>
                      <a:pt x="226" y="81"/>
                    </a:lnTo>
                    <a:lnTo>
                      <a:pt x="210" y="84"/>
                    </a:lnTo>
                    <a:lnTo>
                      <a:pt x="42" y="84"/>
                    </a:lnTo>
                    <a:lnTo>
                      <a:pt x="25" y="81"/>
                    </a:lnTo>
                    <a:lnTo>
                      <a:pt x="12" y="71"/>
                    </a:lnTo>
                    <a:lnTo>
                      <a:pt x="3" y="57"/>
                    </a:lnTo>
                    <a:lnTo>
                      <a:pt x="0" y="42"/>
                    </a:lnTo>
                    <a:lnTo>
                      <a:pt x="3" y="25"/>
                    </a:lnTo>
                    <a:lnTo>
                      <a:pt x="12" y="12"/>
                    </a:lnTo>
                    <a:lnTo>
                      <a:pt x="25" y="3"/>
                    </a:lnTo>
                    <a:lnTo>
                      <a:pt x="42" y="0"/>
                    </a:lnTo>
                    <a:close/>
                  </a:path>
                </a:pathLst>
              </a:custGeom>
              <a:solidFill>
                <a:schemeClr val="accent5"/>
              </a:solidFill>
              <a:ln>
                <a:noFill/>
              </a:ln>
            </p:spPr>
            <p:txBody>
              <a:bodyPr/>
              <a:lstStyle/>
              <a:p>
                <a:endParaRPr lang="de-DE" dirty="0"/>
              </a:p>
            </p:txBody>
          </p:sp>
          <p:sp>
            <p:nvSpPr>
              <p:cNvPr id="849" name="Freeform 357"/>
              <p:cNvSpPr>
                <a:spLocks/>
              </p:cNvSpPr>
              <p:nvPr/>
            </p:nvSpPr>
            <p:spPr bwMode="auto">
              <a:xfrm>
                <a:off x="11182290" y="5864818"/>
                <a:ext cx="55557" cy="15877"/>
              </a:xfrm>
              <a:custGeom>
                <a:avLst/>
                <a:gdLst>
                  <a:gd name="T0" fmla="*/ 51 w 345"/>
                  <a:gd name="T1" fmla="*/ 0 h 101"/>
                  <a:gd name="T2" fmla="*/ 294 w 345"/>
                  <a:gd name="T3" fmla="*/ 0 h 101"/>
                  <a:gd name="T4" fmla="*/ 310 w 345"/>
                  <a:gd name="T5" fmla="*/ 3 h 101"/>
                  <a:gd name="T6" fmla="*/ 324 w 345"/>
                  <a:gd name="T7" fmla="*/ 9 h 101"/>
                  <a:gd name="T8" fmla="*/ 335 w 345"/>
                  <a:gd name="T9" fmla="*/ 20 h 101"/>
                  <a:gd name="T10" fmla="*/ 342 w 345"/>
                  <a:gd name="T11" fmla="*/ 35 h 101"/>
                  <a:gd name="T12" fmla="*/ 345 w 345"/>
                  <a:gd name="T13" fmla="*/ 50 h 101"/>
                  <a:gd name="T14" fmla="*/ 342 w 345"/>
                  <a:gd name="T15" fmla="*/ 67 h 101"/>
                  <a:gd name="T16" fmla="*/ 335 w 345"/>
                  <a:gd name="T17" fmla="*/ 80 h 101"/>
                  <a:gd name="T18" fmla="*/ 324 w 345"/>
                  <a:gd name="T19" fmla="*/ 91 h 101"/>
                  <a:gd name="T20" fmla="*/ 310 w 345"/>
                  <a:gd name="T21" fmla="*/ 99 h 101"/>
                  <a:gd name="T22" fmla="*/ 294 w 345"/>
                  <a:gd name="T23" fmla="*/ 101 h 101"/>
                  <a:gd name="T24" fmla="*/ 51 w 345"/>
                  <a:gd name="T25" fmla="*/ 101 h 101"/>
                  <a:gd name="T26" fmla="*/ 34 w 345"/>
                  <a:gd name="T27" fmla="*/ 99 h 101"/>
                  <a:gd name="T28" fmla="*/ 21 w 345"/>
                  <a:gd name="T29" fmla="*/ 91 h 101"/>
                  <a:gd name="T30" fmla="*/ 10 w 345"/>
                  <a:gd name="T31" fmla="*/ 80 h 101"/>
                  <a:gd name="T32" fmla="*/ 3 w 345"/>
                  <a:gd name="T33" fmla="*/ 67 h 101"/>
                  <a:gd name="T34" fmla="*/ 0 w 345"/>
                  <a:gd name="T35" fmla="*/ 50 h 101"/>
                  <a:gd name="T36" fmla="*/ 3 w 345"/>
                  <a:gd name="T37" fmla="*/ 35 h 101"/>
                  <a:gd name="T38" fmla="*/ 10 w 345"/>
                  <a:gd name="T39" fmla="*/ 20 h 101"/>
                  <a:gd name="T40" fmla="*/ 21 w 345"/>
                  <a:gd name="T41" fmla="*/ 9 h 101"/>
                  <a:gd name="T42" fmla="*/ 34 w 345"/>
                  <a:gd name="T43" fmla="*/ 3 h 101"/>
                  <a:gd name="T44" fmla="*/ 51 w 345"/>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101">
                    <a:moveTo>
                      <a:pt x="51" y="0"/>
                    </a:moveTo>
                    <a:lnTo>
                      <a:pt x="294" y="0"/>
                    </a:lnTo>
                    <a:lnTo>
                      <a:pt x="310" y="3"/>
                    </a:lnTo>
                    <a:lnTo>
                      <a:pt x="324" y="9"/>
                    </a:lnTo>
                    <a:lnTo>
                      <a:pt x="335" y="20"/>
                    </a:lnTo>
                    <a:lnTo>
                      <a:pt x="342" y="35"/>
                    </a:lnTo>
                    <a:lnTo>
                      <a:pt x="345" y="50"/>
                    </a:lnTo>
                    <a:lnTo>
                      <a:pt x="342" y="67"/>
                    </a:lnTo>
                    <a:lnTo>
                      <a:pt x="335" y="80"/>
                    </a:lnTo>
                    <a:lnTo>
                      <a:pt x="324" y="91"/>
                    </a:lnTo>
                    <a:lnTo>
                      <a:pt x="310" y="99"/>
                    </a:lnTo>
                    <a:lnTo>
                      <a:pt x="294" y="101"/>
                    </a:lnTo>
                    <a:lnTo>
                      <a:pt x="51" y="101"/>
                    </a:lnTo>
                    <a:lnTo>
                      <a:pt x="34" y="99"/>
                    </a:lnTo>
                    <a:lnTo>
                      <a:pt x="21" y="91"/>
                    </a:lnTo>
                    <a:lnTo>
                      <a:pt x="10" y="80"/>
                    </a:lnTo>
                    <a:lnTo>
                      <a:pt x="3" y="67"/>
                    </a:lnTo>
                    <a:lnTo>
                      <a:pt x="0" y="50"/>
                    </a:lnTo>
                    <a:lnTo>
                      <a:pt x="3" y="35"/>
                    </a:lnTo>
                    <a:lnTo>
                      <a:pt x="10" y="20"/>
                    </a:lnTo>
                    <a:lnTo>
                      <a:pt x="21" y="9"/>
                    </a:lnTo>
                    <a:lnTo>
                      <a:pt x="34" y="3"/>
                    </a:lnTo>
                    <a:lnTo>
                      <a:pt x="51" y="0"/>
                    </a:lnTo>
                    <a:close/>
                  </a:path>
                </a:pathLst>
              </a:custGeom>
              <a:solidFill>
                <a:schemeClr val="accent5"/>
              </a:solidFill>
              <a:ln>
                <a:noFill/>
              </a:ln>
            </p:spPr>
            <p:txBody>
              <a:bodyPr/>
              <a:lstStyle/>
              <a:p>
                <a:endParaRPr lang="de-DE" dirty="0"/>
              </a:p>
            </p:txBody>
          </p:sp>
          <p:sp>
            <p:nvSpPr>
              <p:cNvPr id="850" name="Freeform 358"/>
              <p:cNvSpPr>
                <a:spLocks/>
              </p:cNvSpPr>
              <p:nvPr/>
            </p:nvSpPr>
            <p:spPr bwMode="auto">
              <a:xfrm>
                <a:off x="11258482" y="5869581"/>
                <a:ext cx="49208" cy="14289"/>
              </a:xfrm>
              <a:custGeom>
                <a:avLst/>
                <a:gdLst>
                  <a:gd name="T0" fmla="*/ 47 w 309"/>
                  <a:gd name="T1" fmla="*/ 0 h 95"/>
                  <a:gd name="T2" fmla="*/ 261 w 309"/>
                  <a:gd name="T3" fmla="*/ 0 h 95"/>
                  <a:gd name="T4" fmla="*/ 276 w 309"/>
                  <a:gd name="T5" fmla="*/ 2 h 95"/>
                  <a:gd name="T6" fmla="*/ 289 w 309"/>
                  <a:gd name="T7" fmla="*/ 8 h 95"/>
                  <a:gd name="T8" fmla="*/ 300 w 309"/>
                  <a:gd name="T9" fmla="*/ 19 h 95"/>
                  <a:gd name="T10" fmla="*/ 306 w 309"/>
                  <a:gd name="T11" fmla="*/ 32 h 95"/>
                  <a:gd name="T12" fmla="*/ 309 w 309"/>
                  <a:gd name="T13" fmla="*/ 47 h 95"/>
                  <a:gd name="T14" fmla="*/ 306 w 309"/>
                  <a:gd name="T15" fmla="*/ 61 h 95"/>
                  <a:gd name="T16" fmla="*/ 300 w 309"/>
                  <a:gd name="T17" fmla="*/ 75 h 95"/>
                  <a:gd name="T18" fmla="*/ 289 w 309"/>
                  <a:gd name="T19" fmla="*/ 85 h 95"/>
                  <a:gd name="T20" fmla="*/ 276 w 309"/>
                  <a:gd name="T21" fmla="*/ 92 h 95"/>
                  <a:gd name="T22" fmla="*/ 261 w 309"/>
                  <a:gd name="T23" fmla="*/ 95 h 95"/>
                  <a:gd name="T24" fmla="*/ 47 w 309"/>
                  <a:gd name="T25" fmla="*/ 95 h 95"/>
                  <a:gd name="T26" fmla="*/ 33 w 309"/>
                  <a:gd name="T27" fmla="*/ 92 h 95"/>
                  <a:gd name="T28" fmla="*/ 20 w 309"/>
                  <a:gd name="T29" fmla="*/ 85 h 95"/>
                  <a:gd name="T30" fmla="*/ 10 w 309"/>
                  <a:gd name="T31" fmla="*/ 75 h 95"/>
                  <a:gd name="T32" fmla="*/ 3 w 309"/>
                  <a:gd name="T33" fmla="*/ 61 h 95"/>
                  <a:gd name="T34" fmla="*/ 0 w 309"/>
                  <a:gd name="T35" fmla="*/ 47 h 95"/>
                  <a:gd name="T36" fmla="*/ 3 w 309"/>
                  <a:gd name="T37" fmla="*/ 32 h 95"/>
                  <a:gd name="T38" fmla="*/ 10 w 309"/>
                  <a:gd name="T39" fmla="*/ 19 h 95"/>
                  <a:gd name="T40" fmla="*/ 20 w 309"/>
                  <a:gd name="T41" fmla="*/ 8 h 95"/>
                  <a:gd name="T42" fmla="*/ 33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6" y="2"/>
                    </a:lnTo>
                    <a:lnTo>
                      <a:pt x="289" y="8"/>
                    </a:lnTo>
                    <a:lnTo>
                      <a:pt x="300" y="19"/>
                    </a:lnTo>
                    <a:lnTo>
                      <a:pt x="306" y="32"/>
                    </a:lnTo>
                    <a:lnTo>
                      <a:pt x="309" y="47"/>
                    </a:lnTo>
                    <a:lnTo>
                      <a:pt x="306" y="61"/>
                    </a:lnTo>
                    <a:lnTo>
                      <a:pt x="300" y="75"/>
                    </a:lnTo>
                    <a:lnTo>
                      <a:pt x="289" y="85"/>
                    </a:lnTo>
                    <a:lnTo>
                      <a:pt x="276" y="92"/>
                    </a:lnTo>
                    <a:lnTo>
                      <a:pt x="261" y="95"/>
                    </a:lnTo>
                    <a:lnTo>
                      <a:pt x="47" y="95"/>
                    </a:lnTo>
                    <a:lnTo>
                      <a:pt x="33" y="92"/>
                    </a:lnTo>
                    <a:lnTo>
                      <a:pt x="20" y="85"/>
                    </a:lnTo>
                    <a:lnTo>
                      <a:pt x="10" y="75"/>
                    </a:lnTo>
                    <a:lnTo>
                      <a:pt x="3" y="61"/>
                    </a:lnTo>
                    <a:lnTo>
                      <a:pt x="0" y="47"/>
                    </a:lnTo>
                    <a:lnTo>
                      <a:pt x="3" y="32"/>
                    </a:lnTo>
                    <a:lnTo>
                      <a:pt x="10" y="19"/>
                    </a:lnTo>
                    <a:lnTo>
                      <a:pt x="20" y="8"/>
                    </a:lnTo>
                    <a:lnTo>
                      <a:pt x="33" y="2"/>
                    </a:lnTo>
                    <a:lnTo>
                      <a:pt x="47" y="0"/>
                    </a:lnTo>
                    <a:close/>
                  </a:path>
                </a:pathLst>
              </a:custGeom>
              <a:solidFill>
                <a:schemeClr val="accent5"/>
              </a:solidFill>
              <a:ln>
                <a:noFill/>
              </a:ln>
            </p:spPr>
            <p:txBody>
              <a:bodyPr/>
              <a:lstStyle/>
              <a:p>
                <a:endParaRPr lang="de-DE" dirty="0"/>
              </a:p>
            </p:txBody>
          </p:sp>
          <p:sp>
            <p:nvSpPr>
              <p:cNvPr id="851" name="Freeform 359"/>
              <p:cNvSpPr>
                <a:spLocks/>
              </p:cNvSpPr>
              <p:nvPr/>
            </p:nvSpPr>
            <p:spPr bwMode="auto">
              <a:xfrm>
                <a:off x="11318801" y="5866405"/>
                <a:ext cx="49208" cy="14289"/>
              </a:xfrm>
              <a:custGeom>
                <a:avLst/>
                <a:gdLst>
                  <a:gd name="T0" fmla="*/ 47 w 309"/>
                  <a:gd name="T1" fmla="*/ 0 h 95"/>
                  <a:gd name="T2" fmla="*/ 261 w 309"/>
                  <a:gd name="T3" fmla="*/ 0 h 95"/>
                  <a:gd name="T4" fmla="*/ 277 w 309"/>
                  <a:gd name="T5" fmla="*/ 2 h 95"/>
                  <a:gd name="T6" fmla="*/ 289 w 309"/>
                  <a:gd name="T7" fmla="*/ 9 h 95"/>
                  <a:gd name="T8" fmla="*/ 300 w 309"/>
                  <a:gd name="T9" fmla="*/ 20 h 95"/>
                  <a:gd name="T10" fmla="*/ 307 w 309"/>
                  <a:gd name="T11" fmla="*/ 32 h 95"/>
                  <a:gd name="T12" fmla="*/ 309 w 309"/>
                  <a:gd name="T13" fmla="*/ 47 h 95"/>
                  <a:gd name="T14" fmla="*/ 307 w 309"/>
                  <a:gd name="T15" fmla="*/ 62 h 95"/>
                  <a:gd name="T16" fmla="*/ 300 w 309"/>
                  <a:gd name="T17" fmla="*/ 75 h 95"/>
                  <a:gd name="T18" fmla="*/ 289 w 309"/>
                  <a:gd name="T19" fmla="*/ 85 h 95"/>
                  <a:gd name="T20" fmla="*/ 277 w 309"/>
                  <a:gd name="T21" fmla="*/ 91 h 95"/>
                  <a:gd name="T22" fmla="*/ 261 w 309"/>
                  <a:gd name="T23" fmla="*/ 95 h 95"/>
                  <a:gd name="T24" fmla="*/ 47 w 309"/>
                  <a:gd name="T25" fmla="*/ 95 h 95"/>
                  <a:gd name="T26" fmla="*/ 32 w 309"/>
                  <a:gd name="T27" fmla="*/ 91 h 95"/>
                  <a:gd name="T28" fmla="*/ 19 w 309"/>
                  <a:gd name="T29" fmla="*/ 85 h 95"/>
                  <a:gd name="T30" fmla="*/ 9 w 309"/>
                  <a:gd name="T31" fmla="*/ 75 h 95"/>
                  <a:gd name="T32" fmla="*/ 2 w 309"/>
                  <a:gd name="T33" fmla="*/ 62 h 95"/>
                  <a:gd name="T34" fmla="*/ 0 w 309"/>
                  <a:gd name="T35" fmla="*/ 47 h 95"/>
                  <a:gd name="T36" fmla="*/ 2 w 309"/>
                  <a:gd name="T37" fmla="*/ 32 h 95"/>
                  <a:gd name="T38" fmla="*/ 9 w 309"/>
                  <a:gd name="T39" fmla="*/ 20 h 95"/>
                  <a:gd name="T40" fmla="*/ 19 w 309"/>
                  <a:gd name="T41" fmla="*/ 9 h 95"/>
                  <a:gd name="T42" fmla="*/ 32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7" y="2"/>
                    </a:lnTo>
                    <a:lnTo>
                      <a:pt x="289" y="9"/>
                    </a:lnTo>
                    <a:lnTo>
                      <a:pt x="300" y="20"/>
                    </a:lnTo>
                    <a:lnTo>
                      <a:pt x="307" y="32"/>
                    </a:lnTo>
                    <a:lnTo>
                      <a:pt x="309" y="47"/>
                    </a:lnTo>
                    <a:lnTo>
                      <a:pt x="307" y="62"/>
                    </a:lnTo>
                    <a:lnTo>
                      <a:pt x="300" y="75"/>
                    </a:lnTo>
                    <a:lnTo>
                      <a:pt x="289" y="85"/>
                    </a:lnTo>
                    <a:lnTo>
                      <a:pt x="277" y="91"/>
                    </a:lnTo>
                    <a:lnTo>
                      <a:pt x="261" y="95"/>
                    </a:lnTo>
                    <a:lnTo>
                      <a:pt x="47" y="95"/>
                    </a:lnTo>
                    <a:lnTo>
                      <a:pt x="32" y="91"/>
                    </a:lnTo>
                    <a:lnTo>
                      <a:pt x="19" y="85"/>
                    </a:lnTo>
                    <a:lnTo>
                      <a:pt x="9" y="75"/>
                    </a:lnTo>
                    <a:lnTo>
                      <a:pt x="2" y="62"/>
                    </a:lnTo>
                    <a:lnTo>
                      <a:pt x="0" y="47"/>
                    </a:lnTo>
                    <a:lnTo>
                      <a:pt x="2" y="32"/>
                    </a:lnTo>
                    <a:lnTo>
                      <a:pt x="9" y="20"/>
                    </a:lnTo>
                    <a:lnTo>
                      <a:pt x="19" y="9"/>
                    </a:lnTo>
                    <a:lnTo>
                      <a:pt x="32" y="2"/>
                    </a:lnTo>
                    <a:lnTo>
                      <a:pt x="47" y="0"/>
                    </a:lnTo>
                    <a:close/>
                  </a:path>
                </a:pathLst>
              </a:custGeom>
              <a:solidFill>
                <a:schemeClr val="accent5"/>
              </a:solidFill>
              <a:ln>
                <a:noFill/>
              </a:ln>
            </p:spPr>
            <p:txBody>
              <a:bodyPr/>
              <a:lstStyle/>
              <a:p>
                <a:endParaRPr lang="de-DE" dirty="0"/>
              </a:p>
            </p:txBody>
          </p:sp>
          <p:sp>
            <p:nvSpPr>
              <p:cNvPr id="852" name="Freeform 360"/>
              <p:cNvSpPr>
                <a:spLocks/>
              </p:cNvSpPr>
              <p:nvPr/>
            </p:nvSpPr>
            <p:spPr bwMode="auto">
              <a:xfrm>
                <a:off x="11390232" y="5863230"/>
                <a:ext cx="47620" cy="14289"/>
              </a:xfrm>
              <a:custGeom>
                <a:avLst/>
                <a:gdLst>
                  <a:gd name="T0" fmla="*/ 46 w 302"/>
                  <a:gd name="T1" fmla="*/ 0 h 94"/>
                  <a:gd name="T2" fmla="*/ 255 w 302"/>
                  <a:gd name="T3" fmla="*/ 0 h 94"/>
                  <a:gd name="T4" fmla="*/ 270 w 302"/>
                  <a:gd name="T5" fmla="*/ 2 h 94"/>
                  <a:gd name="T6" fmla="*/ 283 w 302"/>
                  <a:gd name="T7" fmla="*/ 9 h 94"/>
                  <a:gd name="T8" fmla="*/ 293 w 302"/>
                  <a:gd name="T9" fmla="*/ 19 h 94"/>
                  <a:gd name="T10" fmla="*/ 299 w 302"/>
                  <a:gd name="T11" fmla="*/ 32 h 94"/>
                  <a:gd name="T12" fmla="*/ 302 w 302"/>
                  <a:gd name="T13" fmla="*/ 48 h 94"/>
                  <a:gd name="T14" fmla="*/ 299 w 302"/>
                  <a:gd name="T15" fmla="*/ 62 h 94"/>
                  <a:gd name="T16" fmla="*/ 293 w 302"/>
                  <a:gd name="T17" fmla="*/ 74 h 94"/>
                  <a:gd name="T18" fmla="*/ 283 w 302"/>
                  <a:gd name="T19" fmla="*/ 85 h 94"/>
                  <a:gd name="T20" fmla="*/ 270 w 302"/>
                  <a:gd name="T21" fmla="*/ 92 h 94"/>
                  <a:gd name="T22" fmla="*/ 255 w 302"/>
                  <a:gd name="T23" fmla="*/ 94 h 94"/>
                  <a:gd name="T24" fmla="*/ 46 w 302"/>
                  <a:gd name="T25" fmla="*/ 94 h 94"/>
                  <a:gd name="T26" fmla="*/ 32 w 302"/>
                  <a:gd name="T27" fmla="*/ 92 h 94"/>
                  <a:gd name="T28" fmla="*/ 18 w 302"/>
                  <a:gd name="T29" fmla="*/ 85 h 94"/>
                  <a:gd name="T30" fmla="*/ 8 w 302"/>
                  <a:gd name="T31" fmla="*/ 74 h 94"/>
                  <a:gd name="T32" fmla="*/ 2 w 302"/>
                  <a:gd name="T33" fmla="*/ 62 h 94"/>
                  <a:gd name="T34" fmla="*/ 0 w 302"/>
                  <a:gd name="T35" fmla="*/ 48 h 94"/>
                  <a:gd name="T36" fmla="*/ 2 w 302"/>
                  <a:gd name="T37" fmla="*/ 32 h 94"/>
                  <a:gd name="T38" fmla="*/ 8 w 302"/>
                  <a:gd name="T39" fmla="*/ 19 h 94"/>
                  <a:gd name="T40" fmla="*/ 18 w 302"/>
                  <a:gd name="T41" fmla="*/ 9 h 94"/>
                  <a:gd name="T42" fmla="*/ 32 w 302"/>
                  <a:gd name="T43" fmla="*/ 2 h 94"/>
                  <a:gd name="T44" fmla="*/ 46 w 302"/>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2" h="94">
                    <a:moveTo>
                      <a:pt x="46" y="0"/>
                    </a:moveTo>
                    <a:lnTo>
                      <a:pt x="255" y="0"/>
                    </a:lnTo>
                    <a:lnTo>
                      <a:pt x="270" y="2"/>
                    </a:lnTo>
                    <a:lnTo>
                      <a:pt x="283" y="9"/>
                    </a:lnTo>
                    <a:lnTo>
                      <a:pt x="293" y="19"/>
                    </a:lnTo>
                    <a:lnTo>
                      <a:pt x="299" y="32"/>
                    </a:lnTo>
                    <a:lnTo>
                      <a:pt x="302" y="48"/>
                    </a:lnTo>
                    <a:lnTo>
                      <a:pt x="299" y="62"/>
                    </a:lnTo>
                    <a:lnTo>
                      <a:pt x="293" y="74"/>
                    </a:lnTo>
                    <a:lnTo>
                      <a:pt x="283" y="85"/>
                    </a:lnTo>
                    <a:lnTo>
                      <a:pt x="270" y="92"/>
                    </a:lnTo>
                    <a:lnTo>
                      <a:pt x="255" y="94"/>
                    </a:lnTo>
                    <a:lnTo>
                      <a:pt x="46" y="94"/>
                    </a:lnTo>
                    <a:lnTo>
                      <a:pt x="32" y="92"/>
                    </a:lnTo>
                    <a:lnTo>
                      <a:pt x="18" y="85"/>
                    </a:lnTo>
                    <a:lnTo>
                      <a:pt x="8" y="74"/>
                    </a:lnTo>
                    <a:lnTo>
                      <a:pt x="2" y="62"/>
                    </a:lnTo>
                    <a:lnTo>
                      <a:pt x="0" y="48"/>
                    </a:lnTo>
                    <a:lnTo>
                      <a:pt x="2" y="32"/>
                    </a:lnTo>
                    <a:lnTo>
                      <a:pt x="8" y="19"/>
                    </a:lnTo>
                    <a:lnTo>
                      <a:pt x="18" y="9"/>
                    </a:lnTo>
                    <a:lnTo>
                      <a:pt x="32" y="2"/>
                    </a:lnTo>
                    <a:lnTo>
                      <a:pt x="46" y="0"/>
                    </a:lnTo>
                    <a:close/>
                  </a:path>
                </a:pathLst>
              </a:custGeom>
              <a:solidFill>
                <a:schemeClr val="accent5"/>
              </a:solidFill>
              <a:ln>
                <a:noFill/>
              </a:ln>
            </p:spPr>
            <p:txBody>
              <a:bodyPr/>
              <a:lstStyle/>
              <a:p>
                <a:endParaRPr lang="de-DE" dirty="0"/>
              </a:p>
            </p:txBody>
          </p:sp>
          <p:sp>
            <p:nvSpPr>
              <p:cNvPr id="853" name="Freeform 361"/>
              <p:cNvSpPr>
                <a:spLocks/>
              </p:cNvSpPr>
              <p:nvPr/>
            </p:nvSpPr>
            <p:spPr bwMode="auto">
              <a:xfrm>
                <a:off x="10979110" y="5918799"/>
                <a:ext cx="42858" cy="14289"/>
              </a:xfrm>
              <a:custGeom>
                <a:avLst/>
                <a:gdLst>
                  <a:gd name="T0" fmla="*/ 45 w 271"/>
                  <a:gd name="T1" fmla="*/ 0 h 87"/>
                  <a:gd name="T2" fmla="*/ 228 w 271"/>
                  <a:gd name="T3" fmla="*/ 0 h 87"/>
                  <a:gd name="T4" fmla="*/ 242 w 271"/>
                  <a:gd name="T5" fmla="*/ 2 h 87"/>
                  <a:gd name="T6" fmla="*/ 254 w 271"/>
                  <a:gd name="T7" fmla="*/ 7 h 87"/>
                  <a:gd name="T8" fmla="*/ 264 w 271"/>
                  <a:gd name="T9" fmla="*/ 17 h 87"/>
                  <a:gd name="T10" fmla="*/ 269 w 271"/>
                  <a:gd name="T11" fmla="*/ 29 h 87"/>
                  <a:gd name="T12" fmla="*/ 271 w 271"/>
                  <a:gd name="T13" fmla="*/ 44 h 87"/>
                  <a:gd name="T14" fmla="*/ 269 w 271"/>
                  <a:gd name="T15" fmla="*/ 57 h 87"/>
                  <a:gd name="T16" fmla="*/ 264 w 271"/>
                  <a:gd name="T17" fmla="*/ 69 h 87"/>
                  <a:gd name="T18" fmla="*/ 254 w 271"/>
                  <a:gd name="T19" fmla="*/ 78 h 87"/>
                  <a:gd name="T20" fmla="*/ 242 w 271"/>
                  <a:gd name="T21" fmla="*/ 85 h 87"/>
                  <a:gd name="T22" fmla="*/ 228 w 271"/>
                  <a:gd name="T23" fmla="*/ 87 h 87"/>
                  <a:gd name="T24" fmla="*/ 45 w 271"/>
                  <a:gd name="T25" fmla="*/ 87 h 87"/>
                  <a:gd name="T26" fmla="*/ 30 w 271"/>
                  <a:gd name="T27" fmla="*/ 85 h 87"/>
                  <a:gd name="T28" fmla="*/ 19 w 271"/>
                  <a:gd name="T29" fmla="*/ 78 h 87"/>
                  <a:gd name="T30" fmla="*/ 9 w 271"/>
                  <a:gd name="T31" fmla="*/ 69 h 87"/>
                  <a:gd name="T32" fmla="*/ 3 w 271"/>
                  <a:gd name="T33" fmla="*/ 57 h 87"/>
                  <a:gd name="T34" fmla="*/ 0 w 271"/>
                  <a:gd name="T35" fmla="*/ 44 h 87"/>
                  <a:gd name="T36" fmla="*/ 3 w 271"/>
                  <a:gd name="T37" fmla="*/ 29 h 87"/>
                  <a:gd name="T38" fmla="*/ 9 w 271"/>
                  <a:gd name="T39" fmla="*/ 17 h 87"/>
                  <a:gd name="T40" fmla="*/ 19 w 271"/>
                  <a:gd name="T41" fmla="*/ 7 h 87"/>
                  <a:gd name="T42" fmla="*/ 30 w 271"/>
                  <a:gd name="T43" fmla="*/ 2 h 87"/>
                  <a:gd name="T44" fmla="*/ 45 w 27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87">
                    <a:moveTo>
                      <a:pt x="45" y="0"/>
                    </a:moveTo>
                    <a:lnTo>
                      <a:pt x="228" y="0"/>
                    </a:lnTo>
                    <a:lnTo>
                      <a:pt x="242" y="2"/>
                    </a:lnTo>
                    <a:lnTo>
                      <a:pt x="254" y="7"/>
                    </a:lnTo>
                    <a:lnTo>
                      <a:pt x="264" y="17"/>
                    </a:lnTo>
                    <a:lnTo>
                      <a:pt x="269" y="29"/>
                    </a:lnTo>
                    <a:lnTo>
                      <a:pt x="271" y="44"/>
                    </a:lnTo>
                    <a:lnTo>
                      <a:pt x="269" y="57"/>
                    </a:lnTo>
                    <a:lnTo>
                      <a:pt x="264" y="69"/>
                    </a:lnTo>
                    <a:lnTo>
                      <a:pt x="254" y="78"/>
                    </a:lnTo>
                    <a:lnTo>
                      <a:pt x="242" y="85"/>
                    </a:lnTo>
                    <a:lnTo>
                      <a:pt x="228" y="87"/>
                    </a:lnTo>
                    <a:lnTo>
                      <a:pt x="45" y="87"/>
                    </a:lnTo>
                    <a:lnTo>
                      <a:pt x="30" y="85"/>
                    </a:lnTo>
                    <a:lnTo>
                      <a:pt x="19" y="78"/>
                    </a:lnTo>
                    <a:lnTo>
                      <a:pt x="9" y="69"/>
                    </a:lnTo>
                    <a:lnTo>
                      <a:pt x="3" y="57"/>
                    </a:lnTo>
                    <a:lnTo>
                      <a:pt x="0" y="44"/>
                    </a:lnTo>
                    <a:lnTo>
                      <a:pt x="3" y="29"/>
                    </a:lnTo>
                    <a:lnTo>
                      <a:pt x="9" y="17"/>
                    </a:lnTo>
                    <a:lnTo>
                      <a:pt x="19" y="7"/>
                    </a:lnTo>
                    <a:lnTo>
                      <a:pt x="30" y="2"/>
                    </a:lnTo>
                    <a:lnTo>
                      <a:pt x="45" y="0"/>
                    </a:lnTo>
                    <a:close/>
                  </a:path>
                </a:pathLst>
              </a:custGeom>
              <a:solidFill>
                <a:schemeClr val="accent5"/>
              </a:solidFill>
              <a:ln>
                <a:noFill/>
              </a:ln>
            </p:spPr>
            <p:txBody>
              <a:bodyPr/>
              <a:lstStyle/>
              <a:p>
                <a:endParaRPr lang="de-DE" dirty="0"/>
              </a:p>
            </p:txBody>
          </p:sp>
          <p:sp>
            <p:nvSpPr>
              <p:cNvPr id="854" name="Freeform 362"/>
              <p:cNvSpPr>
                <a:spLocks/>
              </p:cNvSpPr>
              <p:nvPr/>
            </p:nvSpPr>
            <p:spPr bwMode="auto">
              <a:xfrm>
                <a:off x="11052128" y="5920387"/>
                <a:ext cx="50795" cy="14289"/>
              </a:xfrm>
              <a:custGeom>
                <a:avLst/>
                <a:gdLst>
                  <a:gd name="T0" fmla="*/ 48 w 317"/>
                  <a:gd name="T1" fmla="*/ 0 h 96"/>
                  <a:gd name="T2" fmla="*/ 270 w 317"/>
                  <a:gd name="T3" fmla="*/ 0 h 96"/>
                  <a:gd name="T4" fmla="*/ 284 w 317"/>
                  <a:gd name="T5" fmla="*/ 3 h 96"/>
                  <a:gd name="T6" fmla="*/ 297 w 317"/>
                  <a:gd name="T7" fmla="*/ 10 h 96"/>
                  <a:gd name="T8" fmla="*/ 308 w 317"/>
                  <a:gd name="T9" fmla="*/ 20 h 96"/>
                  <a:gd name="T10" fmla="*/ 315 w 317"/>
                  <a:gd name="T11" fmla="*/ 33 h 96"/>
                  <a:gd name="T12" fmla="*/ 317 w 317"/>
                  <a:gd name="T13" fmla="*/ 48 h 96"/>
                  <a:gd name="T14" fmla="*/ 315 w 317"/>
                  <a:gd name="T15" fmla="*/ 64 h 96"/>
                  <a:gd name="T16" fmla="*/ 308 w 317"/>
                  <a:gd name="T17" fmla="*/ 77 h 96"/>
                  <a:gd name="T18" fmla="*/ 297 w 317"/>
                  <a:gd name="T19" fmla="*/ 87 h 96"/>
                  <a:gd name="T20" fmla="*/ 285 w 317"/>
                  <a:gd name="T21" fmla="*/ 94 h 96"/>
                  <a:gd name="T22" fmla="*/ 270 w 317"/>
                  <a:gd name="T23" fmla="*/ 96 h 96"/>
                  <a:gd name="T24" fmla="*/ 48 w 317"/>
                  <a:gd name="T25" fmla="*/ 96 h 96"/>
                  <a:gd name="T26" fmla="*/ 33 w 317"/>
                  <a:gd name="T27" fmla="*/ 94 h 96"/>
                  <a:gd name="T28" fmla="*/ 20 w 317"/>
                  <a:gd name="T29" fmla="*/ 87 h 96"/>
                  <a:gd name="T30" fmla="*/ 10 w 317"/>
                  <a:gd name="T31" fmla="*/ 77 h 96"/>
                  <a:gd name="T32" fmla="*/ 2 w 317"/>
                  <a:gd name="T33" fmla="*/ 64 h 96"/>
                  <a:gd name="T34" fmla="*/ 0 w 317"/>
                  <a:gd name="T35" fmla="*/ 48 h 96"/>
                  <a:gd name="T36" fmla="*/ 2 w 317"/>
                  <a:gd name="T37" fmla="*/ 33 h 96"/>
                  <a:gd name="T38" fmla="*/ 10 w 317"/>
                  <a:gd name="T39" fmla="*/ 20 h 96"/>
                  <a:gd name="T40" fmla="*/ 20 w 317"/>
                  <a:gd name="T41" fmla="*/ 10 h 96"/>
                  <a:gd name="T42" fmla="*/ 33 w 317"/>
                  <a:gd name="T43" fmla="*/ 3 h 96"/>
                  <a:gd name="T44" fmla="*/ 48 w 317"/>
                  <a:gd name="T4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96">
                    <a:moveTo>
                      <a:pt x="48" y="0"/>
                    </a:moveTo>
                    <a:lnTo>
                      <a:pt x="270" y="0"/>
                    </a:lnTo>
                    <a:lnTo>
                      <a:pt x="284" y="3"/>
                    </a:lnTo>
                    <a:lnTo>
                      <a:pt x="297" y="10"/>
                    </a:lnTo>
                    <a:lnTo>
                      <a:pt x="308" y="20"/>
                    </a:lnTo>
                    <a:lnTo>
                      <a:pt x="315" y="33"/>
                    </a:lnTo>
                    <a:lnTo>
                      <a:pt x="317" y="48"/>
                    </a:lnTo>
                    <a:lnTo>
                      <a:pt x="315" y="64"/>
                    </a:lnTo>
                    <a:lnTo>
                      <a:pt x="308" y="77"/>
                    </a:lnTo>
                    <a:lnTo>
                      <a:pt x="297" y="87"/>
                    </a:lnTo>
                    <a:lnTo>
                      <a:pt x="285" y="94"/>
                    </a:lnTo>
                    <a:lnTo>
                      <a:pt x="270" y="96"/>
                    </a:lnTo>
                    <a:lnTo>
                      <a:pt x="48" y="96"/>
                    </a:lnTo>
                    <a:lnTo>
                      <a:pt x="33" y="94"/>
                    </a:lnTo>
                    <a:lnTo>
                      <a:pt x="20" y="87"/>
                    </a:lnTo>
                    <a:lnTo>
                      <a:pt x="10" y="77"/>
                    </a:lnTo>
                    <a:lnTo>
                      <a:pt x="2" y="64"/>
                    </a:lnTo>
                    <a:lnTo>
                      <a:pt x="0" y="48"/>
                    </a:lnTo>
                    <a:lnTo>
                      <a:pt x="2" y="33"/>
                    </a:lnTo>
                    <a:lnTo>
                      <a:pt x="10" y="20"/>
                    </a:lnTo>
                    <a:lnTo>
                      <a:pt x="20" y="10"/>
                    </a:lnTo>
                    <a:lnTo>
                      <a:pt x="33" y="3"/>
                    </a:lnTo>
                    <a:lnTo>
                      <a:pt x="48" y="0"/>
                    </a:lnTo>
                    <a:close/>
                  </a:path>
                </a:pathLst>
              </a:custGeom>
              <a:solidFill>
                <a:schemeClr val="accent5"/>
              </a:solidFill>
              <a:ln>
                <a:noFill/>
              </a:ln>
            </p:spPr>
            <p:txBody>
              <a:bodyPr/>
              <a:lstStyle/>
              <a:p>
                <a:endParaRPr lang="de-DE" dirty="0"/>
              </a:p>
            </p:txBody>
          </p:sp>
          <p:sp>
            <p:nvSpPr>
              <p:cNvPr id="855" name="Freeform 363"/>
              <p:cNvSpPr>
                <a:spLocks/>
              </p:cNvSpPr>
              <p:nvPr/>
            </p:nvSpPr>
            <p:spPr bwMode="auto">
              <a:xfrm>
                <a:off x="11117209" y="5921974"/>
                <a:ext cx="41271" cy="12701"/>
              </a:xfrm>
              <a:custGeom>
                <a:avLst/>
                <a:gdLst>
                  <a:gd name="T0" fmla="*/ 43 w 261"/>
                  <a:gd name="T1" fmla="*/ 0 h 85"/>
                  <a:gd name="T2" fmla="*/ 218 w 261"/>
                  <a:gd name="T3" fmla="*/ 0 h 85"/>
                  <a:gd name="T4" fmla="*/ 233 w 261"/>
                  <a:gd name="T5" fmla="*/ 2 h 85"/>
                  <a:gd name="T6" fmla="*/ 244 w 261"/>
                  <a:gd name="T7" fmla="*/ 7 h 85"/>
                  <a:gd name="T8" fmla="*/ 254 w 261"/>
                  <a:gd name="T9" fmla="*/ 17 h 85"/>
                  <a:gd name="T10" fmla="*/ 259 w 261"/>
                  <a:gd name="T11" fmla="*/ 28 h 85"/>
                  <a:gd name="T12" fmla="*/ 261 w 261"/>
                  <a:gd name="T13" fmla="*/ 43 h 85"/>
                  <a:gd name="T14" fmla="*/ 259 w 261"/>
                  <a:gd name="T15" fmla="*/ 56 h 85"/>
                  <a:gd name="T16" fmla="*/ 254 w 261"/>
                  <a:gd name="T17" fmla="*/ 67 h 85"/>
                  <a:gd name="T18" fmla="*/ 244 w 261"/>
                  <a:gd name="T19" fmla="*/ 77 h 85"/>
                  <a:gd name="T20" fmla="*/ 233 w 261"/>
                  <a:gd name="T21" fmla="*/ 83 h 85"/>
                  <a:gd name="T22" fmla="*/ 218 w 261"/>
                  <a:gd name="T23" fmla="*/ 85 h 85"/>
                  <a:gd name="T24" fmla="*/ 43 w 261"/>
                  <a:gd name="T25" fmla="*/ 85 h 85"/>
                  <a:gd name="T26" fmla="*/ 29 w 261"/>
                  <a:gd name="T27" fmla="*/ 83 h 85"/>
                  <a:gd name="T28" fmla="*/ 18 w 261"/>
                  <a:gd name="T29" fmla="*/ 77 h 85"/>
                  <a:gd name="T30" fmla="*/ 8 w 261"/>
                  <a:gd name="T31" fmla="*/ 67 h 85"/>
                  <a:gd name="T32" fmla="*/ 3 w 261"/>
                  <a:gd name="T33" fmla="*/ 56 h 85"/>
                  <a:gd name="T34" fmla="*/ 0 w 261"/>
                  <a:gd name="T35" fmla="*/ 43 h 85"/>
                  <a:gd name="T36" fmla="*/ 3 w 261"/>
                  <a:gd name="T37" fmla="*/ 28 h 85"/>
                  <a:gd name="T38" fmla="*/ 8 w 261"/>
                  <a:gd name="T39" fmla="*/ 17 h 85"/>
                  <a:gd name="T40" fmla="*/ 18 w 261"/>
                  <a:gd name="T41" fmla="*/ 7 h 85"/>
                  <a:gd name="T42" fmla="*/ 29 w 261"/>
                  <a:gd name="T43" fmla="*/ 2 h 85"/>
                  <a:gd name="T44" fmla="*/ 43 w 261"/>
                  <a:gd name="T4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5">
                    <a:moveTo>
                      <a:pt x="43" y="0"/>
                    </a:moveTo>
                    <a:lnTo>
                      <a:pt x="218" y="0"/>
                    </a:lnTo>
                    <a:lnTo>
                      <a:pt x="233" y="2"/>
                    </a:lnTo>
                    <a:lnTo>
                      <a:pt x="244" y="7"/>
                    </a:lnTo>
                    <a:lnTo>
                      <a:pt x="254" y="17"/>
                    </a:lnTo>
                    <a:lnTo>
                      <a:pt x="259" y="28"/>
                    </a:lnTo>
                    <a:lnTo>
                      <a:pt x="261" y="43"/>
                    </a:lnTo>
                    <a:lnTo>
                      <a:pt x="259" y="56"/>
                    </a:lnTo>
                    <a:lnTo>
                      <a:pt x="254" y="67"/>
                    </a:lnTo>
                    <a:lnTo>
                      <a:pt x="244" y="77"/>
                    </a:lnTo>
                    <a:lnTo>
                      <a:pt x="233" y="83"/>
                    </a:lnTo>
                    <a:lnTo>
                      <a:pt x="218" y="85"/>
                    </a:lnTo>
                    <a:lnTo>
                      <a:pt x="43" y="85"/>
                    </a:lnTo>
                    <a:lnTo>
                      <a:pt x="29" y="83"/>
                    </a:lnTo>
                    <a:lnTo>
                      <a:pt x="18" y="77"/>
                    </a:lnTo>
                    <a:lnTo>
                      <a:pt x="8" y="67"/>
                    </a:lnTo>
                    <a:lnTo>
                      <a:pt x="3" y="56"/>
                    </a:lnTo>
                    <a:lnTo>
                      <a:pt x="0" y="43"/>
                    </a:lnTo>
                    <a:lnTo>
                      <a:pt x="3" y="28"/>
                    </a:lnTo>
                    <a:lnTo>
                      <a:pt x="8" y="17"/>
                    </a:lnTo>
                    <a:lnTo>
                      <a:pt x="18" y="7"/>
                    </a:lnTo>
                    <a:lnTo>
                      <a:pt x="29" y="2"/>
                    </a:lnTo>
                    <a:lnTo>
                      <a:pt x="43" y="0"/>
                    </a:lnTo>
                    <a:close/>
                  </a:path>
                </a:pathLst>
              </a:custGeom>
              <a:solidFill>
                <a:schemeClr val="accent5"/>
              </a:solidFill>
              <a:ln>
                <a:noFill/>
              </a:ln>
            </p:spPr>
            <p:txBody>
              <a:bodyPr/>
              <a:lstStyle/>
              <a:p>
                <a:endParaRPr lang="de-DE" dirty="0"/>
              </a:p>
            </p:txBody>
          </p:sp>
          <p:sp>
            <p:nvSpPr>
              <p:cNvPr id="856" name="Freeform 364"/>
              <p:cNvSpPr>
                <a:spLocks/>
              </p:cNvSpPr>
              <p:nvPr/>
            </p:nvSpPr>
            <p:spPr bwMode="auto">
              <a:xfrm>
                <a:off x="11179115" y="5917211"/>
                <a:ext cx="55557" cy="17464"/>
              </a:xfrm>
              <a:custGeom>
                <a:avLst/>
                <a:gdLst>
                  <a:gd name="T0" fmla="*/ 50 w 348"/>
                  <a:gd name="T1" fmla="*/ 0 h 102"/>
                  <a:gd name="T2" fmla="*/ 297 w 348"/>
                  <a:gd name="T3" fmla="*/ 0 h 102"/>
                  <a:gd name="T4" fmla="*/ 314 w 348"/>
                  <a:gd name="T5" fmla="*/ 3 h 102"/>
                  <a:gd name="T6" fmla="*/ 327 w 348"/>
                  <a:gd name="T7" fmla="*/ 10 h 102"/>
                  <a:gd name="T8" fmla="*/ 338 w 348"/>
                  <a:gd name="T9" fmla="*/ 21 h 102"/>
                  <a:gd name="T10" fmla="*/ 346 w 348"/>
                  <a:gd name="T11" fmla="*/ 35 h 102"/>
                  <a:gd name="T12" fmla="*/ 348 w 348"/>
                  <a:gd name="T13" fmla="*/ 51 h 102"/>
                  <a:gd name="T14" fmla="*/ 346 w 348"/>
                  <a:gd name="T15" fmla="*/ 67 h 102"/>
                  <a:gd name="T16" fmla="*/ 338 w 348"/>
                  <a:gd name="T17" fmla="*/ 81 h 102"/>
                  <a:gd name="T18" fmla="*/ 327 w 348"/>
                  <a:gd name="T19" fmla="*/ 92 h 102"/>
                  <a:gd name="T20" fmla="*/ 314 w 348"/>
                  <a:gd name="T21" fmla="*/ 99 h 102"/>
                  <a:gd name="T22" fmla="*/ 297 w 348"/>
                  <a:gd name="T23" fmla="*/ 102 h 102"/>
                  <a:gd name="T24" fmla="*/ 50 w 348"/>
                  <a:gd name="T25" fmla="*/ 102 h 102"/>
                  <a:gd name="T26" fmla="*/ 35 w 348"/>
                  <a:gd name="T27" fmla="*/ 99 h 102"/>
                  <a:gd name="T28" fmla="*/ 21 w 348"/>
                  <a:gd name="T29" fmla="*/ 92 h 102"/>
                  <a:gd name="T30" fmla="*/ 10 w 348"/>
                  <a:gd name="T31" fmla="*/ 81 h 102"/>
                  <a:gd name="T32" fmla="*/ 3 w 348"/>
                  <a:gd name="T33" fmla="*/ 67 h 102"/>
                  <a:gd name="T34" fmla="*/ 0 w 348"/>
                  <a:gd name="T35" fmla="*/ 51 h 102"/>
                  <a:gd name="T36" fmla="*/ 3 w 348"/>
                  <a:gd name="T37" fmla="*/ 35 h 102"/>
                  <a:gd name="T38" fmla="*/ 10 w 348"/>
                  <a:gd name="T39" fmla="*/ 21 h 102"/>
                  <a:gd name="T40" fmla="*/ 21 w 348"/>
                  <a:gd name="T41" fmla="*/ 10 h 102"/>
                  <a:gd name="T42" fmla="*/ 35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4" y="3"/>
                    </a:lnTo>
                    <a:lnTo>
                      <a:pt x="327" y="10"/>
                    </a:lnTo>
                    <a:lnTo>
                      <a:pt x="338" y="21"/>
                    </a:lnTo>
                    <a:lnTo>
                      <a:pt x="346" y="35"/>
                    </a:lnTo>
                    <a:lnTo>
                      <a:pt x="348" y="51"/>
                    </a:lnTo>
                    <a:lnTo>
                      <a:pt x="346" y="67"/>
                    </a:lnTo>
                    <a:lnTo>
                      <a:pt x="338" y="81"/>
                    </a:lnTo>
                    <a:lnTo>
                      <a:pt x="327" y="92"/>
                    </a:lnTo>
                    <a:lnTo>
                      <a:pt x="314" y="99"/>
                    </a:lnTo>
                    <a:lnTo>
                      <a:pt x="297" y="102"/>
                    </a:lnTo>
                    <a:lnTo>
                      <a:pt x="50" y="102"/>
                    </a:lnTo>
                    <a:lnTo>
                      <a:pt x="35" y="99"/>
                    </a:lnTo>
                    <a:lnTo>
                      <a:pt x="21" y="92"/>
                    </a:lnTo>
                    <a:lnTo>
                      <a:pt x="10" y="81"/>
                    </a:lnTo>
                    <a:lnTo>
                      <a:pt x="3" y="67"/>
                    </a:lnTo>
                    <a:lnTo>
                      <a:pt x="0" y="51"/>
                    </a:lnTo>
                    <a:lnTo>
                      <a:pt x="3" y="35"/>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857" name="Freeform 365"/>
              <p:cNvSpPr>
                <a:spLocks/>
              </p:cNvSpPr>
              <p:nvPr/>
            </p:nvSpPr>
            <p:spPr bwMode="auto">
              <a:xfrm>
                <a:off x="11253720" y="5917211"/>
                <a:ext cx="55557" cy="15877"/>
              </a:xfrm>
              <a:custGeom>
                <a:avLst/>
                <a:gdLst>
                  <a:gd name="T0" fmla="*/ 51 w 351"/>
                  <a:gd name="T1" fmla="*/ 0 h 102"/>
                  <a:gd name="T2" fmla="*/ 300 w 351"/>
                  <a:gd name="T3" fmla="*/ 0 h 102"/>
                  <a:gd name="T4" fmla="*/ 317 w 351"/>
                  <a:gd name="T5" fmla="*/ 2 h 102"/>
                  <a:gd name="T6" fmla="*/ 330 w 351"/>
                  <a:gd name="T7" fmla="*/ 10 h 102"/>
                  <a:gd name="T8" fmla="*/ 341 w 351"/>
                  <a:gd name="T9" fmla="*/ 21 h 102"/>
                  <a:gd name="T10" fmla="*/ 349 w 351"/>
                  <a:gd name="T11" fmla="*/ 35 h 102"/>
                  <a:gd name="T12" fmla="*/ 351 w 351"/>
                  <a:gd name="T13" fmla="*/ 51 h 102"/>
                  <a:gd name="T14" fmla="*/ 349 w 351"/>
                  <a:gd name="T15" fmla="*/ 67 h 102"/>
                  <a:gd name="T16" fmla="*/ 341 w 351"/>
                  <a:gd name="T17" fmla="*/ 81 h 102"/>
                  <a:gd name="T18" fmla="*/ 330 w 351"/>
                  <a:gd name="T19" fmla="*/ 92 h 102"/>
                  <a:gd name="T20" fmla="*/ 317 w 351"/>
                  <a:gd name="T21" fmla="*/ 100 h 102"/>
                  <a:gd name="T22" fmla="*/ 300 w 351"/>
                  <a:gd name="T23" fmla="*/ 102 h 102"/>
                  <a:gd name="T24" fmla="*/ 51 w 351"/>
                  <a:gd name="T25" fmla="*/ 102 h 102"/>
                  <a:gd name="T26" fmla="*/ 35 w 351"/>
                  <a:gd name="T27" fmla="*/ 100 h 102"/>
                  <a:gd name="T28" fmla="*/ 21 w 351"/>
                  <a:gd name="T29" fmla="*/ 92 h 102"/>
                  <a:gd name="T30" fmla="*/ 10 w 351"/>
                  <a:gd name="T31" fmla="*/ 81 h 102"/>
                  <a:gd name="T32" fmla="*/ 2 w 351"/>
                  <a:gd name="T33" fmla="*/ 67 h 102"/>
                  <a:gd name="T34" fmla="*/ 0 w 351"/>
                  <a:gd name="T35" fmla="*/ 51 h 102"/>
                  <a:gd name="T36" fmla="*/ 2 w 351"/>
                  <a:gd name="T37" fmla="*/ 35 h 102"/>
                  <a:gd name="T38" fmla="*/ 10 w 351"/>
                  <a:gd name="T39" fmla="*/ 21 h 102"/>
                  <a:gd name="T40" fmla="*/ 21 w 351"/>
                  <a:gd name="T41" fmla="*/ 10 h 102"/>
                  <a:gd name="T42" fmla="*/ 35 w 351"/>
                  <a:gd name="T43" fmla="*/ 2 h 102"/>
                  <a:gd name="T44" fmla="*/ 51 w 351"/>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102">
                    <a:moveTo>
                      <a:pt x="51" y="0"/>
                    </a:moveTo>
                    <a:lnTo>
                      <a:pt x="300" y="0"/>
                    </a:lnTo>
                    <a:lnTo>
                      <a:pt x="317" y="2"/>
                    </a:lnTo>
                    <a:lnTo>
                      <a:pt x="330" y="10"/>
                    </a:lnTo>
                    <a:lnTo>
                      <a:pt x="341" y="21"/>
                    </a:lnTo>
                    <a:lnTo>
                      <a:pt x="349" y="35"/>
                    </a:lnTo>
                    <a:lnTo>
                      <a:pt x="351" y="51"/>
                    </a:lnTo>
                    <a:lnTo>
                      <a:pt x="349" y="67"/>
                    </a:lnTo>
                    <a:lnTo>
                      <a:pt x="341" y="81"/>
                    </a:lnTo>
                    <a:lnTo>
                      <a:pt x="330" y="92"/>
                    </a:lnTo>
                    <a:lnTo>
                      <a:pt x="317" y="100"/>
                    </a:lnTo>
                    <a:lnTo>
                      <a:pt x="300" y="102"/>
                    </a:lnTo>
                    <a:lnTo>
                      <a:pt x="51" y="102"/>
                    </a:lnTo>
                    <a:lnTo>
                      <a:pt x="35" y="100"/>
                    </a:lnTo>
                    <a:lnTo>
                      <a:pt x="21" y="92"/>
                    </a:lnTo>
                    <a:lnTo>
                      <a:pt x="10" y="81"/>
                    </a:lnTo>
                    <a:lnTo>
                      <a:pt x="2" y="67"/>
                    </a:lnTo>
                    <a:lnTo>
                      <a:pt x="0" y="51"/>
                    </a:lnTo>
                    <a:lnTo>
                      <a:pt x="2" y="35"/>
                    </a:lnTo>
                    <a:lnTo>
                      <a:pt x="10" y="21"/>
                    </a:lnTo>
                    <a:lnTo>
                      <a:pt x="21" y="10"/>
                    </a:lnTo>
                    <a:lnTo>
                      <a:pt x="35" y="2"/>
                    </a:lnTo>
                    <a:lnTo>
                      <a:pt x="51" y="0"/>
                    </a:lnTo>
                    <a:close/>
                  </a:path>
                </a:pathLst>
              </a:custGeom>
              <a:solidFill>
                <a:schemeClr val="accent5"/>
              </a:solidFill>
              <a:ln>
                <a:noFill/>
              </a:ln>
            </p:spPr>
            <p:txBody>
              <a:bodyPr/>
              <a:lstStyle/>
              <a:p>
                <a:endParaRPr lang="de-DE" dirty="0"/>
              </a:p>
            </p:txBody>
          </p:sp>
          <p:sp>
            <p:nvSpPr>
              <p:cNvPr id="858" name="Freeform 366"/>
              <p:cNvSpPr>
                <a:spLocks/>
              </p:cNvSpPr>
              <p:nvPr/>
            </p:nvSpPr>
            <p:spPr bwMode="auto">
              <a:xfrm>
                <a:off x="11325151" y="5920387"/>
                <a:ext cx="47620" cy="14289"/>
              </a:xfrm>
              <a:custGeom>
                <a:avLst/>
                <a:gdLst>
                  <a:gd name="T0" fmla="*/ 46 w 304"/>
                  <a:gd name="T1" fmla="*/ 0 h 94"/>
                  <a:gd name="T2" fmla="*/ 258 w 304"/>
                  <a:gd name="T3" fmla="*/ 0 h 94"/>
                  <a:gd name="T4" fmla="*/ 272 w 304"/>
                  <a:gd name="T5" fmla="*/ 3 h 94"/>
                  <a:gd name="T6" fmla="*/ 285 w 304"/>
                  <a:gd name="T7" fmla="*/ 10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8 w 304"/>
                  <a:gd name="T23" fmla="*/ 94 h 94"/>
                  <a:gd name="T24" fmla="*/ 46 w 304"/>
                  <a:gd name="T25" fmla="*/ 94 h 94"/>
                  <a:gd name="T26" fmla="*/ 32 w 304"/>
                  <a:gd name="T27" fmla="*/ 92 h 94"/>
                  <a:gd name="T28" fmla="*/ 19 w 304"/>
                  <a:gd name="T29" fmla="*/ 85 h 94"/>
                  <a:gd name="T30" fmla="*/ 9 w 304"/>
                  <a:gd name="T31" fmla="*/ 75 h 94"/>
                  <a:gd name="T32" fmla="*/ 2 w 304"/>
                  <a:gd name="T33" fmla="*/ 62 h 94"/>
                  <a:gd name="T34" fmla="*/ 0 w 304"/>
                  <a:gd name="T35" fmla="*/ 47 h 94"/>
                  <a:gd name="T36" fmla="*/ 2 w 304"/>
                  <a:gd name="T37" fmla="*/ 32 h 94"/>
                  <a:gd name="T38" fmla="*/ 9 w 304"/>
                  <a:gd name="T39" fmla="*/ 20 h 94"/>
                  <a:gd name="T40" fmla="*/ 19 w 304"/>
                  <a:gd name="T41" fmla="*/ 10 h 94"/>
                  <a:gd name="T42" fmla="*/ 32 w 304"/>
                  <a:gd name="T43" fmla="*/ 3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8" y="0"/>
                    </a:lnTo>
                    <a:lnTo>
                      <a:pt x="272" y="3"/>
                    </a:lnTo>
                    <a:lnTo>
                      <a:pt x="285" y="10"/>
                    </a:lnTo>
                    <a:lnTo>
                      <a:pt x="295" y="20"/>
                    </a:lnTo>
                    <a:lnTo>
                      <a:pt x="302" y="32"/>
                    </a:lnTo>
                    <a:lnTo>
                      <a:pt x="304" y="47"/>
                    </a:lnTo>
                    <a:lnTo>
                      <a:pt x="302" y="62"/>
                    </a:lnTo>
                    <a:lnTo>
                      <a:pt x="295" y="75"/>
                    </a:lnTo>
                    <a:lnTo>
                      <a:pt x="285" y="85"/>
                    </a:lnTo>
                    <a:lnTo>
                      <a:pt x="272" y="92"/>
                    </a:lnTo>
                    <a:lnTo>
                      <a:pt x="258" y="94"/>
                    </a:lnTo>
                    <a:lnTo>
                      <a:pt x="46" y="94"/>
                    </a:lnTo>
                    <a:lnTo>
                      <a:pt x="32" y="92"/>
                    </a:lnTo>
                    <a:lnTo>
                      <a:pt x="19" y="85"/>
                    </a:lnTo>
                    <a:lnTo>
                      <a:pt x="9" y="75"/>
                    </a:lnTo>
                    <a:lnTo>
                      <a:pt x="2" y="62"/>
                    </a:lnTo>
                    <a:lnTo>
                      <a:pt x="0" y="47"/>
                    </a:lnTo>
                    <a:lnTo>
                      <a:pt x="2" y="32"/>
                    </a:lnTo>
                    <a:lnTo>
                      <a:pt x="9" y="20"/>
                    </a:lnTo>
                    <a:lnTo>
                      <a:pt x="19" y="10"/>
                    </a:lnTo>
                    <a:lnTo>
                      <a:pt x="32" y="3"/>
                    </a:lnTo>
                    <a:lnTo>
                      <a:pt x="46" y="0"/>
                    </a:lnTo>
                    <a:close/>
                  </a:path>
                </a:pathLst>
              </a:custGeom>
              <a:solidFill>
                <a:schemeClr val="accent5"/>
              </a:solidFill>
              <a:ln>
                <a:noFill/>
              </a:ln>
            </p:spPr>
            <p:txBody>
              <a:bodyPr/>
              <a:lstStyle/>
              <a:p>
                <a:endParaRPr lang="de-DE" dirty="0"/>
              </a:p>
            </p:txBody>
          </p:sp>
          <p:sp>
            <p:nvSpPr>
              <p:cNvPr id="859" name="Freeform 367"/>
              <p:cNvSpPr>
                <a:spLocks/>
              </p:cNvSpPr>
              <p:nvPr/>
            </p:nvSpPr>
            <p:spPr bwMode="auto">
              <a:xfrm>
                <a:off x="11391819" y="5920387"/>
                <a:ext cx="41271" cy="12701"/>
              </a:xfrm>
              <a:custGeom>
                <a:avLst/>
                <a:gdLst>
                  <a:gd name="T0" fmla="*/ 42 w 260"/>
                  <a:gd name="T1" fmla="*/ 0 h 85"/>
                  <a:gd name="T2" fmla="*/ 217 w 260"/>
                  <a:gd name="T3" fmla="*/ 0 h 85"/>
                  <a:gd name="T4" fmla="*/ 234 w 260"/>
                  <a:gd name="T5" fmla="*/ 3 h 85"/>
                  <a:gd name="T6" fmla="*/ 248 w 260"/>
                  <a:gd name="T7" fmla="*/ 12 h 85"/>
                  <a:gd name="T8" fmla="*/ 257 w 260"/>
                  <a:gd name="T9" fmla="*/ 25 h 85"/>
                  <a:gd name="T10" fmla="*/ 260 w 260"/>
                  <a:gd name="T11" fmla="*/ 42 h 85"/>
                  <a:gd name="T12" fmla="*/ 257 w 260"/>
                  <a:gd name="T13" fmla="*/ 58 h 85"/>
                  <a:gd name="T14" fmla="*/ 248 w 260"/>
                  <a:gd name="T15" fmla="*/ 73 h 85"/>
                  <a:gd name="T16" fmla="*/ 234 w 260"/>
                  <a:gd name="T17" fmla="*/ 81 h 85"/>
                  <a:gd name="T18" fmla="*/ 217 w 260"/>
                  <a:gd name="T19" fmla="*/ 85 h 85"/>
                  <a:gd name="T20" fmla="*/ 42 w 260"/>
                  <a:gd name="T21" fmla="*/ 85 h 85"/>
                  <a:gd name="T22" fmla="*/ 29 w 260"/>
                  <a:gd name="T23" fmla="*/ 83 h 85"/>
                  <a:gd name="T24" fmla="*/ 18 w 260"/>
                  <a:gd name="T25" fmla="*/ 76 h 85"/>
                  <a:gd name="T26" fmla="*/ 8 w 260"/>
                  <a:gd name="T27" fmla="*/ 67 h 85"/>
                  <a:gd name="T28" fmla="*/ 2 w 260"/>
                  <a:gd name="T29" fmla="*/ 55 h 85"/>
                  <a:gd name="T30" fmla="*/ 0 w 260"/>
                  <a:gd name="T31" fmla="*/ 42 h 85"/>
                  <a:gd name="T32" fmla="*/ 2 w 260"/>
                  <a:gd name="T33" fmla="*/ 28 h 85"/>
                  <a:gd name="T34" fmla="*/ 8 w 260"/>
                  <a:gd name="T35" fmla="*/ 16 h 85"/>
                  <a:gd name="T36" fmla="*/ 18 w 260"/>
                  <a:gd name="T37" fmla="*/ 7 h 85"/>
                  <a:gd name="T38" fmla="*/ 29 w 260"/>
                  <a:gd name="T39" fmla="*/ 1 h 85"/>
                  <a:gd name="T40" fmla="*/ 42 w 260"/>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85">
                    <a:moveTo>
                      <a:pt x="42" y="0"/>
                    </a:moveTo>
                    <a:lnTo>
                      <a:pt x="217" y="0"/>
                    </a:lnTo>
                    <a:lnTo>
                      <a:pt x="234" y="3"/>
                    </a:lnTo>
                    <a:lnTo>
                      <a:pt x="248" y="12"/>
                    </a:lnTo>
                    <a:lnTo>
                      <a:pt x="257" y="25"/>
                    </a:lnTo>
                    <a:lnTo>
                      <a:pt x="260" y="42"/>
                    </a:lnTo>
                    <a:lnTo>
                      <a:pt x="257" y="58"/>
                    </a:lnTo>
                    <a:lnTo>
                      <a:pt x="248" y="73"/>
                    </a:lnTo>
                    <a:lnTo>
                      <a:pt x="234" y="81"/>
                    </a:lnTo>
                    <a:lnTo>
                      <a:pt x="217" y="85"/>
                    </a:lnTo>
                    <a:lnTo>
                      <a:pt x="42" y="85"/>
                    </a:lnTo>
                    <a:lnTo>
                      <a:pt x="29" y="83"/>
                    </a:lnTo>
                    <a:lnTo>
                      <a:pt x="18" y="76"/>
                    </a:lnTo>
                    <a:lnTo>
                      <a:pt x="8" y="67"/>
                    </a:lnTo>
                    <a:lnTo>
                      <a:pt x="2" y="55"/>
                    </a:lnTo>
                    <a:lnTo>
                      <a:pt x="0" y="42"/>
                    </a:lnTo>
                    <a:lnTo>
                      <a:pt x="2" y="28"/>
                    </a:lnTo>
                    <a:lnTo>
                      <a:pt x="8" y="16"/>
                    </a:lnTo>
                    <a:lnTo>
                      <a:pt x="18" y="7"/>
                    </a:lnTo>
                    <a:lnTo>
                      <a:pt x="29" y="1"/>
                    </a:lnTo>
                    <a:lnTo>
                      <a:pt x="42" y="0"/>
                    </a:lnTo>
                    <a:close/>
                  </a:path>
                </a:pathLst>
              </a:custGeom>
              <a:solidFill>
                <a:schemeClr val="accent5"/>
              </a:solidFill>
              <a:ln>
                <a:noFill/>
              </a:ln>
            </p:spPr>
            <p:txBody>
              <a:bodyPr/>
              <a:lstStyle/>
              <a:p>
                <a:endParaRPr lang="de-DE" dirty="0"/>
              </a:p>
            </p:txBody>
          </p:sp>
          <p:sp>
            <p:nvSpPr>
              <p:cNvPr id="860" name="Freeform 368"/>
              <p:cNvSpPr>
                <a:spLocks/>
              </p:cNvSpPr>
              <p:nvPr/>
            </p:nvSpPr>
            <p:spPr bwMode="auto">
              <a:xfrm>
                <a:off x="10982285" y="5971192"/>
                <a:ext cx="50795" cy="15877"/>
              </a:xfrm>
              <a:custGeom>
                <a:avLst/>
                <a:gdLst>
                  <a:gd name="T0" fmla="*/ 48 w 311"/>
                  <a:gd name="T1" fmla="*/ 0 h 95"/>
                  <a:gd name="T2" fmla="*/ 263 w 311"/>
                  <a:gd name="T3" fmla="*/ 0 h 95"/>
                  <a:gd name="T4" fmla="*/ 278 w 311"/>
                  <a:gd name="T5" fmla="*/ 2 h 95"/>
                  <a:gd name="T6" fmla="*/ 291 w 311"/>
                  <a:gd name="T7" fmla="*/ 8 h 95"/>
                  <a:gd name="T8" fmla="*/ 301 w 311"/>
                  <a:gd name="T9" fmla="*/ 18 h 95"/>
                  <a:gd name="T10" fmla="*/ 309 w 311"/>
                  <a:gd name="T11" fmla="*/ 32 h 95"/>
                  <a:gd name="T12" fmla="*/ 311 w 311"/>
                  <a:gd name="T13" fmla="*/ 47 h 95"/>
                  <a:gd name="T14" fmla="*/ 309 w 311"/>
                  <a:gd name="T15" fmla="*/ 61 h 95"/>
                  <a:gd name="T16" fmla="*/ 301 w 311"/>
                  <a:gd name="T17" fmla="*/ 75 h 95"/>
                  <a:gd name="T18" fmla="*/ 291 w 311"/>
                  <a:gd name="T19" fmla="*/ 85 h 95"/>
                  <a:gd name="T20" fmla="*/ 278 w 311"/>
                  <a:gd name="T21" fmla="*/ 92 h 95"/>
                  <a:gd name="T22" fmla="*/ 263 w 311"/>
                  <a:gd name="T23" fmla="*/ 95 h 95"/>
                  <a:gd name="T24" fmla="*/ 48 w 311"/>
                  <a:gd name="T25" fmla="*/ 95 h 95"/>
                  <a:gd name="T26" fmla="*/ 32 w 311"/>
                  <a:gd name="T27" fmla="*/ 92 h 95"/>
                  <a:gd name="T28" fmla="*/ 19 w 311"/>
                  <a:gd name="T29" fmla="*/ 85 h 95"/>
                  <a:gd name="T30" fmla="*/ 9 w 311"/>
                  <a:gd name="T31" fmla="*/ 75 h 95"/>
                  <a:gd name="T32" fmla="*/ 2 w 311"/>
                  <a:gd name="T33" fmla="*/ 61 h 95"/>
                  <a:gd name="T34" fmla="*/ 0 w 311"/>
                  <a:gd name="T35" fmla="*/ 47 h 95"/>
                  <a:gd name="T36" fmla="*/ 2 w 311"/>
                  <a:gd name="T37" fmla="*/ 32 h 95"/>
                  <a:gd name="T38" fmla="*/ 9 w 311"/>
                  <a:gd name="T39" fmla="*/ 18 h 95"/>
                  <a:gd name="T40" fmla="*/ 19 w 311"/>
                  <a:gd name="T41" fmla="*/ 8 h 95"/>
                  <a:gd name="T42" fmla="*/ 32 w 311"/>
                  <a:gd name="T43" fmla="*/ 2 h 95"/>
                  <a:gd name="T44" fmla="*/ 48 w 311"/>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1" h="95">
                    <a:moveTo>
                      <a:pt x="48" y="0"/>
                    </a:moveTo>
                    <a:lnTo>
                      <a:pt x="263" y="0"/>
                    </a:lnTo>
                    <a:lnTo>
                      <a:pt x="278" y="2"/>
                    </a:lnTo>
                    <a:lnTo>
                      <a:pt x="291" y="8"/>
                    </a:lnTo>
                    <a:lnTo>
                      <a:pt x="301" y="18"/>
                    </a:lnTo>
                    <a:lnTo>
                      <a:pt x="309" y="32"/>
                    </a:lnTo>
                    <a:lnTo>
                      <a:pt x="311" y="47"/>
                    </a:lnTo>
                    <a:lnTo>
                      <a:pt x="309" y="61"/>
                    </a:lnTo>
                    <a:lnTo>
                      <a:pt x="301" y="75"/>
                    </a:lnTo>
                    <a:lnTo>
                      <a:pt x="291" y="85"/>
                    </a:lnTo>
                    <a:lnTo>
                      <a:pt x="278" y="92"/>
                    </a:lnTo>
                    <a:lnTo>
                      <a:pt x="263" y="95"/>
                    </a:lnTo>
                    <a:lnTo>
                      <a:pt x="48" y="95"/>
                    </a:lnTo>
                    <a:lnTo>
                      <a:pt x="32" y="92"/>
                    </a:lnTo>
                    <a:lnTo>
                      <a:pt x="19" y="85"/>
                    </a:lnTo>
                    <a:lnTo>
                      <a:pt x="9" y="75"/>
                    </a:lnTo>
                    <a:lnTo>
                      <a:pt x="2" y="61"/>
                    </a:lnTo>
                    <a:lnTo>
                      <a:pt x="0" y="47"/>
                    </a:lnTo>
                    <a:lnTo>
                      <a:pt x="2" y="32"/>
                    </a:lnTo>
                    <a:lnTo>
                      <a:pt x="9" y="18"/>
                    </a:lnTo>
                    <a:lnTo>
                      <a:pt x="19" y="8"/>
                    </a:lnTo>
                    <a:lnTo>
                      <a:pt x="32" y="2"/>
                    </a:lnTo>
                    <a:lnTo>
                      <a:pt x="48" y="0"/>
                    </a:lnTo>
                    <a:close/>
                  </a:path>
                </a:pathLst>
              </a:custGeom>
              <a:solidFill>
                <a:schemeClr val="accent5"/>
              </a:solidFill>
              <a:ln>
                <a:noFill/>
              </a:ln>
            </p:spPr>
            <p:txBody>
              <a:bodyPr/>
              <a:lstStyle/>
              <a:p>
                <a:endParaRPr lang="de-DE" dirty="0"/>
              </a:p>
            </p:txBody>
          </p:sp>
          <p:sp>
            <p:nvSpPr>
              <p:cNvPr id="861" name="Freeform 369"/>
              <p:cNvSpPr>
                <a:spLocks/>
              </p:cNvSpPr>
              <p:nvPr/>
            </p:nvSpPr>
            <p:spPr bwMode="auto">
              <a:xfrm>
                <a:off x="11047366" y="5975955"/>
                <a:ext cx="39684" cy="14289"/>
              </a:xfrm>
              <a:custGeom>
                <a:avLst/>
                <a:gdLst>
                  <a:gd name="T0" fmla="*/ 42 w 248"/>
                  <a:gd name="T1" fmla="*/ 0 h 83"/>
                  <a:gd name="T2" fmla="*/ 206 w 248"/>
                  <a:gd name="T3" fmla="*/ 0 h 83"/>
                  <a:gd name="T4" fmla="*/ 222 w 248"/>
                  <a:gd name="T5" fmla="*/ 4 h 83"/>
                  <a:gd name="T6" fmla="*/ 236 w 248"/>
                  <a:gd name="T7" fmla="*/ 13 h 83"/>
                  <a:gd name="T8" fmla="*/ 244 w 248"/>
                  <a:gd name="T9" fmla="*/ 26 h 83"/>
                  <a:gd name="T10" fmla="*/ 248 w 248"/>
                  <a:gd name="T11" fmla="*/ 42 h 83"/>
                  <a:gd name="T12" fmla="*/ 244 w 248"/>
                  <a:gd name="T13" fmla="*/ 59 h 83"/>
                  <a:gd name="T14" fmla="*/ 236 w 248"/>
                  <a:gd name="T15" fmla="*/ 71 h 83"/>
                  <a:gd name="T16" fmla="*/ 222 w 248"/>
                  <a:gd name="T17" fmla="*/ 81 h 83"/>
                  <a:gd name="T18" fmla="*/ 206 w 248"/>
                  <a:gd name="T19" fmla="*/ 83 h 83"/>
                  <a:gd name="T20" fmla="*/ 42 w 248"/>
                  <a:gd name="T21" fmla="*/ 83 h 83"/>
                  <a:gd name="T22" fmla="*/ 25 w 248"/>
                  <a:gd name="T23" fmla="*/ 81 h 83"/>
                  <a:gd name="T24" fmla="*/ 12 w 248"/>
                  <a:gd name="T25" fmla="*/ 72 h 83"/>
                  <a:gd name="T26" fmla="*/ 3 w 248"/>
                  <a:gd name="T27" fmla="*/ 59 h 83"/>
                  <a:gd name="T28" fmla="*/ 0 w 248"/>
                  <a:gd name="T29" fmla="*/ 42 h 83"/>
                  <a:gd name="T30" fmla="*/ 3 w 248"/>
                  <a:gd name="T31" fmla="*/ 26 h 83"/>
                  <a:gd name="T32" fmla="*/ 12 w 248"/>
                  <a:gd name="T33" fmla="*/ 13 h 83"/>
                  <a:gd name="T34" fmla="*/ 25 w 248"/>
                  <a:gd name="T35" fmla="*/ 4 h 83"/>
                  <a:gd name="T36" fmla="*/ 42 w 248"/>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8" h="83">
                    <a:moveTo>
                      <a:pt x="42" y="0"/>
                    </a:moveTo>
                    <a:lnTo>
                      <a:pt x="206" y="0"/>
                    </a:lnTo>
                    <a:lnTo>
                      <a:pt x="222" y="4"/>
                    </a:lnTo>
                    <a:lnTo>
                      <a:pt x="236" y="13"/>
                    </a:lnTo>
                    <a:lnTo>
                      <a:pt x="244" y="26"/>
                    </a:lnTo>
                    <a:lnTo>
                      <a:pt x="248" y="42"/>
                    </a:lnTo>
                    <a:lnTo>
                      <a:pt x="244" y="59"/>
                    </a:lnTo>
                    <a:lnTo>
                      <a:pt x="236" y="71"/>
                    </a:lnTo>
                    <a:lnTo>
                      <a:pt x="222" y="81"/>
                    </a:lnTo>
                    <a:lnTo>
                      <a:pt x="206" y="83"/>
                    </a:lnTo>
                    <a:lnTo>
                      <a:pt x="42" y="83"/>
                    </a:lnTo>
                    <a:lnTo>
                      <a:pt x="25" y="81"/>
                    </a:lnTo>
                    <a:lnTo>
                      <a:pt x="12" y="72"/>
                    </a:lnTo>
                    <a:lnTo>
                      <a:pt x="3" y="59"/>
                    </a:lnTo>
                    <a:lnTo>
                      <a:pt x="0" y="42"/>
                    </a:lnTo>
                    <a:lnTo>
                      <a:pt x="3" y="26"/>
                    </a:lnTo>
                    <a:lnTo>
                      <a:pt x="12" y="13"/>
                    </a:lnTo>
                    <a:lnTo>
                      <a:pt x="25" y="4"/>
                    </a:lnTo>
                    <a:lnTo>
                      <a:pt x="42" y="0"/>
                    </a:lnTo>
                    <a:close/>
                  </a:path>
                </a:pathLst>
              </a:custGeom>
              <a:solidFill>
                <a:schemeClr val="accent5"/>
              </a:solidFill>
              <a:ln>
                <a:noFill/>
              </a:ln>
            </p:spPr>
            <p:txBody>
              <a:bodyPr/>
              <a:lstStyle/>
              <a:p>
                <a:endParaRPr lang="de-DE" dirty="0"/>
              </a:p>
            </p:txBody>
          </p:sp>
          <p:sp>
            <p:nvSpPr>
              <p:cNvPr id="862" name="Freeform 370"/>
              <p:cNvSpPr>
                <a:spLocks/>
              </p:cNvSpPr>
              <p:nvPr/>
            </p:nvSpPr>
            <p:spPr bwMode="auto">
              <a:xfrm>
                <a:off x="11118796" y="5974368"/>
                <a:ext cx="47620" cy="14289"/>
              </a:xfrm>
              <a:custGeom>
                <a:avLst/>
                <a:gdLst>
                  <a:gd name="T0" fmla="*/ 47 w 300"/>
                  <a:gd name="T1" fmla="*/ 0 h 93"/>
                  <a:gd name="T2" fmla="*/ 254 w 300"/>
                  <a:gd name="T3" fmla="*/ 0 h 93"/>
                  <a:gd name="T4" fmla="*/ 268 w 300"/>
                  <a:gd name="T5" fmla="*/ 2 h 93"/>
                  <a:gd name="T6" fmla="*/ 281 w 300"/>
                  <a:gd name="T7" fmla="*/ 9 h 93"/>
                  <a:gd name="T8" fmla="*/ 291 w 300"/>
                  <a:gd name="T9" fmla="*/ 19 h 93"/>
                  <a:gd name="T10" fmla="*/ 298 w 300"/>
                  <a:gd name="T11" fmla="*/ 32 h 93"/>
                  <a:gd name="T12" fmla="*/ 300 w 300"/>
                  <a:gd name="T13" fmla="*/ 47 h 93"/>
                  <a:gd name="T14" fmla="*/ 298 w 300"/>
                  <a:gd name="T15" fmla="*/ 61 h 93"/>
                  <a:gd name="T16" fmla="*/ 291 w 300"/>
                  <a:gd name="T17" fmla="*/ 74 h 93"/>
                  <a:gd name="T18" fmla="*/ 281 w 300"/>
                  <a:gd name="T19" fmla="*/ 84 h 93"/>
                  <a:gd name="T20" fmla="*/ 268 w 300"/>
                  <a:gd name="T21" fmla="*/ 91 h 93"/>
                  <a:gd name="T22" fmla="*/ 254 w 300"/>
                  <a:gd name="T23" fmla="*/ 93 h 93"/>
                  <a:gd name="T24" fmla="*/ 47 w 300"/>
                  <a:gd name="T25" fmla="*/ 93 h 93"/>
                  <a:gd name="T26" fmla="*/ 32 w 300"/>
                  <a:gd name="T27" fmla="*/ 91 h 93"/>
                  <a:gd name="T28" fmla="*/ 19 w 300"/>
                  <a:gd name="T29" fmla="*/ 84 h 93"/>
                  <a:gd name="T30" fmla="*/ 9 w 300"/>
                  <a:gd name="T31" fmla="*/ 74 h 93"/>
                  <a:gd name="T32" fmla="*/ 3 w 300"/>
                  <a:gd name="T33" fmla="*/ 61 h 93"/>
                  <a:gd name="T34" fmla="*/ 0 w 300"/>
                  <a:gd name="T35" fmla="*/ 47 h 93"/>
                  <a:gd name="T36" fmla="*/ 3 w 300"/>
                  <a:gd name="T37" fmla="*/ 32 h 93"/>
                  <a:gd name="T38" fmla="*/ 9 w 300"/>
                  <a:gd name="T39" fmla="*/ 19 h 93"/>
                  <a:gd name="T40" fmla="*/ 19 w 300"/>
                  <a:gd name="T41" fmla="*/ 9 h 93"/>
                  <a:gd name="T42" fmla="*/ 32 w 300"/>
                  <a:gd name="T43" fmla="*/ 2 h 93"/>
                  <a:gd name="T44" fmla="*/ 47 w 300"/>
                  <a:gd name="T4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93">
                    <a:moveTo>
                      <a:pt x="47" y="0"/>
                    </a:moveTo>
                    <a:lnTo>
                      <a:pt x="254" y="0"/>
                    </a:lnTo>
                    <a:lnTo>
                      <a:pt x="268" y="2"/>
                    </a:lnTo>
                    <a:lnTo>
                      <a:pt x="281" y="9"/>
                    </a:lnTo>
                    <a:lnTo>
                      <a:pt x="291" y="19"/>
                    </a:lnTo>
                    <a:lnTo>
                      <a:pt x="298" y="32"/>
                    </a:lnTo>
                    <a:lnTo>
                      <a:pt x="300" y="47"/>
                    </a:lnTo>
                    <a:lnTo>
                      <a:pt x="298" y="61"/>
                    </a:lnTo>
                    <a:lnTo>
                      <a:pt x="291" y="74"/>
                    </a:lnTo>
                    <a:lnTo>
                      <a:pt x="281" y="84"/>
                    </a:lnTo>
                    <a:lnTo>
                      <a:pt x="268" y="91"/>
                    </a:lnTo>
                    <a:lnTo>
                      <a:pt x="254" y="93"/>
                    </a:lnTo>
                    <a:lnTo>
                      <a:pt x="47" y="93"/>
                    </a:lnTo>
                    <a:lnTo>
                      <a:pt x="32" y="91"/>
                    </a:lnTo>
                    <a:lnTo>
                      <a:pt x="19" y="84"/>
                    </a:lnTo>
                    <a:lnTo>
                      <a:pt x="9" y="74"/>
                    </a:lnTo>
                    <a:lnTo>
                      <a:pt x="3" y="61"/>
                    </a:lnTo>
                    <a:lnTo>
                      <a:pt x="0" y="47"/>
                    </a:lnTo>
                    <a:lnTo>
                      <a:pt x="3" y="32"/>
                    </a:lnTo>
                    <a:lnTo>
                      <a:pt x="9" y="19"/>
                    </a:lnTo>
                    <a:lnTo>
                      <a:pt x="19" y="9"/>
                    </a:lnTo>
                    <a:lnTo>
                      <a:pt x="32" y="2"/>
                    </a:lnTo>
                    <a:lnTo>
                      <a:pt x="47" y="0"/>
                    </a:lnTo>
                    <a:close/>
                  </a:path>
                </a:pathLst>
              </a:custGeom>
              <a:solidFill>
                <a:schemeClr val="accent5"/>
              </a:solidFill>
              <a:ln>
                <a:noFill/>
              </a:ln>
            </p:spPr>
            <p:txBody>
              <a:bodyPr/>
              <a:lstStyle/>
              <a:p>
                <a:endParaRPr lang="de-DE" dirty="0"/>
              </a:p>
            </p:txBody>
          </p:sp>
          <p:sp>
            <p:nvSpPr>
              <p:cNvPr id="863" name="Freeform 371"/>
              <p:cNvSpPr>
                <a:spLocks/>
              </p:cNvSpPr>
              <p:nvPr/>
            </p:nvSpPr>
            <p:spPr bwMode="auto">
              <a:xfrm>
                <a:off x="11179115" y="5972780"/>
                <a:ext cx="50795" cy="15877"/>
              </a:xfrm>
              <a:custGeom>
                <a:avLst/>
                <a:gdLst>
                  <a:gd name="T0" fmla="*/ 48 w 312"/>
                  <a:gd name="T1" fmla="*/ 0 h 95"/>
                  <a:gd name="T2" fmla="*/ 264 w 312"/>
                  <a:gd name="T3" fmla="*/ 0 h 95"/>
                  <a:gd name="T4" fmla="*/ 279 w 312"/>
                  <a:gd name="T5" fmla="*/ 3 h 95"/>
                  <a:gd name="T6" fmla="*/ 292 w 312"/>
                  <a:gd name="T7" fmla="*/ 9 h 95"/>
                  <a:gd name="T8" fmla="*/ 302 w 312"/>
                  <a:gd name="T9" fmla="*/ 20 h 95"/>
                  <a:gd name="T10" fmla="*/ 309 w 312"/>
                  <a:gd name="T11" fmla="*/ 32 h 95"/>
                  <a:gd name="T12" fmla="*/ 312 w 312"/>
                  <a:gd name="T13" fmla="*/ 48 h 95"/>
                  <a:gd name="T14" fmla="*/ 309 w 312"/>
                  <a:gd name="T15" fmla="*/ 62 h 95"/>
                  <a:gd name="T16" fmla="*/ 302 w 312"/>
                  <a:gd name="T17" fmla="*/ 75 h 95"/>
                  <a:gd name="T18" fmla="*/ 292 w 312"/>
                  <a:gd name="T19" fmla="*/ 86 h 95"/>
                  <a:gd name="T20" fmla="*/ 279 w 312"/>
                  <a:gd name="T21" fmla="*/ 93 h 95"/>
                  <a:gd name="T22" fmla="*/ 264 w 312"/>
                  <a:gd name="T23" fmla="*/ 95 h 95"/>
                  <a:gd name="T24" fmla="*/ 48 w 312"/>
                  <a:gd name="T25" fmla="*/ 95 h 95"/>
                  <a:gd name="T26" fmla="*/ 33 w 312"/>
                  <a:gd name="T27" fmla="*/ 93 h 95"/>
                  <a:gd name="T28" fmla="*/ 20 w 312"/>
                  <a:gd name="T29" fmla="*/ 86 h 95"/>
                  <a:gd name="T30" fmla="*/ 10 w 312"/>
                  <a:gd name="T31" fmla="*/ 75 h 95"/>
                  <a:gd name="T32" fmla="*/ 3 w 312"/>
                  <a:gd name="T33" fmla="*/ 62 h 95"/>
                  <a:gd name="T34" fmla="*/ 0 w 312"/>
                  <a:gd name="T35" fmla="*/ 48 h 95"/>
                  <a:gd name="T36" fmla="*/ 3 w 312"/>
                  <a:gd name="T37" fmla="*/ 32 h 95"/>
                  <a:gd name="T38" fmla="*/ 10 w 312"/>
                  <a:gd name="T39" fmla="*/ 20 h 95"/>
                  <a:gd name="T40" fmla="*/ 20 w 312"/>
                  <a:gd name="T41" fmla="*/ 9 h 95"/>
                  <a:gd name="T42" fmla="*/ 33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4" y="0"/>
                    </a:lnTo>
                    <a:lnTo>
                      <a:pt x="279" y="3"/>
                    </a:lnTo>
                    <a:lnTo>
                      <a:pt x="292" y="9"/>
                    </a:lnTo>
                    <a:lnTo>
                      <a:pt x="302" y="20"/>
                    </a:lnTo>
                    <a:lnTo>
                      <a:pt x="309" y="32"/>
                    </a:lnTo>
                    <a:lnTo>
                      <a:pt x="312" y="48"/>
                    </a:lnTo>
                    <a:lnTo>
                      <a:pt x="309" y="62"/>
                    </a:lnTo>
                    <a:lnTo>
                      <a:pt x="302" y="75"/>
                    </a:lnTo>
                    <a:lnTo>
                      <a:pt x="292" y="86"/>
                    </a:lnTo>
                    <a:lnTo>
                      <a:pt x="279" y="93"/>
                    </a:lnTo>
                    <a:lnTo>
                      <a:pt x="264" y="95"/>
                    </a:lnTo>
                    <a:lnTo>
                      <a:pt x="48" y="95"/>
                    </a:lnTo>
                    <a:lnTo>
                      <a:pt x="33" y="93"/>
                    </a:lnTo>
                    <a:lnTo>
                      <a:pt x="20" y="86"/>
                    </a:lnTo>
                    <a:lnTo>
                      <a:pt x="10" y="75"/>
                    </a:lnTo>
                    <a:lnTo>
                      <a:pt x="3" y="62"/>
                    </a:lnTo>
                    <a:lnTo>
                      <a:pt x="0" y="48"/>
                    </a:lnTo>
                    <a:lnTo>
                      <a:pt x="3" y="32"/>
                    </a:lnTo>
                    <a:lnTo>
                      <a:pt x="10" y="20"/>
                    </a:lnTo>
                    <a:lnTo>
                      <a:pt x="20" y="9"/>
                    </a:lnTo>
                    <a:lnTo>
                      <a:pt x="33" y="3"/>
                    </a:lnTo>
                    <a:lnTo>
                      <a:pt x="48" y="0"/>
                    </a:lnTo>
                    <a:close/>
                  </a:path>
                </a:pathLst>
              </a:custGeom>
              <a:solidFill>
                <a:schemeClr val="accent5"/>
              </a:solidFill>
              <a:ln>
                <a:noFill/>
              </a:ln>
            </p:spPr>
            <p:txBody>
              <a:bodyPr/>
              <a:lstStyle/>
              <a:p>
                <a:endParaRPr lang="de-DE" dirty="0"/>
              </a:p>
            </p:txBody>
          </p:sp>
          <p:sp>
            <p:nvSpPr>
              <p:cNvPr id="864" name="Freeform 372"/>
              <p:cNvSpPr>
                <a:spLocks/>
              </p:cNvSpPr>
              <p:nvPr/>
            </p:nvSpPr>
            <p:spPr bwMode="auto">
              <a:xfrm>
                <a:off x="11261657" y="5975955"/>
                <a:ext cx="41271" cy="14289"/>
              </a:xfrm>
              <a:custGeom>
                <a:avLst/>
                <a:gdLst>
                  <a:gd name="T0" fmla="*/ 45 w 267"/>
                  <a:gd name="T1" fmla="*/ 0 h 86"/>
                  <a:gd name="T2" fmla="*/ 224 w 267"/>
                  <a:gd name="T3" fmla="*/ 0 h 86"/>
                  <a:gd name="T4" fmla="*/ 237 w 267"/>
                  <a:gd name="T5" fmla="*/ 2 h 86"/>
                  <a:gd name="T6" fmla="*/ 249 w 267"/>
                  <a:gd name="T7" fmla="*/ 8 h 86"/>
                  <a:gd name="T8" fmla="*/ 259 w 267"/>
                  <a:gd name="T9" fmla="*/ 18 h 86"/>
                  <a:gd name="T10" fmla="*/ 265 w 267"/>
                  <a:gd name="T11" fmla="*/ 30 h 86"/>
                  <a:gd name="T12" fmla="*/ 267 w 267"/>
                  <a:gd name="T13" fmla="*/ 43 h 86"/>
                  <a:gd name="T14" fmla="*/ 265 w 267"/>
                  <a:gd name="T15" fmla="*/ 57 h 86"/>
                  <a:gd name="T16" fmla="*/ 259 w 267"/>
                  <a:gd name="T17" fmla="*/ 69 h 86"/>
                  <a:gd name="T18" fmla="*/ 249 w 267"/>
                  <a:gd name="T19" fmla="*/ 79 h 86"/>
                  <a:gd name="T20" fmla="*/ 237 w 267"/>
                  <a:gd name="T21" fmla="*/ 84 h 86"/>
                  <a:gd name="T22" fmla="*/ 224 w 267"/>
                  <a:gd name="T23" fmla="*/ 86 h 86"/>
                  <a:gd name="T24" fmla="*/ 45 w 267"/>
                  <a:gd name="T25" fmla="*/ 86 h 86"/>
                  <a:gd name="T26" fmla="*/ 30 w 267"/>
                  <a:gd name="T27" fmla="*/ 84 h 86"/>
                  <a:gd name="T28" fmla="*/ 18 w 267"/>
                  <a:gd name="T29" fmla="*/ 79 h 86"/>
                  <a:gd name="T30" fmla="*/ 9 w 267"/>
                  <a:gd name="T31" fmla="*/ 69 h 86"/>
                  <a:gd name="T32" fmla="*/ 3 w 267"/>
                  <a:gd name="T33" fmla="*/ 57 h 86"/>
                  <a:gd name="T34" fmla="*/ 0 w 267"/>
                  <a:gd name="T35" fmla="*/ 43 h 86"/>
                  <a:gd name="T36" fmla="*/ 3 w 267"/>
                  <a:gd name="T37" fmla="*/ 30 h 86"/>
                  <a:gd name="T38" fmla="*/ 9 w 267"/>
                  <a:gd name="T39" fmla="*/ 18 h 86"/>
                  <a:gd name="T40" fmla="*/ 18 w 267"/>
                  <a:gd name="T41" fmla="*/ 8 h 86"/>
                  <a:gd name="T42" fmla="*/ 30 w 267"/>
                  <a:gd name="T43" fmla="*/ 2 h 86"/>
                  <a:gd name="T44" fmla="*/ 45 w 267"/>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7" h="86">
                    <a:moveTo>
                      <a:pt x="45" y="0"/>
                    </a:moveTo>
                    <a:lnTo>
                      <a:pt x="224" y="0"/>
                    </a:lnTo>
                    <a:lnTo>
                      <a:pt x="237" y="2"/>
                    </a:lnTo>
                    <a:lnTo>
                      <a:pt x="249" y="8"/>
                    </a:lnTo>
                    <a:lnTo>
                      <a:pt x="259" y="18"/>
                    </a:lnTo>
                    <a:lnTo>
                      <a:pt x="265" y="30"/>
                    </a:lnTo>
                    <a:lnTo>
                      <a:pt x="267" y="43"/>
                    </a:lnTo>
                    <a:lnTo>
                      <a:pt x="265" y="57"/>
                    </a:lnTo>
                    <a:lnTo>
                      <a:pt x="259" y="69"/>
                    </a:lnTo>
                    <a:lnTo>
                      <a:pt x="249" y="79"/>
                    </a:lnTo>
                    <a:lnTo>
                      <a:pt x="237" y="84"/>
                    </a:lnTo>
                    <a:lnTo>
                      <a:pt x="224" y="86"/>
                    </a:lnTo>
                    <a:lnTo>
                      <a:pt x="45" y="86"/>
                    </a:lnTo>
                    <a:lnTo>
                      <a:pt x="30" y="84"/>
                    </a:lnTo>
                    <a:lnTo>
                      <a:pt x="18" y="79"/>
                    </a:lnTo>
                    <a:lnTo>
                      <a:pt x="9" y="69"/>
                    </a:lnTo>
                    <a:lnTo>
                      <a:pt x="3" y="57"/>
                    </a:lnTo>
                    <a:lnTo>
                      <a:pt x="0" y="43"/>
                    </a:lnTo>
                    <a:lnTo>
                      <a:pt x="3" y="30"/>
                    </a:lnTo>
                    <a:lnTo>
                      <a:pt x="9" y="18"/>
                    </a:lnTo>
                    <a:lnTo>
                      <a:pt x="18" y="8"/>
                    </a:lnTo>
                    <a:lnTo>
                      <a:pt x="30" y="2"/>
                    </a:lnTo>
                    <a:lnTo>
                      <a:pt x="45" y="0"/>
                    </a:lnTo>
                    <a:close/>
                  </a:path>
                </a:pathLst>
              </a:custGeom>
              <a:solidFill>
                <a:schemeClr val="accent5"/>
              </a:solidFill>
              <a:ln>
                <a:noFill/>
              </a:ln>
            </p:spPr>
            <p:txBody>
              <a:bodyPr/>
              <a:lstStyle/>
              <a:p>
                <a:endParaRPr lang="de-DE" dirty="0"/>
              </a:p>
            </p:txBody>
          </p:sp>
          <p:sp>
            <p:nvSpPr>
              <p:cNvPr id="865" name="Freeform 373"/>
              <p:cNvSpPr>
                <a:spLocks/>
              </p:cNvSpPr>
              <p:nvPr/>
            </p:nvSpPr>
            <p:spPr bwMode="auto">
              <a:xfrm>
                <a:off x="11317214" y="5969605"/>
                <a:ext cx="53970" cy="15877"/>
              </a:xfrm>
              <a:custGeom>
                <a:avLst/>
                <a:gdLst>
                  <a:gd name="T0" fmla="*/ 51 w 344"/>
                  <a:gd name="T1" fmla="*/ 0 h 100"/>
                  <a:gd name="T2" fmla="*/ 293 w 344"/>
                  <a:gd name="T3" fmla="*/ 0 h 100"/>
                  <a:gd name="T4" fmla="*/ 310 w 344"/>
                  <a:gd name="T5" fmla="*/ 2 h 100"/>
                  <a:gd name="T6" fmla="*/ 323 w 344"/>
                  <a:gd name="T7" fmla="*/ 10 h 100"/>
                  <a:gd name="T8" fmla="*/ 334 w 344"/>
                  <a:gd name="T9" fmla="*/ 20 h 100"/>
                  <a:gd name="T10" fmla="*/ 342 w 344"/>
                  <a:gd name="T11" fmla="*/ 34 h 100"/>
                  <a:gd name="T12" fmla="*/ 344 w 344"/>
                  <a:gd name="T13" fmla="*/ 49 h 100"/>
                  <a:gd name="T14" fmla="*/ 342 w 344"/>
                  <a:gd name="T15" fmla="*/ 66 h 100"/>
                  <a:gd name="T16" fmla="*/ 334 w 344"/>
                  <a:gd name="T17" fmla="*/ 79 h 100"/>
                  <a:gd name="T18" fmla="*/ 323 w 344"/>
                  <a:gd name="T19" fmla="*/ 90 h 100"/>
                  <a:gd name="T20" fmla="*/ 310 w 344"/>
                  <a:gd name="T21" fmla="*/ 98 h 100"/>
                  <a:gd name="T22" fmla="*/ 293 w 344"/>
                  <a:gd name="T23" fmla="*/ 100 h 100"/>
                  <a:gd name="T24" fmla="*/ 51 w 344"/>
                  <a:gd name="T25" fmla="*/ 100 h 100"/>
                  <a:gd name="T26" fmla="*/ 36 w 344"/>
                  <a:gd name="T27" fmla="*/ 98 h 100"/>
                  <a:gd name="T28" fmla="*/ 21 w 344"/>
                  <a:gd name="T29" fmla="*/ 90 h 100"/>
                  <a:gd name="T30" fmla="*/ 10 w 344"/>
                  <a:gd name="T31" fmla="*/ 79 h 100"/>
                  <a:gd name="T32" fmla="*/ 4 w 344"/>
                  <a:gd name="T33" fmla="*/ 66 h 100"/>
                  <a:gd name="T34" fmla="*/ 0 w 344"/>
                  <a:gd name="T35" fmla="*/ 49 h 100"/>
                  <a:gd name="T36" fmla="*/ 4 w 344"/>
                  <a:gd name="T37" fmla="*/ 34 h 100"/>
                  <a:gd name="T38" fmla="*/ 10 w 344"/>
                  <a:gd name="T39" fmla="*/ 20 h 100"/>
                  <a:gd name="T40" fmla="*/ 21 w 344"/>
                  <a:gd name="T41" fmla="*/ 10 h 100"/>
                  <a:gd name="T42" fmla="*/ 36 w 344"/>
                  <a:gd name="T43" fmla="*/ 2 h 100"/>
                  <a:gd name="T44" fmla="*/ 51 w 344"/>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0">
                    <a:moveTo>
                      <a:pt x="51" y="0"/>
                    </a:moveTo>
                    <a:lnTo>
                      <a:pt x="293" y="0"/>
                    </a:lnTo>
                    <a:lnTo>
                      <a:pt x="310" y="2"/>
                    </a:lnTo>
                    <a:lnTo>
                      <a:pt x="323" y="10"/>
                    </a:lnTo>
                    <a:lnTo>
                      <a:pt x="334" y="20"/>
                    </a:lnTo>
                    <a:lnTo>
                      <a:pt x="342" y="34"/>
                    </a:lnTo>
                    <a:lnTo>
                      <a:pt x="344" y="49"/>
                    </a:lnTo>
                    <a:lnTo>
                      <a:pt x="342" y="66"/>
                    </a:lnTo>
                    <a:lnTo>
                      <a:pt x="334" y="79"/>
                    </a:lnTo>
                    <a:lnTo>
                      <a:pt x="323" y="90"/>
                    </a:lnTo>
                    <a:lnTo>
                      <a:pt x="310" y="98"/>
                    </a:lnTo>
                    <a:lnTo>
                      <a:pt x="293" y="100"/>
                    </a:lnTo>
                    <a:lnTo>
                      <a:pt x="51" y="100"/>
                    </a:lnTo>
                    <a:lnTo>
                      <a:pt x="36" y="98"/>
                    </a:lnTo>
                    <a:lnTo>
                      <a:pt x="21" y="90"/>
                    </a:lnTo>
                    <a:lnTo>
                      <a:pt x="10" y="79"/>
                    </a:lnTo>
                    <a:lnTo>
                      <a:pt x="4" y="66"/>
                    </a:lnTo>
                    <a:lnTo>
                      <a:pt x="0" y="49"/>
                    </a:lnTo>
                    <a:lnTo>
                      <a:pt x="4" y="34"/>
                    </a:lnTo>
                    <a:lnTo>
                      <a:pt x="10" y="20"/>
                    </a:lnTo>
                    <a:lnTo>
                      <a:pt x="21" y="10"/>
                    </a:lnTo>
                    <a:lnTo>
                      <a:pt x="36" y="2"/>
                    </a:lnTo>
                    <a:lnTo>
                      <a:pt x="51" y="0"/>
                    </a:lnTo>
                    <a:close/>
                  </a:path>
                </a:pathLst>
              </a:custGeom>
              <a:solidFill>
                <a:schemeClr val="accent5"/>
              </a:solidFill>
              <a:ln>
                <a:noFill/>
              </a:ln>
            </p:spPr>
            <p:txBody>
              <a:bodyPr/>
              <a:lstStyle/>
              <a:p>
                <a:endParaRPr lang="de-DE" dirty="0"/>
              </a:p>
            </p:txBody>
          </p:sp>
          <p:sp>
            <p:nvSpPr>
              <p:cNvPr id="866" name="Freeform 374"/>
              <p:cNvSpPr>
                <a:spLocks/>
              </p:cNvSpPr>
              <p:nvPr/>
            </p:nvSpPr>
            <p:spPr bwMode="auto">
              <a:xfrm>
                <a:off x="11387057" y="5972780"/>
                <a:ext cx="57144" cy="15877"/>
              </a:xfrm>
              <a:custGeom>
                <a:avLst/>
                <a:gdLst>
                  <a:gd name="T0" fmla="*/ 50 w 357"/>
                  <a:gd name="T1" fmla="*/ 0 h 103"/>
                  <a:gd name="T2" fmla="*/ 305 w 357"/>
                  <a:gd name="T3" fmla="*/ 0 h 103"/>
                  <a:gd name="T4" fmla="*/ 322 w 357"/>
                  <a:gd name="T5" fmla="*/ 3 h 103"/>
                  <a:gd name="T6" fmla="*/ 336 w 357"/>
                  <a:gd name="T7" fmla="*/ 10 h 103"/>
                  <a:gd name="T8" fmla="*/ 347 w 357"/>
                  <a:gd name="T9" fmla="*/ 21 h 103"/>
                  <a:gd name="T10" fmla="*/ 355 w 357"/>
                  <a:gd name="T11" fmla="*/ 36 h 103"/>
                  <a:gd name="T12" fmla="*/ 357 w 357"/>
                  <a:gd name="T13" fmla="*/ 52 h 103"/>
                  <a:gd name="T14" fmla="*/ 355 w 357"/>
                  <a:gd name="T15" fmla="*/ 68 h 103"/>
                  <a:gd name="T16" fmla="*/ 347 w 357"/>
                  <a:gd name="T17" fmla="*/ 82 h 103"/>
                  <a:gd name="T18" fmla="*/ 336 w 357"/>
                  <a:gd name="T19" fmla="*/ 93 h 103"/>
                  <a:gd name="T20" fmla="*/ 322 w 357"/>
                  <a:gd name="T21" fmla="*/ 101 h 103"/>
                  <a:gd name="T22" fmla="*/ 305 w 357"/>
                  <a:gd name="T23" fmla="*/ 103 h 103"/>
                  <a:gd name="T24" fmla="*/ 50 w 357"/>
                  <a:gd name="T25" fmla="*/ 103 h 103"/>
                  <a:gd name="T26" fmla="*/ 35 w 357"/>
                  <a:gd name="T27" fmla="*/ 101 h 103"/>
                  <a:gd name="T28" fmla="*/ 21 w 357"/>
                  <a:gd name="T29" fmla="*/ 93 h 103"/>
                  <a:gd name="T30" fmla="*/ 10 w 357"/>
                  <a:gd name="T31" fmla="*/ 82 h 103"/>
                  <a:gd name="T32" fmla="*/ 2 w 357"/>
                  <a:gd name="T33" fmla="*/ 68 h 103"/>
                  <a:gd name="T34" fmla="*/ 0 w 357"/>
                  <a:gd name="T35" fmla="*/ 52 h 103"/>
                  <a:gd name="T36" fmla="*/ 2 w 357"/>
                  <a:gd name="T37" fmla="*/ 36 h 103"/>
                  <a:gd name="T38" fmla="*/ 10 w 357"/>
                  <a:gd name="T39" fmla="*/ 21 h 103"/>
                  <a:gd name="T40" fmla="*/ 21 w 357"/>
                  <a:gd name="T41" fmla="*/ 10 h 103"/>
                  <a:gd name="T42" fmla="*/ 35 w 357"/>
                  <a:gd name="T43" fmla="*/ 3 h 103"/>
                  <a:gd name="T44" fmla="*/ 50 w 357"/>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103">
                    <a:moveTo>
                      <a:pt x="50" y="0"/>
                    </a:moveTo>
                    <a:lnTo>
                      <a:pt x="305" y="0"/>
                    </a:lnTo>
                    <a:lnTo>
                      <a:pt x="322" y="3"/>
                    </a:lnTo>
                    <a:lnTo>
                      <a:pt x="336" y="10"/>
                    </a:lnTo>
                    <a:lnTo>
                      <a:pt x="347" y="21"/>
                    </a:lnTo>
                    <a:lnTo>
                      <a:pt x="355" y="36"/>
                    </a:lnTo>
                    <a:lnTo>
                      <a:pt x="357" y="52"/>
                    </a:lnTo>
                    <a:lnTo>
                      <a:pt x="355" y="68"/>
                    </a:lnTo>
                    <a:lnTo>
                      <a:pt x="347" y="82"/>
                    </a:lnTo>
                    <a:lnTo>
                      <a:pt x="336" y="93"/>
                    </a:lnTo>
                    <a:lnTo>
                      <a:pt x="322" y="101"/>
                    </a:lnTo>
                    <a:lnTo>
                      <a:pt x="305" y="103"/>
                    </a:lnTo>
                    <a:lnTo>
                      <a:pt x="50" y="103"/>
                    </a:lnTo>
                    <a:lnTo>
                      <a:pt x="35" y="101"/>
                    </a:lnTo>
                    <a:lnTo>
                      <a:pt x="21" y="93"/>
                    </a:lnTo>
                    <a:lnTo>
                      <a:pt x="10" y="82"/>
                    </a:lnTo>
                    <a:lnTo>
                      <a:pt x="2" y="68"/>
                    </a:lnTo>
                    <a:lnTo>
                      <a:pt x="0" y="52"/>
                    </a:lnTo>
                    <a:lnTo>
                      <a:pt x="2" y="36"/>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867" name="Freeform 375"/>
              <p:cNvSpPr>
                <a:spLocks/>
              </p:cNvSpPr>
              <p:nvPr/>
            </p:nvSpPr>
            <p:spPr bwMode="auto">
              <a:xfrm>
                <a:off x="10985459" y="6023586"/>
                <a:ext cx="44446" cy="17464"/>
              </a:xfrm>
              <a:custGeom>
                <a:avLst/>
                <a:gdLst>
                  <a:gd name="T0" fmla="*/ 53 w 281"/>
                  <a:gd name="T1" fmla="*/ 0 h 106"/>
                  <a:gd name="T2" fmla="*/ 228 w 281"/>
                  <a:gd name="T3" fmla="*/ 0 h 106"/>
                  <a:gd name="T4" fmla="*/ 246 w 281"/>
                  <a:gd name="T5" fmla="*/ 2 h 106"/>
                  <a:gd name="T6" fmla="*/ 260 w 281"/>
                  <a:gd name="T7" fmla="*/ 10 h 106"/>
                  <a:gd name="T8" fmla="*/ 271 w 281"/>
                  <a:gd name="T9" fmla="*/ 21 h 106"/>
                  <a:gd name="T10" fmla="*/ 279 w 281"/>
                  <a:gd name="T11" fmla="*/ 36 h 106"/>
                  <a:gd name="T12" fmla="*/ 281 w 281"/>
                  <a:gd name="T13" fmla="*/ 53 h 106"/>
                  <a:gd name="T14" fmla="*/ 279 w 281"/>
                  <a:gd name="T15" fmla="*/ 69 h 106"/>
                  <a:gd name="T16" fmla="*/ 271 w 281"/>
                  <a:gd name="T17" fmla="*/ 84 h 106"/>
                  <a:gd name="T18" fmla="*/ 260 w 281"/>
                  <a:gd name="T19" fmla="*/ 95 h 106"/>
                  <a:gd name="T20" fmla="*/ 246 w 281"/>
                  <a:gd name="T21" fmla="*/ 102 h 106"/>
                  <a:gd name="T22" fmla="*/ 228 w 281"/>
                  <a:gd name="T23" fmla="*/ 106 h 106"/>
                  <a:gd name="T24" fmla="*/ 53 w 281"/>
                  <a:gd name="T25" fmla="*/ 106 h 106"/>
                  <a:gd name="T26" fmla="*/ 37 w 281"/>
                  <a:gd name="T27" fmla="*/ 102 h 106"/>
                  <a:gd name="T28" fmla="*/ 21 w 281"/>
                  <a:gd name="T29" fmla="*/ 95 h 106"/>
                  <a:gd name="T30" fmla="*/ 10 w 281"/>
                  <a:gd name="T31" fmla="*/ 84 h 106"/>
                  <a:gd name="T32" fmla="*/ 2 w 281"/>
                  <a:gd name="T33" fmla="*/ 69 h 106"/>
                  <a:gd name="T34" fmla="*/ 0 w 281"/>
                  <a:gd name="T35" fmla="*/ 53 h 106"/>
                  <a:gd name="T36" fmla="*/ 2 w 281"/>
                  <a:gd name="T37" fmla="*/ 36 h 106"/>
                  <a:gd name="T38" fmla="*/ 10 w 281"/>
                  <a:gd name="T39" fmla="*/ 21 h 106"/>
                  <a:gd name="T40" fmla="*/ 21 w 281"/>
                  <a:gd name="T41" fmla="*/ 10 h 106"/>
                  <a:gd name="T42" fmla="*/ 37 w 281"/>
                  <a:gd name="T43" fmla="*/ 2 h 106"/>
                  <a:gd name="T44" fmla="*/ 53 w 28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06">
                    <a:moveTo>
                      <a:pt x="53" y="0"/>
                    </a:moveTo>
                    <a:lnTo>
                      <a:pt x="228" y="0"/>
                    </a:lnTo>
                    <a:lnTo>
                      <a:pt x="246" y="2"/>
                    </a:lnTo>
                    <a:lnTo>
                      <a:pt x="260" y="10"/>
                    </a:lnTo>
                    <a:lnTo>
                      <a:pt x="271" y="21"/>
                    </a:lnTo>
                    <a:lnTo>
                      <a:pt x="279" y="36"/>
                    </a:lnTo>
                    <a:lnTo>
                      <a:pt x="281" y="53"/>
                    </a:lnTo>
                    <a:lnTo>
                      <a:pt x="279" y="69"/>
                    </a:lnTo>
                    <a:lnTo>
                      <a:pt x="271" y="84"/>
                    </a:lnTo>
                    <a:lnTo>
                      <a:pt x="260" y="95"/>
                    </a:lnTo>
                    <a:lnTo>
                      <a:pt x="246" y="102"/>
                    </a:lnTo>
                    <a:lnTo>
                      <a:pt x="228" y="106"/>
                    </a:lnTo>
                    <a:lnTo>
                      <a:pt x="53" y="106"/>
                    </a:lnTo>
                    <a:lnTo>
                      <a:pt x="37" y="102"/>
                    </a:lnTo>
                    <a:lnTo>
                      <a:pt x="21" y="95"/>
                    </a:lnTo>
                    <a:lnTo>
                      <a:pt x="10" y="84"/>
                    </a:lnTo>
                    <a:lnTo>
                      <a:pt x="2" y="69"/>
                    </a:lnTo>
                    <a:lnTo>
                      <a:pt x="0" y="53"/>
                    </a:lnTo>
                    <a:lnTo>
                      <a:pt x="2" y="36"/>
                    </a:lnTo>
                    <a:lnTo>
                      <a:pt x="10" y="21"/>
                    </a:lnTo>
                    <a:lnTo>
                      <a:pt x="21" y="10"/>
                    </a:lnTo>
                    <a:lnTo>
                      <a:pt x="37" y="2"/>
                    </a:lnTo>
                    <a:lnTo>
                      <a:pt x="53" y="0"/>
                    </a:lnTo>
                    <a:close/>
                  </a:path>
                </a:pathLst>
              </a:custGeom>
              <a:solidFill>
                <a:schemeClr val="accent5"/>
              </a:solidFill>
              <a:ln>
                <a:noFill/>
              </a:ln>
            </p:spPr>
            <p:txBody>
              <a:bodyPr/>
              <a:lstStyle/>
              <a:p>
                <a:endParaRPr lang="de-DE" dirty="0"/>
              </a:p>
            </p:txBody>
          </p:sp>
          <p:sp>
            <p:nvSpPr>
              <p:cNvPr id="868" name="Freeform 376"/>
              <p:cNvSpPr>
                <a:spLocks/>
              </p:cNvSpPr>
              <p:nvPr/>
            </p:nvSpPr>
            <p:spPr bwMode="auto">
              <a:xfrm>
                <a:off x="11044191" y="6028349"/>
                <a:ext cx="44446" cy="17464"/>
              </a:xfrm>
              <a:custGeom>
                <a:avLst/>
                <a:gdLst>
                  <a:gd name="T0" fmla="*/ 53 w 284"/>
                  <a:gd name="T1" fmla="*/ 0 h 106"/>
                  <a:gd name="T2" fmla="*/ 231 w 284"/>
                  <a:gd name="T3" fmla="*/ 0 h 106"/>
                  <a:gd name="T4" fmla="*/ 248 w 284"/>
                  <a:gd name="T5" fmla="*/ 3 h 106"/>
                  <a:gd name="T6" fmla="*/ 262 w 284"/>
                  <a:gd name="T7" fmla="*/ 10 h 106"/>
                  <a:gd name="T8" fmla="*/ 273 w 284"/>
                  <a:gd name="T9" fmla="*/ 21 h 106"/>
                  <a:gd name="T10" fmla="*/ 281 w 284"/>
                  <a:gd name="T11" fmla="*/ 36 h 106"/>
                  <a:gd name="T12" fmla="*/ 284 w 284"/>
                  <a:gd name="T13" fmla="*/ 53 h 106"/>
                  <a:gd name="T14" fmla="*/ 281 w 284"/>
                  <a:gd name="T15" fmla="*/ 70 h 106"/>
                  <a:gd name="T16" fmla="*/ 273 w 284"/>
                  <a:gd name="T17" fmla="*/ 84 h 106"/>
                  <a:gd name="T18" fmla="*/ 262 w 284"/>
                  <a:gd name="T19" fmla="*/ 95 h 106"/>
                  <a:gd name="T20" fmla="*/ 248 w 284"/>
                  <a:gd name="T21" fmla="*/ 103 h 106"/>
                  <a:gd name="T22" fmla="*/ 231 w 284"/>
                  <a:gd name="T23" fmla="*/ 106 h 106"/>
                  <a:gd name="T24" fmla="*/ 53 w 284"/>
                  <a:gd name="T25" fmla="*/ 106 h 106"/>
                  <a:gd name="T26" fmla="*/ 36 w 284"/>
                  <a:gd name="T27" fmla="*/ 103 h 106"/>
                  <a:gd name="T28" fmla="*/ 21 w 284"/>
                  <a:gd name="T29" fmla="*/ 95 h 106"/>
                  <a:gd name="T30" fmla="*/ 10 w 284"/>
                  <a:gd name="T31" fmla="*/ 84 h 106"/>
                  <a:gd name="T32" fmla="*/ 2 w 284"/>
                  <a:gd name="T33" fmla="*/ 70 h 106"/>
                  <a:gd name="T34" fmla="*/ 0 w 284"/>
                  <a:gd name="T35" fmla="*/ 53 h 106"/>
                  <a:gd name="T36" fmla="*/ 2 w 284"/>
                  <a:gd name="T37" fmla="*/ 36 h 106"/>
                  <a:gd name="T38" fmla="*/ 10 w 284"/>
                  <a:gd name="T39" fmla="*/ 21 h 106"/>
                  <a:gd name="T40" fmla="*/ 21 w 284"/>
                  <a:gd name="T41" fmla="*/ 10 h 106"/>
                  <a:gd name="T42" fmla="*/ 36 w 284"/>
                  <a:gd name="T43" fmla="*/ 3 h 106"/>
                  <a:gd name="T44" fmla="*/ 53 w 284"/>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106">
                    <a:moveTo>
                      <a:pt x="53" y="0"/>
                    </a:moveTo>
                    <a:lnTo>
                      <a:pt x="231" y="0"/>
                    </a:lnTo>
                    <a:lnTo>
                      <a:pt x="248" y="3"/>
                    </a:lnTo>
                    <a:lnTo>
                      <a:pt x="262" y="10"/>
                    </a:lnTo>
                    <a:lnTo>
                      <a:pt x="273" y="21"/>
                    </a:lnTo>
                    <a:lnTo>
                      <a:pt x="281" y="36"/>
                    </a:lnTo>
                    <a:lnTo>
                      <a:pt x="284" y="53"/>
                    </a:lnTo>
                    <a:lnTo>
                      <a:pt x="281" y="70"/>
                    </a:lnTo>
                    <a:lnTo>
                      <a:pt x="273" y="84"/>
                    </a:lnTo>
                    <a:lnTo>
                      <a:pt x="262" y="95"/>
                    </a:lnTo>
                    <a:lnTo>
                      <a:pt x="248" y="103"/>
                    </a:lnTo>
                    <a:lnTo>
                      <a:pt x="231" y="106"/>
                    </a:lnTo>
                    <a:lnTo>
                      <a:pt x="53" y="106"/>
                    </a:lnTo>
                    <a:lnTo>
                      <a:pt x="36" y="103"/>
                    </a:lnTo>
                    <a:lnTo>
                      <a:pt x="21" y="95"/>
                    </a:lnTo>
                    <a:lnTo>
                      <a:pt x="10" y="84"/>
                    </a:lnTo>
                    <a:lnTo>
                      <a:pt x="2" y="70"/>
                    </a:lnTo>
                    <a:lnTo>
                      <a:pt x="0" y="53"/>
                    </a:lnTo>
                    <a:lnTo>
                      <a:pt x="2" y="36"/>
                    </a:lnTo>
                    <a:lnTo>
                      <a:pt x="10" y="21"/>
                    </a:lnTo>
                    <a:lnTo>
                      <a:pt x="21" y="10"/>
                    </a:lnTo>
                    <a:lnTo>
                      <a:pt x="36" y="3"/>
                    </a:lnTo>
                    <a:lnTo>
                      <a:pt x="53" y="0"/>
                    </a:lnTo>
                    <a:close/>
                  </a:path>
                </a:pathLst>
              </a:custGeom>
              <a:solidFill>
                <a:schemeClr val="accent5"/>
              </a:solidFill>
              <a:ln>
                <a:noFill/>
              </a:ln>
            </p:spPr>
            <p:txBody>
              <a:bodyPr/>
              <a:lstStyle/>
              <a:p>
                <a:endParaRPr lang="de-DE" dirty="0"/>
              </a:p>
            </p:txBody>
          </p:sp>
          <p:sp>
            <p:nvSpPr>
              <p:cNvPr id="869" name="Freeform 377"/>
              <p:cNvSpPr>
                <a:spLocks/>
              </p:cNvSpPr>
              <p:nvPr/>
            </p:nvSpPr>
            <p:spPr bwMode="auto">
              <a:xfrm>
                <a:off x="11112447" y="6028349"/>
                <a:ext cx="53970" cy="15877"/>
              </a:xfrm>
              <a:custGeom>
                <a:avLst/>
                <a:gdLst>
                  <a:gd name="T0" fmla="*/ 53 w 337"/>
                  <a:gd name="T1" fmla="*/ 0 h 106"/>
                  <a:gd name="T2" fmla="*/ 284 w 337"/>
                  <a:gd name="T3" fmla="*/ 0 h 106"/>
                  <a:gd name="T4" fmla="*/ 301 w 337"/>
                  <a:gd name="T5" fmla="*/ 2 h 106"/>
                  <a:gd name="T6" fmla="*/ 315 w 337"/>
                  <a:gd name="T7" fmla="*/ 10 h 106"/>
                  <a:gd name="T8" fmla="*/ 326 w 337"/>
                  <a:gd name="T9" fmla="*/ 22 h 106"/>
                  <a:gd name="T10" fmla="*/ 334 w 337"/>
                  <a:gd name="T11" fmla="*/ 37 h 106"/>
                  <a:gd name="T12" fmla="*/ 337 w 337"/>
                  <a:gd name="T13" fmla="*/ 53 h 106"/>
                  <a:gd name="T14" fmla="*/ 334 w 337"/>
                  <a:gd name="T15" fmla="*/ 70 h 106"/>
                  <a:gd name="T16" fmla="*/ 326 w 337"/>
                  <a:gd name="T17" fmla="*/ 84 h 106"/>
                  <a:gd name="T18" fmla="*/ 315 w 337"/>
                  <a:gd name="T19" fmla="*/ 96 h 106"/>
                  <a:gd name="T20" fmla="*/ 301 w 337"/>
                  <a:gd name="T21" fmla="*/ 103 h 106"/>
                  <a:gd name="T22" fmla="*/ 284 w 337"/>
                  <a:gd name="T23" fmla="*/ 106 h 106"/>
                  <a:gd name="T24" fmla="*/ 53 w 337"/>
                  <a:gd name="T25" fmla="*/ 106 h 106"/>
                  <a:gd name="T26" fmla="*/ 36 w 337"/>
                  <a:gd name="T27" fmla="*/ 103 h 106"/>
                  <a:gd name="T28" fmla="*/ 21 w 337"/>
                  <a:gd name="T29" fmla="*/ 96 h 106"/>
                  <a:gd name="T30" fmla="*/ 10 w 337"/>
                  <a:gd name="T31" fmla="*/ 84 h 106"/>
                  <a:gd name="T32" fmla="*/ 2 w 337"/>
                  <a:gd name="T33" fmla="*/ 70 h 106"/>
                  <a:gd name="T34" fmla="*/ 0 w 337"/>
                  <a:gd name="T35" fmla="*/ 53 h 106"/>
                  <a:gd name="T36" fmla="*/ 2 w 337"/>
                  <a:gd name="T37" fmla="*/ 37 h 106"/>
                  <a:gd name="T38" fmla="*/ 10 w 337"/>
                  <a:gd name="T39" fmla="*/ 22 h 106"/>
                  <a:gd name="T40" fmla="*/ 21 w 337"/>
                  <a:gd name="T41" fmla="*/ 10 h 106"/>
                  <a:gd name="T42" fmla="*/ 36 w 337"/>
                  <a:gd name="T43" fmla="*/ 2 h 106"/>
                  <a:gd name="T44" fmla="*/ 53 w 337"/>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7" h="106">
                    <a:moveTo>
                      <a:pt x="53" y="0"/>
                    </a:moveTo>
                    <a:lnTo>
                      <a:pt x="284" y="0"/>
                    </a:lnTo>
                    <a:lnTo>
                      <a:pt x="301" y="2"/>
                    </a:lnTo>
                    <a:lnTo>
                      <a:pt x="315" y="10"/>
                    </a:lnTo>
                    <a:lnTo>
                      <a:pt x="326" y="22"/>
                    </a:lnTo>
                    <a:lnTo>
                      <a:pt x="334" y="37"/>
                    </a:lnTo>
                    <a:lnTo>
                      <a:pt x="337" y="53"/>
                    </a:lnTo>
                    <a:lnTo>
                      <a:pt x="334" y="70"/>
                    </a:lnTo>
                    <a:lnTo>
                      <a:pt x="326" y="84"/>
                    </a:lnTo>
                    <a:lnTo>
                      <a:pt x="315" y="96"/>
                    </a:lnTo>
                    <a:lnTo>
                      <a:pt x="301" y="103"/>
                    </a:lnTo>
                    <a:lnTo>
                      <a:pt x="284" y="106"/>
                    </a:lnTo>
                    <a:lnTo>
                      <a:pt x="53" y="106"/>
                    </a:lnTo>
                    <a:lnTo>
                      <a:pt x="36" y="103"/>
                    </a:lnTo>
                    <a:lnTo>
                      <a:pt x="21" y="96"/>
                    </a:lnTo>
                    <a:lnTo>
                      <a:pt x="10" y="84"/>
                    </a:lnTo>
                    <a:lnTo>
                      <a:pt x="2" y="70"/>
                    </a:lnTo>
                    <a:lnTo>
                      <a:pt x="0" y="53"/>
                    </a:lnTo>
                    <a:lnTo>
                      <a:pt x="2" y="37"/>
                    </a:lnTo>
                    <a:lnTo>
                      <a:pt x="10" y="22"/>
                    </a:lnTo>
                    <a:lnTo>
                      <a:pt x="21" y="10"/>
                    </a:lnTo>
                    <a:lnTo>
                      <a:pt x="36" y="2"/>
                    </a:lnTo>
                    <a:lnTo>
                      <a:pt x="53" y="0"/>
                    </a:lnTo>
                    <a:close/>
                  </a:path>
                </a:pathLst>
              </a:custGeom>
              <a:solidFill>
                <a:schemeClr val="accent5"/>
              </a:solidFill>
              <a:ln>
                <a:noFill/>
              </a:ln>
            </p:spPr>
            <p:txBody>
              <a:bodyPr/>
              <a:lstStyle/>
              <a:p>
                <a:endParaRPr lang="de-DE" dirty="0"/>
              </a:p>
            </p:txBody>
          </p:sp>
          <p:sp>
            <p:nvSpPr>
              <p:cNvPr id="870" name="Freeform 378"/>
              <p:cNvSpPr>
                <a:spLocks/>
              </p:cNvSpPr>
              <p:nvPr/>
            </p:nvSpPr>
            <p:spPr bwMode="auto">
              <a:xfrm>
                <a:off x="11179115" y="6026761"/>
                <a:ext cx="52382" cy="17464"/>
              </a:xfrm>
              <a:custGeom>
                <a:avLst/>
                <a:gdLst>
                  <a:gd name="T0" fmla="*/ 53 w 329"/>
                  <a:gd name="T1" fmla="*/ 0 h 106"/>
                  <a:gd name="T2" fmla="*/ 277 w 329"/>
                  <a:gd name="T3" fmla="*/ 0 h 106"/>
                  <a:gd name="T4" fmla="*/ 294 w 329"/>
                  <a:gd name="T5" fmla="*/ 3 h 106"/>
                  <a:gd name="T6" fmla="*/ 308 w 329"/>
                  <a:gd name="T7" fmla="*/ 10 h 106"/>
                  <a:gd name="T8" fmla="*/ 319 w 329"/>
                  <a:gd name="T9" fmla="*/ 22 h 106"/>
                  <a:gd name="T10" fmla="*/ 327 w 329"/>
                  <a:gd name="T11" fmla="*/ 36 h 106"/>
                  <a:gd name="T12" fmla="*/ 329 w 329"/>
                  <a:gd name="T13" fmla="*/ 53 h 106"/>
                  <a:gd name="T14" fmla="*/ 327 w 329"/>
                  <a:gd name="T15" fmla="*/ 69 h 106"/>
                  <a:gd name="T16" fmla="*/ 319 w 329"/>
                  <a:gd name="T17" fmla="*/ 84 h 106"/>
                  <a:gd name="T18" fmla="*/ 308 w 329"/>
                  <a:gd name="T19" fmla="*/ 96 h 106"/>
                  <a:gd name="T20" fmla="*/ 294 w 329"/>
                  <a:gd name="T21" fmla="*/ 104 h 106"/>
                  <a:gd name="T22" fmla="*/ 277 w 329"/>
                  <a:gd name="T23" fmla="*/ 106 h 106"/>
                  <a:gd name="T24" fmla="*/ 53 w 329"/>
                  <a:gd name="T25" fmla="*/ 106 h 106"/>
                  <a:gd name="T26" fmla="*/ 36 w 329"/>
                  <a:gd name="T27" fmla="*/ 104 h 106"/>
                  <a:gd name="T28" fmla="*/ 22 w 329"/>
                  <a:gd name="T29" fmla="*/ 96 h 106"/>
                  <a:gd name="T30" fmla="*/ 11 w 329"/>
                  <a:gd name="T31" fmla="*/ 84 h 106"/>
                  <a:gd name="T32" fmla="*/ 3 w 329"/>
                  <a:gd name="T33" fmla="*/ 69 h 106"/>
                  <a:gd name="T34" fmla="*/ 0 w 329"/>
                  <a:gd name="T35" fmla="*/ 53 h 106"/>
                  <a:gd name="T36" fmla="*/ 3 w 329"/>
                  <a:gd name="T37" fmla="*/ 36 h 106"/>
                  <a:gd name="T38" fmla="*/ 11 w 329"/>
                  <a:gd name="T39" fmla="*/ 22 h 106"/>
                  <a:gd name="T40" fmla="*/ 22 w 329"/>
                  <a:gd name="T41" fmla="*/ 10 h 106"/>
                  <a:gd name="T42" fmla="*/ 36 w 329"/>
                  <a:gd name="T43" fmla="*/ 3 h 106"/>
                  <a:gd name="T44" fmla="*/ 53 w 32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106">
                    <a:moveTo>
                      <a:pt x="53" y="0"/>
                    </a:moveTo>
                    <a:lnTo>
                      <a:pt x="277" y="0"/>
                    </a:lnTo>
                    <a:lnTo>
                      <a:pt x="294" y="3"/>
                    </a:lnTo>
                    <a:lnTo>
                      <a:pt x="308" y="10"/>
                    </a:lnTo>
                    <a:lnTo>
                      <a:pt x="319" y="22"/>
                    </a:lnTo>
                    <a:lnTo>
                      <a:pt x="327" y="36"/>
                    </a:lnTo>
                    <a:lnTo>
                      <a:pt x="329" y="53"/>
                    </a:lnTo>
                    <a:lnTo>
                      <a:pt x="327" y="69"/>
                    </a:lnTo>
                    <a:lnTo>
                      <a:pt x="319" y="84"/>
                    </a:lnTo>
                    <a:lnTo>
                      <a:pt x="308" y="96"/>
                    </a:lnTo>
                    <a:lnTo>
                      <a:pt x="294" y="104"/>
                    </a:lnTo>
                    <a:lnTo>
                      <a:pt x="277" y="106"/>
                    </a:lnTo>
                    <a:lnTo>
                      <a:pt x="53" y="106"/>
                    </a:lnTo>
                    <a:lnTo>
                      <a:pt x="36" y="104"/>
                    </a:lnTo>
                    <a:lnTo>
                      <a:pt x="22" y="96"/>
                    </a:lnTo>
                    <a:lnTo>
                      <a:pt x="11" y="84"/>
                    </a:lnTo>
                    <a:lnTo>
                      <a:pt x="3" y="69"/>
                    </a:lnTo>
                    <a:lnTo>
                      <a:pt x="0" y="53"/>
                    </a:lnTo>
                    <a:lnTo>
                      <a:pt x="3" y="36"/>
                    </a:lnTo>
                    <a:lnTo>
                      <a:pt x="11" y="22"/>
                    </a:lnTo>
                    <a:lnTo>
                      <a:pt x="22" y="10"/>
                    </a:lnTo>
                    <a:lnTo>
                      <a:pt x="36" y="3"/>
                    </a:lnTo>
                    <a:lnTo>
                      <a:pt x="53" y="0"/>
                    </a:lnTo>
                    <a:close/>
                  </a:path>
                </a:pathLst>
              </a:custGeom>
              <a:solidFill>
                <a:schemeClr val="accent5"/>
              </a:solidFill>
              <a:ln>
                <a:noFill/>
              </a:ln>
            </p:spPr>
            <p:txBody>
              <a:bodyPr/>
              <a:lstStyle/>
              <a:p>
                <a:endParaRPr lang="de-DE" dirty="0"/>
              </a:p>
            </p:txBody>
          </p:sp>
          <p:sp>
            <p:nvSpPr>
              <p:cNvPr id="871" name="Freeform 379"/>
              <p:cNvSpPr>
                <a:spLocks/>
              </p:cNvSpPr>
              <p:nvPr/>
            </p:nvSpPr>
            <p:spPr bwMode="auto">
              <a:xfrm>
                <a:off x="11248958" y="6028349"/>
                <a:ext cx="44446" cy="15877"/>
              </a:xfrm>
              <a:custGeom>
                <a:avLst/>
                <a:gdLst>
                  <a:gd name="T0" fmla="*/ 53 w 288"/>
                  <a:gd name="T1" fmla="*/ 0 h 106"/>
                  <a:gd name="T2" fmla="*/ 235 w 288"/>
                  <a:gd name="T3" fmla="*/ 0 h 106"/>
                  <a:gd name="T4" fmla="*/ 252 w 288"/>
                  <a:gd name="T5" fmla="*/ 3 h 106"/>
                  <a:gd name="T6" fmla="*/ 267 w 288"/>
                  <a:gd name="T7" fmla="*/ 10 h 106"/>
                  <a:gd name="T8" fmla="*/ 278 w 288"/>
                  <a:gd name="T9" fmla="*/ 22 h 106"/>
                  <a:gd name="T10" fmla="*/ 286 w 288"/>
                  <a:gd name="T11" fmla="*/ 36 h 106"/>
                  <a:gd name="T12" fmla="*/ 288 w 288"/>
                  <a:gd name="T13" fmla="*/ 53 h 106"/>
                  <a:gd name="T14" fmla="*/ 286 w 288"/>
                  <a:gd name="T15" fmla="*/ 70 h 106"/>
                  <a:gd name="T16" fmla="*/ 278 w 288"/>
                  <a:gd name="T17" fmla="*/ 84 h 106"/>
                  <a:gd name="T18" fmla="*/ 267 w 288"/>
                  <a:gd name="T19" fmla="*/ 96 h 106"/>
                  <a:gd name="T20" fmla="*/ 252 w 288"/>
                  <a:gd name="T21" fmla="*/ 104 h 106"/>
                  <a:gd name="T22" fmla="*/ 235 w 288"/>
                  <a:gd name="T23" fmla="*/ 106 h 106"/>
                  <a:gd name="T24" fmla="*/ 53 w 288"/>
                  <a:gd name="T25" fmla="*/ 106 h 106"/>
                  <a:gd name="T26" fmla="*/ 35 w 288"/>
                  <a:gd name="T27" fmla="*/ 104 h 106"/>
                  <a:gd name="T28" fmla="*/ 21 w 288"/>
                  <a:gd name="T29" fmla="*/ 96 h 106"/>
                  <a:gd name="T30" fmla="*/ 10 w 288"/>
                  <a:gd name="T31" fmla="*/ 84 h 106"/>
                  <a:gd name="T32" fmla="*/ 2 w 288"/>
                  <a:gd name="T33" fmla="*/ 70 h 106"/>
                  <a:gd name="T34" fmla="*/ 0 w 288"/>
                  <a:gd name="T35" fmla="*/ 53 h 106"/>
                  <a:gd name="T36" fmla="*/ 2 w 288"/>
                  <a:gd name="T37" fmla="*/ 36 h 106"/>
                  <a:gd name="T38" fmla="*/ 10 w 288"/>
                  <a:gd name="T39" fmla="*/ 22 h 106"/>
                  <a:gd name="T40" fmla="*/ 21 w 288"/>
                  <a:gd name="T41" fmla="*/ 10 h 106"/>
                  <a:gd name="T42" fmla="*/ 35 w 288"/>
                  <a:gd name="T43" fmla="*/ 3 h 106"/>
                  <a:gd name="T44" fmla="*/ 53 w 288"/>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6">
                    <a:moveTo>
                      <a:pt x="53" y="0"/>
                    </a:moveTo>
                    <a:lnTo>
                      <a:pt x="235" y="0"/>
                    </a:lnTo>
                    <a:lnTo>
                      <a:pt x="252" y="3"/>
                    </a:lnTo>
                    <a:lnTo>
                      <a:pt x="267" y="10"/>
                    </a:lnTo>
                    <a:lnTo>
                      <a:pt x="278" y="22"/>
                    </a:lnTo>
                    <a:lnTo>
                      <a:pt x="286" y="36"/>
                    </a:lnTo>
                    <a:lnTo>
                      <a:pt x="288" y="53"/>
                    </a:lnTo>
                    <a:lnTo>
                      <a:pt x="286" y="70"/>
                    </a:lnTo>
                    <a:lnTo>
                      <a:pt x="278" y="84"/>
                    </a:lnTo>
                    <a:lnTo>
                      <a:pt x="267" y="96"/>
                    </a:lnTo>
                    <a:lnTo>
                      <a:pt x="252" y="104"/>
                    </a:lnTo>
                    <a:lnTo>
                      <a:pt x="235" y="106"/>
                    </a:lnTo>
                    <a:lnTo>
                      <a:pt x="53" y="106"/>
                    </a:lnTo>
                    <a:lnTo>
                      <a:pt x="35" y="104"/>
                    </a:lnTo>
                    <a:lnTo>
                      <a:pt x="21" y="96"/>
                    </a:lnTo>
                    <a:lnTo>
                      <a:pt x="10" y="84"/>
                    </a:lnTo>
                    <a:lnTo>
                      <a:pt x="2" y="70"/>
                    </a:lnTo>
                    <a:lnTo>
                      <a:pt x="0" y="53"/>
                    </a:lnTo>
                    <a:lnTo>
                      <a:pt x="2" y="36"/>
                    </a:lnTo>
                    <a:lnTo>
                      <a:pt x="10" y="22"/>
                    </a:lnTo>
                    <a:lnTo>
                      <a:pt x="21" y="10"/>
                    </a:lnTo>
                    <a:lnTo>
                      <a:pt x="35" y="3"/>
                    </a:lnTo>
                    <a:lnTo>
                      <a:pt x="53" y="0"/>
                    </a:lnTo>
                    <a:close/>
                  </a:path>
                </a:pathLst>
              </a:custGeom>
              <a:solidFill>
                <a:schemeClr val="accent5"/>
              </a:solidFill>
              <a:ln>
                <a:noFill/>
              </a:ln>
            </p:spPr>
            <p:txBody>
              <a:bodyPr/>
              <a:lstStyle/>
              <a:p>
                <a:endParaRPr lang="de-DE" dirty="0"/>
              </a:p>
            </p:txBody>
          </p:sp>
          <p:sp>
            <p:nvSpPr>
              <p:cNvPr id="872" name="Freeform 380"/>
              <p:cNvSpPr>
                <a:spLocks/>
              </p:cNvSpPr>
              <p:nvPr/>
            </p:nvSpPr>
            <p:spPr bwMode="auto">
              <a:xfrm>
                <a:off x="11315627" y="6025173"/>
                <a:ext cx="53970" cy="17464"/>
              </a:xfrm>
              <a:custGeom>
                <a:avLst/>
                <a:gdLst>
                  <a:gd name="T0" fmla="*/ 53 w 343"/>
                  <a:gd name="T1" fmla="*/ 0 h 105"/>
                  <a:gd name="T2" fmla="*/ 291 w 343"/>
                  <a:gd name="T3" fmla="*/ 0 h 105"/>
                  <a:gd name="T4" fmla="*/ 308 w 343"/>
                  <a:gd name="T5" fmla="*/ 2 h 105"/>
                  <a:gd name="T6" fmla="*/ 322 w 343"/>
                  <a:gd name="T7" fmla="*/ 10 h 105"/>
                  <a:gd name="T8" fmla="*/ 333 w 343"/>
                  <a:gd name="T9" fmla="*/ 21 h 105"/>
                  <a:gd name="T10" fmla="*/ 341 w 343"/>
                  <a:gd name="T11" fmla="*/ 35 h 105"/>
                  <a:gd name="T12" fmla="*/ 343 w 343"/>
                  <a:gd name="T13" fmla="*/ 53 h 105"/>
                  <a:gd name="T14" fmla="*/ 341 w 343"/>
                  <a:gd name="T15" fmla="*/ 70 h 105"/>
                  <a:gd name="T16" fmla="*/ 333 w 343"/>
                  <a:gd name="T17" fmla="*/ 84 h 105"/>
                  <a:gd name="T18" fmla="*/ 322 w 343"/>
                  <a:gd name="T19" fmla="*/ 95 h 105"/>
                  <a:gd name="T20" fmla="*/ 308 w 343"/>
                  <a:gd name="T21" fmla="*/ 103 h 105"/>
                  <a:gd name="T22" fmla="*/ 291 w 343"/>
                  <a:gd name="T23" fmla="*/ 105 h 105"/>
                  <a:gd name="T24" fmla="*/ 53 w 343"/>
                  <a:gd name="T25" fmla="*/ 105 h 105"/>
                  <a:gd name="T26" fmla="*/ 37 w 343"/>
                  <a:gd name="T27" fmla="*/ 103 h 105"/>
                  <a:gd name="T28" fmla="*/ 22 w 343"/>
                  <a:gd name="T29" fmla="*/ 95 h 105"/>
                  <a:gd name="T30" fmla="*/ 10 w 343"/>
                  <a:gd name="T31" fmla="*/ 84 h 105"/>
                  <a:gd name="T32" fmla="*/ 3 w 343"/>
                  <a:gd name="T33" fmla="*/ 70 h 105"/>
                  <a:gd name="T34" fmla="*/ 0 w 343"/>
                  <a:gd name="T35" fmla="*/ 53 h 105"/>
                  <a:gd name="T36" fmla="*/ 3 w 343"/>
                  <a:gd name="T37" fmla="*/ 35 h 105"/>
                  <a:gd name="T38" fmla="*/ 10 w 343"/>
                  <a:gd name="T39" fmla="*/ 21 h 105"/>
                  <a:gd name="T40" fmla="*/ 22 w 343"/>
                  <a:gd name="T41" fmla="*/ 10 h 105"/>
                  <a:gd name="T42" fmla="*/ 37 w 343"/>
                  <a:gd name="T43" fmla="*/ 2 h 105"/>
                  <a:gd name="T44" fmla="*/ 53 w 343"/>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 h="105">
                    <a:moveTo>
                      <a:pt x="53" y="0"/>
                    </a:moveTo>
                    <a:lnTo>
                      <a:pt x="291" y="0"/>
                    </a:lnTo>
                    <a:lnTo>
                      <a:pt x="308" y="2"/>
                    </a:lnTo>
                    <a:lnTo>
                      <a:pt x="322" y="10"/>
                    </a:lnTo>
                    <a:lnTo>
                      <a:pt x="333" y="21"/>
                    </a:lnTo>
                    <a:lnTo>
                      <a:pt x="341" y="35"/>
                    </a:lnTo>
                    <a:lnTo>
                      <a:pt x="343" y="53"/>
                    </a:lnTo>
                    <a:lnTo>
                      <a:pt x="341" y="70"/>
                    </a:lnTo>
                    <a:lnTo>
                      <a:pt x="333" y="84"/>
                    </a:lnTo>
                    <a:lnTo>
                      <a:pt x="322" y="95"/>
                    </a:lnTo>
                    <a:lnTo>
                      <a:pt x="308" y="103"/>
                    </a:lnTo>
                    <a:lnTo>
                      <a:pt x="291" y="105"/>
                    </a:lnTo>
                    <a:lnTo>
                      <a:pt x="53" y="105"/>
                    </a:lnTo>
                    <a:lnTo>
                      <a:pt x="37" y="103"/>
                    </a:lnTo>
                    <a:lnTo>
                      <a:pt x="22" y="95"/>
                    </a:lnTo>
                    <a:lnTo>
                      <a:pt x="10" y="84"/>
                    </a:lnTo>
                    <a:lnTo>
                      <a:pt x="3" y="70"/>
                    </a:lnTo>
                    <a:lnTo>
                      <a:pt x="0" y="53"/>
                    </a:lnTo>
                    <a:lnTo>
                      <a:pt x="3" y="35"/>
                    </a:lnTo>
                    <a:lnTo>
                      <a:pt x="10" y="21"/>
                    </a:lnTo>
                    <a:lnTo>
                      <a:pt x="22" y="10"/>
                    </a:lnTo>
                    <a:lnTo>
                      <a:pt x="37" y="2"/>
                    </a:lnTo>
                    <a:lnTo>
                      <a:pt x="53" y="0"/>
                    </a:lnTo>
                    <a:close/>
                  </a:path>
                </a:pathLst>
              </a:custGeom>
              <a:solidFill>
                <a:schemeClr val="accent5"/>
              </a:solidFill>
              <a:ln>
                <a:noFill/>
              </a:ln>
            </p:spPr>
            <p:txBody>
              <a:bodyPr/>
              <a:lstStyle/>
              <a:p>
                <a:endParaRPr lang="de-DE" dirty="0"/>
              </a:p>
            </p:txBody>
          </p:sp>
          <p:sp>
            <p:nvSpPr>
              <p:cNvPr id="873" name="Freeform 381"/>
              <p:cNvSpPr>
                <a:spLocks/>
              </p:cNvSpPr>
              <p:nvPr/>
            </p:nvSpPr>
            <p:spPr bwMode="auto">
              <a:xfrm>
                <a:off x="11382295" y="6025173"/>
                <a:ext cx="57144" cy="17464"/>
              </a:xfrm>
              <a:custGeom>
                <a:avLst/>
                <a:gdLst>
                  <a:gd name="T0" fmla="*/ 53 w 361"/>
                  <a:gd name="T1" fmla="*/ 0 h 106"/>
                  <a:gd name="T2" fmla="*/ 308 w 361"/>
                  <a:gd name="T3" fmla="*/ 0 h 106"/>
                  <a:gd name="T4" fmla="*/ 324 w 361"/>
                  <a:gd name="T5" fmla="*/ 3 h 106"/>
                  <a:gd name="T6" fmla="*/ 339 w 361"/>
                  <a:gd name="T7" fmla="*/ 11 h 106"/>
                  <a:gd name="T8" fmla="*/ 351 w 361"/>
                  <a:gd name="T9" fmla="*/ 22 h 106"/>
                  <a:gd name="T10" fmla="*/ 359 w 361"/>
                  <a:gd name="T11" fmla="*/ 36 h 106"/>
                  <a:gd name="T12" fmla="*/ 361 w 361"/>
                  <a:gd name="T13" fmla="*/ 53 h 106"/>
                  <a:gd name="T14" fmla="*/ 359 w 361"/>
                  <a:gd name="T15" fmla="*/ 69 h 106"/>
                  <a:gd name="T16" fmla="*/ 351 w 361"/>
                  <a:gd name="T17" fmla="*/ 85 h 106"/>
                  <a:gd name="T18" fmla="*/ 339 w 361"/>
                  <a:gd name="T19" fmla="*/ 96 h 106"/>
                  <a:gd name="T20" fmla="*/ 324 w 361"/>
                  <a:gd name="T21" fmla="*/ 104 h 106"/>
                  <a:gd name="T22" fmla="*/ 308 w 361"/>
                  <a:gd name="T23" fmla="*/ 106 h 106"/>
                  <a:gd name="T24" fmla="*/ 53 w 361"/>
                  <a:gd name="T25" fmla="*/ 106 h 106"/>
                  <a:gd name="T26" fmla="*/ 37 w 361"/>
                  <a:gd name="T27" fmla="*/ 104 h 106"/>
                  <a:gd name="T28" fmla="*/ 22 w 361"/>
                  <a:gd name="T29" fmla="*/ 96 h 106"/>
                  <a:gd name="T30" fmla="*/ 10 w 361"/>
                  <a:gd name="T31" fmla="*/ 85 h 106"/>
                  <a:gd name="T32" fmla="*/ 2 w 361"/>
                  <a:gd name="T33" fmla="*/ 69 h 106"/>
                  <a:gd name="T34" fmla="*/ 0 w 361"/>
                  <a:gd name="T35" fmla="*/ 53 h 106"/>
                  <a:gd name="T36" fmla="*/ 2 w 361"/>
                  <a:gd name="T37" fmla="*/ 36 h 106"/>
                  <a:gd name="T38" fmla="*/ 10 w 361"/>
                  <a:gd name="T39" fmla="*/ 22 h 106"/>
                  <a:gd name="T40" fmla="*/ 22 w 361"/>
                  <a:gd name="T41" fmla="*/ 11 h 106"/>
                  <a:gd name="T42" fmla="*/ 37 w 361"/>
                  <a:gd name="T43" fmla="*/ 3 h 106"/>
                  <a:gd name="T44" fmla="*/ 53 w 36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1" h="106">
                    <a:moveTo>
                      <a:pt x="53" y="0"/>
                    </a:moveTo>
                    <a:lnTo>
                      <a:pt x="308" y="0"/>
                    </a:lnTo>
                    <a:lnTo>
                      <a:pt x="324" y="3"/>
                    </a:lnTo>
                    <a:lnTo>
                      <a:pt x="339" y="11"/>
                    </a:lnTo>
                    <a:lnTo>
                      <a:pt x="351" y="22"/>
                    </a:lnTo>
                    <a:lnTo>
                      <a:pt x="359" y="36"/>
                    </a:lnTo>
                    <a:lnTo>
                      <a:pt x="361" y="53"/>
                    </a:lnTo>
                    <a:lnTo>
                      <a:pt x="359" y="69"/>
                    </a:lnTo>
                    <a:lnTo>
                      <a:pt x="351" y="85"/>
                    </a:lnTo>
                    <a:lnTo>
                      <a:pt x="339" y="96"/>
                    </a:lnTo>
                    <a:lnTo>
                      <a:pt x="324" y="104"/>
                    </a:lnTo>
                    <a:lnTo>
                      <a:pt x="308" y="106"/>
                    </a:lnTo>
                    <a:lnTo>
                      <a:pt x="53" y="106"/>
                    </a:lnTo>
                    <a:lnTo>
                      <a:pt x="37" y="104"/>
                    </a:lnTo>
                    <a:lnTo>
                      <a:pt x="22" y="96"/>
                    </a:lnTo>
                    <a:lnTo>
                      <a:pt x="10" y="85"/>
                    </a:lnTo>
                    <a:lnTo>
                      <a:pt x="2" y="69"/>
                    </a:lnTo>
                    <a:lnTo>
                      <a:pt x="0" y="53"/>
                    </a:lnTo>
                    <a:lnTo>
                      <a:pt x="2" y="36"/>
                    </a:lnTo>
                    <a:lnTo>
                      <a:pt x="10" y="22"/>
                    </a:lnTo>
                    <a:lnTo>
                      <a:pt x="22" y="11"/>
                    </a:lnTo>
                    <a:lnTo>
                      <a:pt x="37" y="3"/>
                    </a:lnTo>
                    <a:lnTo>
                      <a:pt x="53" y="0"/>
                    </a:lnTo>
                    <a:close/>
                  </a:path>
                </a:pathLst>
              </a:custGeom>
              <a:solidFill>
                <a:schemeClr val="accent5"/>
              </a:solidFill>
              <a:ln>
                <a:noFill/>
              </a:ln>
            </p:spPr>
            <p:txBody>
              <a:bodyPr/>
              <a:lstStyle/>
              <a:p>
                <a:endParaRPr lang="de-DE" dirty="0"/>
              </a:p>
            </p:txBody>
          </p:sp>
          <p:sp>
            <p:nvSpPr>
              <p:cNvPr id="874" name="Freeform 382"/>
              <p:cNvSpPr>
                <a:spLocks/>
              </p:cNvSpPr>
              <p:nvPr/>
            </p:nvSpPr>
            <p:spPr bwMode="auto">
              <a:xfrm>
                <a:off x="10967999"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875" name="Freeform 383"/>
              <p:cNvSpPr>
                <a:spLocks/>
              </p:cNvSpPr>
              <p:nvPr/>
            </p:nvSpPr>
            <p:spPr bwMode="auto">
              <a:xfrm>
                <a:off x="10982285"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876" name="Freeform 384"/>
              <p:cNvSpPr>
                <a:spLocks/>
              </p:cNvSpPr>
              <p:nvPr/>
            </p:nvSpPr>
            <p:spPr bwMode="auto">
              <a:xfrm>
                <a:off x="10996571" y="5680647"/>
                <a:ext cx="4762" cy="4763"/>
              </a:xfrm>
              <a:custGeom>
                <a:avLst/>
                <a:gdLst>
                  <a:gd name="T0" fmla="*/ 14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4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0"/>
                    </a:lnTo>
                    <a:lnTo>
                      <a:pt x="30" y="16"/>
                    </a:lnTo>
                    <a:lnTo>
                      <a:pt x="29" y="20"/>
                    </a:lnTo>
                    <a:lnTo>
                      <a:pt x="27" y="25"/>
                    </a:lnTo>
                    <a:lnTo>
                      <a:pt x="23" y="28"/>
                    </a:lnTo>
                    <a:lnTo>
                      <a:pt x="19" y="29"/>
                    </a:lnTo>
                    <a:lnTo>
                      <a:pt x="14" y="30"/>
                    </a:lnTo>
                    <a:lnTo>
                      <a:pt x="10" y="29"/>
                    </a:lnTo>
                    <a:lnTo>
                      <a:pt x="6" y="28"/>
                    </a:lnTo>
                    <a:lnTo>
                      <a:pt x="2" y="25"/>
                    </a:lnTo>
                    <a:lnTo>
                      <a:pt x="0" y="20"/>
                    </a:lnTo>
                    <a:lnTo>
                      <a:pt x="0" y="16"/>
                    </a:lnTo>
                    <a:lnTo>
                      <a:pt x="0" y="10"/>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877" name="Freeform 385"/>
              <p:cNvSpPr>
                <a:spLocks/>
              </p:cNvSpPr>
              <p:nvPr/>
            </p:nvSpPr>
            <p:spPr bwMode="auto">
              <a:xfrm>
                <a:off x="11010857" y="5680647"/>
                <a:ext cx="4762" cy="4763"/>
              </a:xfrm>
              <a:custGeom>
                <a:avLst/>
                <a:gdLst>
                  <a:gd name="T0" fmla="*/ 15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0"/>
                    </a:lnTo>
                    <a:lnTo>
                      <a:pt x="30" y="16"/>
                    </a:lnTo>
                    <a:lnTo>
                      <a:pt x="29" y="20"/>
                    </a:lnTo>
                    <a:lnTo>
                      <a:pt x="27" y="25"/>
                    </a:lnTo>
                    <a:lnTo>
                      <a:pt x="24" y="28"/>
                    </a:lnTo>
                    <a:lnTo>
                      <a:pt x="20"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878" name="Freeform 386"/>
              <p:cNvSpPr>
                <a:spLocks/>
              </p:cNvSpPr>
              <p:nvPr/>
            </p:nvSpPr>
            <p:spPr bwMode="auto">
              <a:xfrm>
                <a:off x="11023556"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879" name="Freeform 387"/>
              <p:cNvSpPr>
                <a:spLocks/>
              </p:cNvSpPr>
              <p:nvPr/>
            </p:nvSpPr>
            <p:spPr bwMode="auto">
              <a:xfrm>
                <a:off x="11037842"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880" name="Freeform 388"/>
              <p:cNvSpPr>
                <a:spLocks/>
              </p:cNvSpPr>
              <p:nvPr/>
            </p:nvSpPr>
            <p:spPr bwMode="auto">
              <a:xfrm>
                <a:off x="11052128"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881" name="Freeform 389"/>
              <p:cNvSpPr>
                <a:spLocks/>
              </p:cNvSpPr>
              <p:nvPr/>
            </p:nvSpPr>
            <p:spPr bwMode="auto">
              <a:xfrm>
                <a:off x="11066414" y="5680647"/>
                <a:ext cx="4762" cy="4763"/>
              </a:xfrm>
              <a:custGeom>
                <a:avLst/>
                <a:gdLst>
                  <a:gd name="T0" fmla="*/ 15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0"/>
                    </a:lnTo>
                    <a:lnTo>
                      <a:pt x="30"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882" name="Freeform 390"/>
              <p:cNvSpPr>
                <a:spLocks/>
              </p:cNvSpPr>
              <p:nvPr/>
            </p:nvSpPr>
            <p:spPr bwMode="auto">
              <a:xfrm>
                <a:off x="11079113"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883" name="Freeform 391"/>
              <p:cNvSpPr>
                <a:spLocks/>
              </p:cNvSpPr>
              <p:nvPr/>
            </p:nvSpPr>
            <p:spPr bwMode="auto">
              <a:xfrm>
                <a:off x="11093399"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884" name="Freeform 392"/>
              <p:cNvSpPr>
                <a:spLocks/>
              </p:cNvSpPr>
              <p:nvPr/>
            </p:nvSpPr>
            <p:spPr bwMode="auto">
              <a:xfrm>
                <a:off x="11107685"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1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1" y="29"/>
                    </a:lnTo>
                    <a:lnTo>
                      <a:pt x="7" y="28"/>
                    </a:lnTo>
                    <a:lnTo>
                      <a:pt x="4" y="25"/>
                    </a:lnTo>
                    <a:lnTo>
                      <a:pt x="1" y="20"/>
                    </a:lnTo>
                    <a:lnTo>
                      <a:pt x="0" y="16"/>
                    </a:lnTo>
                    <a:lnTo>
                      <a:pt x="1" y="10"/>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885" name="Freeform 393"/>
              <p:cNvSpPr>
                <a:spLocks/>
              </p:cNvSpPr>
              <p:nvPr/>
            </p:nvSpPr>
            <p:spPr bwMode="auto">
              <a:xfrm>
                <a:off x="111219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886" name="Freeform 394"/>
              <p:cNvSpPr>
                <a:spLocks/>
              </p:cNvSpPr>
              <p:nvPr/>
            </p:nvSpPr>
            <p:spPr bwMode="auto">
              <a:xfrm>
                <a:off x="11136257"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887" name="Freeform 395"/>
              <p:cNvSpPr>
                <a:spLocks/>
              </p:cNvSpPr>
              <p:nvPr/>
            </p:nvSpPr>
            <p:spPr bwMode="auto">
              <a:xfrm>
                <a:off x="11148956"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888" name="Freeform 396"/>
              <p:cNvSpPr>
                <a:spLocks/>
              </p:cNvSpPr>
              <p:nvPr/>
            </p:nvSpPr>
            <p:spPr bwMode="auto">
              <a:xfrm>
                <a:off x="11163242"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889" name="Freeform 397"/>
              <p:cNvSpPr>
                <a:spLocks/>
              </p:cNvSpPr>
              <p:nvPr/>
            </p:nvSpPr>
            <p:spPr bwMode="auto">
              <a:xfrm>
                <a:off x="11177528"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890" name="Freeform 398"/>
              <p:cNvSpPr>
                <a:spLocks/>
              </p:cNvSpPr>
              <p:nvPr/>
            </p:nvSpPr>
            <p:spPr bwMode="auto">
              <a:xfrm>
                <a:off x="11190227"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891" name="Freeform 399"/>
              <p:cNvSpPr>
                <a:spLocks/>
              </p:cNvSpPr>
              <p:nvPr/>
            </p:nvSpPr>
            <p:spPr bwMode="auto">
              <a:xfrm>
                <a:off x="112045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892" name="Freeform 400"/>
              <p:cNvSpPr>
                <a:spLocks/>
              </p:cNvSpPr>
              <p:nvPr/>
            </p:nvSpPr>
            <p:spPr bwMode="auto">
              <a:xfrm>
                <a:off x="11218799"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893" name="Freeform 401"/>
              <p:cNvSpPr>
                <a:spLocks/>
              </p:cNvSpPr>
              <p:nvPr/>
            </p:nvSpPr>
            <p:spPr bwMode="auto">
              <a:xfrm>
                <a:off x="11233085"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894" name="Freeform 402"/>
              <p:cNvSpPr>
                <a:spLocks/>
              </p:cNvSpPr>
              <p:nvPr/>
            </p:nvSpPr>
            <p:spPr bwMode="auto">
              <a:xfrm>
                <a:off x="112473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895" name="Freeform 403"/>
              <p:cNvSpPr>
                <a:spLocks/>
              </p:cNvSpPr>
              <p:nvPr/>
            </p:nvSpPr>
            <p:spPr bwMode="auto">
              <a:xfrm>
                <a:off x="11260070" y="5680647"/>
                <a:ext cx="4762" cy="4763"/>
              </a:xfrm>
              <a:custGeom>
                <a:avLst/>
                <a:gdLst>
                  <a:gd name="T0" fmla="*/ 15 w 29"/>
                  <a:gd name="T1" fmla="*/ 0 h 30"/>
                  <a:gd name="T2" fmla="*/ 19 w 29"/>
                  <a:gd name="T3" fmla="*/ 1 h 30"/>
                  <a:gd name="T4" fmla="*/ 23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3 w 29"/>
                  <a:gd name="T17" fmla="*/ 28 h 30"/>
                  <a:gd name="T18" fmla="*/ 19 w 29"/>
                  <a:gd name="T19" fmla="*/ 29 h 30"/>
                  <a:gd name="T20" fmla="*/ 15 w 29"/>
                  <a:gd name="T21" fmla="*/ 30 h 30"/>
                  <a:gd name="T22" fmla="*/ 10 w 29"/>
                  <a:gd name="T23" fmla="*/ 29 h 30"/>
                  <a:gd name="T24" fmla="*/ 6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0"/>
                    </a:lnTo>
                    <a:lnTo>
                      <a:pt x="29"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896" name="Freeform 404"/>
              <p:cNvSpPr>
                <a:spLocks/>
              </p:cNvSpPr>
              <p:nvPr/>
            </p:nvSpPr>
            <p:spPr bwMode="auto">
              <a:xfrm>
                <a:off x="11274356"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897" name="Freeform 405"/>
              <p:cNvSpPr>
                <a:spLocks/>
              </p:cNvSpPr>
              <p:nvPr/>
            </p:nvSpPr>
            <p:spPr bwMode="auto">
              <a:xfrm>
                <a:off x="11288642"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898" name="Freeform 406"/>
              <p:cNvSpPr>
                <a:spLocks/>
              </p:cNvSpPr>
              <p:nvPr/>
            </p:nvSpPr>
            <p:spPr bwMode="auto">
              <a:xfrm>
                <a:off x="113029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899" name="Freeform 407"/>
              <p:cNvSpPr>
                <a:spLocks/>
              </p:cNvSpPr>
              <p:nvPr/>
            </p:nvSpPr>
            <p:spPr bwMode="auto">
              <a:xfrm>
                <a:off x="113156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00" name="Freeform 408"/>
              <p:cNvSpPr>
                <a:spLocks/>
              </p:cNvSpPr>
              <p:nvPr/>
            </p:nvSpPr>
            <p:spPr bwMode="auto">
              <a:xfrm>
                <a:off x="113299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901" name="Freeform 409"/>
              <p:cNvSpPr>
                <a:spLocks/>
              </p:cNvSpPr>
              <p:nvPr/>
            </p:nvSpPr>
            <p:spPr bwMode="auto">
              <a:xfrm>
                <a:off x="11344199"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02" name="Freeform 410"/>
              <p:cNvSpPr>
                <a:spLocks/>
              </p:cNvSpPr>
              <p:nvPr/>
            </p:nvSpPr>
            <p:spPr bwMode="auto">
              <a:xfrm>
                <a:off x="11358485" y="5680647"/>
                <a:ext cx="4762" cy="4763"/>
              </a:xfrm>
              <a:custGeom>
                <a:avLst/>
                <a:gdLst>
                  <a:gd name="T0" fmla="*/ 16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0"/>
                    </a:lnTo>
                    <a:lnTo>
                      <a:pt x="30" y="16"/>
                    </a:lnTo>
                    <a:lnTo>
                      <a:pt x="29" y="20"/>
                    </a:lnTo>
                    <a:lnTo>
                      <a:pt x="27" y="25"/>
                    </a:lnTo>
                    <a:lnTo>
                      <a:pt x="23"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903" name="Freeform 411"/>
              <p:cNvSpPr>
                <a:spLocks/>
              </p:cNvSpPr>
              <p:nvPr/>
            </p:nvSpPr>
            <p:spPr bwMode="auto">
              <a:xfrm>
                <a:off x="11371184" y="5680647"/>
                <a:ext cx="4762" cy="4763"/>
              </a:xfrm>
              <a:custGeom>
                <a:avLst/>
                <a:gdLst>
                  <a:gd name="T0" fmla="*/ 15 w 29"/>
                  <a:gd name="T1" fmla="*/ 0 h 30"/>
                  <a:gd name="T2" fmla="*/ 19 w 29"/>
                  <a:gd name="T3" fmla="*/ 1 h 30"/>
                  <a:gd name="T4" fmla="*/ 24 w 29"/>
                  <a:gd name="T5" fmla="*/ 4 h 30"/>
                  <a:gd name="T6" fmla="*/ 27 w 29"/>
                  <a:gd name="T7" fmla="*/ 7 h 30"/>
                  <a:gd name="T8" fmla="*/ 28 w 29"/>
                  <a:gd name="T9" fmla="*/ 10 h 30"/>
                  <a:gd name="T10" fmla="*/ 29 w 29"/>
                  <a:gd name="T11" fmla="*/ 16 h 30"/>
                  <a:gd name="T12" fmla="*/ 28 w 29"/>
                  <a:gd name="T13" fmla="*/ 20 h 30"/>
                  <a:gd name="T14" fmla="*/ 27 w 29"/>
                  <a:gd name="T15" fmla="*/ 25 h 30"/>
                  <a:gd name="T16" fmla="*/ 24 w 29"/>
                  <a:gd name="T17" fmla="*/ 28 h 30"/>
                  <a:gd name="T18" fmla="*/ 19 w 29"/>
                  <a:gd name="T19" fmla="*/ 29 h 30"/>
                  <a:gd name="T20" fmla="*/ 15 w 29"/>
                  <a:gd name="T21" fmla="*/ 30 h 30"/>
                  <a:gd name="T22" fmla="*/ 9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0"/>
                    </a:lnTo>
                    <a:lnTo>
                      <a:pt x="29" y="16"/>
                    </a:lnTo>
                    <a:lnTo>
                      <a:pt x="28" y="20"/>
                    </a:lnTo>
                    <a:lnTo>
                      <a:pt x="27" y="25"/>
                    </a:lnTo>
                    <a:lnTo>
                      <a:pt x="24" y="28"/>
                    </a:lnTo>
                    <a:lnTo>
                      <a:pt x="19" y="29"/>
                    </a:lnTo>
                    <a:lnTo>
                      <a:pt x="15" y="30"/>
                    </a:lnTo>
                    <a:lnTo>
                      <a:pt x="9" y="29"/>
                    </a:lnTo>
                    <a:lnTo>
                      <a:pt x="6" y="28"/>
                    </a:lnTo>
                    <a:lnTo>
                      <a:pt x="3" y="25"/>
                    </a:lnTo>
                    <a:lnTo>
                      <a:pt x="1" y="20"/>
                    </a:lnTo>
                    <a:lnTo>
                      <a:pt x="0" y="16"/>
                    </a:lnTo>
                    <a:lnTo>
                      <a:pt x="1" y="10"/>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904" name="Freeform 412"/>
              <p:cNvSpPr>
                <a:spLocks/>
              </p:cNvSpPr>
              <p:nvPr/>
            </p:nvSpPr>
            <p:spPr bwMode="auto">
              <a:xfrm>
                <a:off x="11385470"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905" name="Freeform 413"/>
              <p:cNvSpPr>
                <a:spLocks/>
              </p:cNvSpPr>
              <p:nvPr/>
            </p:nvSpPr>
            <p:spPr bwMode="auto">
              <a:xfrm>
                <a:off x="11399756"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906" name="Freeform 414"/>
              <p:cNvSpPr>
                <a:spLocks/>
              </p:cNvSpPr>
              <p:nvPr/>
            </p:nvSpPr>
            <p:spPr bwMode="auto">
              <a:xfrm>
                <a:off x="11414042"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07" name="Freeform 415"/>
              <p:cNvSpPr>
                <a:spLocks/>
              </p:cNvSpPr>
              <p:nvPr/>
            </p:nvSpPr>
            <p:spPr bwMode="auto">
              <a:xfrm>
                <a:off x="114283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908" name="Freeform 416"/>
              <p:cNvSpPr>
                <a:spLocks/>
              </p:cNvSpPr>
              <p:nvPr/>
            </p:nvSpPr>
            <p:spPr bwMode="auto">
              <a:xfrm>
                <a:off x="114410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09" name="Freeform 417"/>
              <p:cNvSpPr>
                <a:spLocks/>
              </p:cNvSpPr>
              <p:nvPr/>
            </p:nvSpPr>
            <p:spPr bwMode="auto">
              <a:xfrm>
                <a:off x="10967999"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910" name="Freeform 418"/>
              <p:cNvSpPr>
                <a:spLocks/>
              </p:cNvSpPr>
              <p:nvPr/>
            </p:nvSpPr>
            <p:spPr bwMode="auto">
              <a:xfrm>
                <a:off x="10982285"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11" name="Freeform 419"/>
              <p:cNvSpPr>
                <a:spLocks/>
              </p:cNvSpPr>
              <p:nvPr/>
            </p:nvSpPr>
            <p:spPr bwMode="auto">
              <a:xfrm>
                <a:off x="10996571" y="5626666"/>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7"/>
                    </a:lnTo>
                    <a:lnTo>
                      <a:pt x="19" y="29"/>
                    </a:lnTo>
                    <a:lnTo>
                      <a:pt x="14" y="30"/>
                    </a:lnTo>
                    <a:lnTo>
                      <a:pt x="10" y="29"/>
                    </a:lnTo>
                    <a:lnTo>
                      <a:pt x="6" y="27"/>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912" name="Freeform 420"/>
              <p:cNvSpPr>
                <a:spLocks/>
              </p:cNvSpPr>
              <p:nvPr/>
            </p:nvSpPr>
            <p:spPr bwMode="auto">
              <a:xfrm>
                <a:off x="11010857" y="5626666"/>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7"/>
                    </a:lnTo>
                    <a:lnTo>
                      <a:pt x="20"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913" name="Freeform 421"/>
              <p:cNvSpPr>
                <a:spLocks/>
              </p:cNvSpPr>
              <p:nvPr/>
            </p:nvSpPr>
            <p:spPr bwMode="auto">
              <a:xfrm>
                <a:off x="11023556"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914" name="Freeform 422"/>
              <p:cNvSpPr>
                <a:spLocks/>
              </p:cNvSpPr>
              <p:nvPr/>
            </p:nvSpPr>
            <p:spPr bwMode="auto">
              <a:xfrm>
                <a:off x="11037842"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915" name="Freeform 423"/>
              <p:cNvSpPr>
                <a:spLocks/>
              </p:cNvSpPr>
              <p:nvPr/>
            </p:nvSpPr>
            <p:spPr bwMode="auto">
              <a:xfrm>
                <a:off x="11052128"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16" name="Freeform 424"/>
              <p:cNvSpPr>
                <a:spLocks/>
              </p:cNvSpPr>
              <p:nvPr/>
            </p:nvSpPr>
            <p:spPr bwMode="auto">
              <a:xfrm>
                <a:off x="11066414" y="5626666"/>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917" name="Freeform 425"/>
              <p:cNvSpPr>
                <a:spLocks/>
              </p:cNvSpPr>
              <p:nvPr/>
            </p:nvSpPr>
            <p:spPr bwMode="auto">
              <a:xfrm>
                <a:off x="11079113"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918" name="Freeform 426"/>
              <p:cNvSpPr>
                <a:spLocks/>
              </p:cNvSpPr>
              <p:nvPr/>
            </p:nvSpPr>
            <p:spPr bwMode="auto">
              <a:xfrm>
                <a:off x="11093399"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919" name="Freeform 427"/>
              <p:cNvSpPr>
                <a:spLocks/>
              </p:cNvSpPr>
              <p:nvPr/>
            </p:nvSpPr>
            <p:spPr bwMode="auto">
              <a:xfrm>
                <a:off x="11107685"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1" y="29"/>
                    </a:lnTo>
                    <a:lnTo>
                      <a:pt x="7" y="27"/>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920" name="Freeform 428"/>
              <p:cNvSpPr>
                <a:spLocks/>
              </p:cNvSpPr>
              <p:nvPr/>
            </p:nvSpPr>
            <p:spPr bwMode="auto">
              <a:xfrm>
                <a:off x="111219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21" name="Freeform 429"/>
              <p:cNvSpPr>
                <a:spLocks/>
              </p:cNvSpPr>
              <p:nvPr/>
            </p:nvSpPr>
            <p:spPr bwMode="auto">
              <a:xfrm>
                <a:off x="11136257"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922" name="Freeform 430"/>
              <p:cNvSpPr>
                <a:spLocks/>
              </p:cNvSpPr>
              <p:nvPr/>
            </p:nvSpPr>
            <p:spPr bwMode="auto">
              <a:xfrm>
                <a:off x="11148956"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923" name="Freeform 431"/>
              <p:cNvSpPr>
                <a:spLocks/>
              </p:cNvSpPr>
              <p:nvPr/>
            </p:nvSpPr>
            <p:spPr bwMode="auto">
              <a:xfrm>
                <a:off x="11163242"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924" name="Freeform 432"/>
              <p:cNvSpPr>
                <a:spLocks/>
              </p:cNvSpPr>
              <p:nvPr/>
            </p:nvSpPr>
            <p:spPr bwMode="auto">
              <a:xfrm>
                <a:off x="11177528"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25" name="Freeform 433"/>
              <p:cNvSpPr>
                <a:spLocks/>
              </p:cNvSpPr>
              <p:nvPr/>
            </p:nvSpPr>
            <p:spPr bwMode="auto">
              <a:xfrm>
                <a:off x="11190227"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926" name="Freeform 434"/>
              <p:cNvSpPr>
                <a:spLocks/>
              </p:cNvSpPr>
              <p:nvPr/>
            </p:nvSpPr>
            <p:spPr bwMode="auto">
              <a:xfrm>
                <a:off x="112045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927" name="Freeform 435"/>
              <p:cNvSpPr>
                <a:spLocks/>
              </p:cNvSpPr>
              <p:nvPr/>
            </p:nvSpPr>
            <p:spPr bwMode="auto">
              <a:xfrm>
                <a:off x="11218799"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928" name="Freeform 436"/>
              <p:cNvSpPr>
                <a:spLocks/>
              </p:cNvSpPr>
              <p:nvPr/>
            </p:nvSpPr>
            <p:spPr bwMode="auto">
              <a:xfrm>
                <a:off x="11233085"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929" name="Freeform 437"/>
              <p:cNvSpPr>
                <a:spLocks/>
              </p:cNvSpPr>
              <p:nvPr/>
            </p:nvSpPr>
            <p:spPr bwMode="auto">
              <a:xfrm>
                <a:off x="112473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30" name="Freeform 438"/>
              <p:cNvSpPr>
                <a:spLocks/>
              </p:cNvSpPr>
              <p:nvPr/>
            </p:nvSpPr>
            <p:spPr bwMode="auto">
              <a:xfrm>
                <a:off x="11260070" y="5626666"/>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931" name="Freeform 439"/>
              <p:cNvSpPr>
                <a:spLocks/>
              </p:cNvSpPr>
              <p:nvPr/>
            </p:nvSpPr>
            <p:spPr bwMode="auto">
              <a:xfrm>
                <a:off x="11274356"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932" name="Freeform 440"/>
              <p:cNvSpPr>
                <a:spLocks/>
              </p:cNvSpPr>
              <p:nvPr/>
            </p:nvSpPr>
            <p:spPr bwMode="auto">
              <a:xfrm>
                <a:off x="11288642"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933" name="Freeform 441"/>
              <p:cNvSpPr>
                <a:spLocks/>
              </p:cNvSpPr>
              <p:nvPr/>
            </p:nvSpPr>
            <p:spPr bwMode="auto">
              <a:xfrm>
                <a:off x="113029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934" name="Freeform 442"/>
              <p:cNvSpPr>
                <a:spLocks/>
              </p:cNvSpPr>
              <p:nvPr/>
            </p:nvSpPr>
            <p:spPr bwMode="auto">
              <a:xfrm>
                <a:off x="113156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35" name="Freeform 443"/>
              <p:cNvSpPr>
                <a:spLocks/>
              </p:cNvSpPr>
              <p:nvPr/>
            </p:nvSpPr>
            <p:spPr bwMode="auto">
              <a:xfrm>
                <a:off x="113299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936" name="Freeform 444"/>
              <p:cNvSpPr>
                <a:spLocks/>
              </p:cNvSpPr>
              <p:nvPr/>
            </p:nvSpPr>
            <p:spPr bwMode="auto">
              <a:xfrm>
                <a:off x="11344199"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937" name="Freeform 445"/>
              <p:cNvSpPr>
                <a:spLocks/>
              </p:cNvSpPr>
              <p:nvPr/>
            </p:nvSpPr>
            <p:spPr bwMode="auto">
              <a:xfrm>
                <a:off x="11358485" y="5626666"/>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938" name="Freeform 446"/>
              <p:cNvSpPr>
                <a:spLocks/>
              </p:cNvSpPr>
              <p:nvPr/>
            </p:nvSpPr>
            <p:spPr bwMode="auto">
              <a:xfrm>
                <a:off x="11371184" y="5626666"/>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7"/>
                    </a:lnTo>
                    <a:lnTo>
                      <a:pt x="19" y="29"/>
                    </a:lnTo>
                    <a:lnTo>
                      <a:pt x="15" y="30"/>
                    </a:lnTo>
                    <a:lnTo>
                      <a:pt x="9" y="29"/>
                    </a:lnTo>
                    <a:lnTo>
                      <a:pt x="6" y="27"/>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939" name="Freeform 447"/>
              <p:cNvSpPr>
                <a:spLocks/>
              </p:cNvSpPr>
              <p:nvPr/>
            </p:nvSpPr>
            <p:spPr bwMode="auto">
              <a:xfrm>
                <a:off x="11385470"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940" name="Freeform 448"/>
              <p:cNvSpPr>
                <a:spLocks/>
              </p:cNvSpPr>
              <p:nvPr/>
            </p:nvSpPr>
            <p:spPr bwMode="auto">
              <a:xfrm>
                <a:off x="11399756"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941" name="Freeform 449"/>
              <p:cNvSpPr>
                <a:spLocks/>
              </p:cNvSpPr>
              <p:nvPr/>
            </p:nvSpPr>
            <p:spPr bwMode="auto">
              <a:xfrm>
                <a:off x="11414042"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942" name="Freeform 450"/>
              <p:cNvSpPr>
                <a:spLocks/>
              </p:cNvSpPr>
              <p:nvPr/>
            </p:nvSpPr>
            <p:spPr bwMode="auto">
              <a:xfrm>
                <a:off x="114283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943" name="Freeform 451"/>
              <p:cNvSpPr>
                <a:spLocks/>
              </p:cNvSpPr>
              <p:nvPr/>
            </p:nvSpPr>
            <p:spPr bwMode="auto">
              <a:xfrm>
                <a:off x="114410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944" name="Freeform 452"/>
              <p:cNvSpPr>
                <a:spLocks/>
              </p:cNvSpPr>
              <p:nvPr/>
            </p:nvSpPr>
            <p:spPr bwMode="auto">
              <a:xfrm>
                <a:off x="10967999"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945" name="Freeform 453"/>
              <p:cNvSpPr>
                <a:spLocks/>
              </p:cNvSpPr>
              <p:nvPr/>
            </p:nvSpPr>
            <p:spPr bwMode="auto">
              <a:xfrm>
                <a:off x="10982285"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46" name="Freeform 454"/>
              <p:cNvSpPr>
                <a:spLocks/>
              </p:cNvSpPr>
              <p:nvPr/>
            </p:nvSpPr>
            <p:spPr bwMode="auto">
              <a:xfrm>
                <a:off x="10996571" y="6061690"/>
                <a:ext cx="4762" cy="4763"/>
              </a:xfrm>
              <a:custGeom>
                <a:avLst/>
                <a:gdLst>
                  <a:gd name="T0" fmla="*/ 14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4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1"/>
                    </a:lnTo>
                    <a:lnTo>
                      <a:pt x="30" y="16"/>
                    </a:lnTo>
                    <a:lnTo>
                      <a:pt x="29" y="20"/>
                    </a:lnTo>
                    <a:lnTo>
                      <a:pt x="27" y="25"/>
                    </a:lnTo>
                    <a:lnTo>
                      <a:pt x="23" y="28"/>
                    </a:lnTo>
                    <a:lnTo>
                      <a:pt x="19" y="30"/>
                    </a:lnTo>
                    <a:lnTo>
                      <a:pt x="14" y="30"/>
                    </a:lnTo>
                    <a:lnTo>
                      <a:pt x="10" y="30"/>
                    </a:lnTo>
                    <a:lnTo>
                      <a:pt x="6" y="28"/>
                    </a:lnTo>
                    <a:lnTo>
                      <a:pt x="2" y="25"/>
                    </a:lnTo>
                    <a:lnTo>
                      <a:pt x="0" y="20"/>
                    </a:lnTo>
                    <a:lnTo>
                      <a:pt x="0" y="16"/>
                    </a:lnTo>
                    <a:lnTo>
                      <a:pt x="0" y="11"/>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947" name="Freeform 455"/>
              <p:cNvSpPr>
                <a:spLocks/>
              </p:cNvSpPr>
              <p:nvPr/>
            </p:nvSpPr>
            <p:spPr bwMode="auto">
              <a:xfrm>
                <a:off x="11010857" y="6061690"/>
                <a:ext cx="4762" cy="4763"/>
              </a:xfrm>
              <a:custGeom>
                <a:avLst/>
                <a:gdLst>
                  <a:gd name="T0" fmla="*/ 15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1"/>
                    </a:lnTo>
                    <a:lnTo>
                      <a:pt x="30" y="16"/>
                    </a:lnTo>
                    <a:lnTo>
                      <a:pt x="29" y="20"/>
                    </a:lnTo>
                    <a:lnTo>
                      <a:pt x="27" y="25"/>
                    </a:lnTo>
                    <a:lnTo>
                      <a:pt x="24" y="28"/>
                    </a:lnTo>
                    <a:lnTo>
                      <a:pt x="20"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948" name="Freeform 456"/>
              <p:cNvSpPr>
                <a:spLocks/>
              </p:cNvSpPr>
              <p:nvPr/>
            </p:nvSpPr>
            <p:spPr bwMode="auto">
              <a:xfrm>
                <a:off x="11023556"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949" name="Freeform 457"/>
              <p:cNvSpPr>
                <a:spLocks/>
              </p:cNvSpPr>
              <p:nvPr/>
            </p:nvSpPr>
            <p:spPr bwMode="auto">
              <a:xfrm>
                <a:off x="11037842"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950" name="Freeform 458"/>
              <p:cNvSpPr>
                <a:spLocks/>
              </p:cNvSpPr>
              <p:nvPr/>
            </p:nvSpPr>
            <p:spPr bwMode="auto">
              <a:xfrm>
                <a:off x="11052128"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51" name="Freeform 459"/>
              <p:cNvSpPr>
                <a:spLocks/>
              </p:cNvSpPr>
              <p:nvPr/>
            </p:nvSpPr>
            <p:spPr bwMode="auto">
              <a:xfrm>
                <a:off x="11066414" y="6061690"/>
                <a:ext cx="4762" cy="4763"/>
              </a:xfrm>
              <a:custGeom>
                <a:avLst/>
                <a:gdLst>
                  <a:gd name="T0" fmla="*/ 15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1"/>
                    </a:lnTo>
                    <a:lnTo>
                      <a:pt x="30"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952" name="Freeform 460"/>
              <p:cNvSpPr>
                <a:spLocks/>
              </p:cNvSpPr>
              <p:nvPr/>
            </p:nvSpPr>
            <p:spPr bwMode="auto">
              <a:xfrm>
                <a:off x="11079113"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53" name="Freeform 461"/>
              <p:cNvSpPr>
                <a:spLocks/>
              </p:cNvSpPr>
              <p:nvPr/>
            </p:nvSpPr>
            <p:spPr bwMode="auto">
              <a:xfrm>
                <a:off x="11093399"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954" name="Freeform 462"/>
              <p:cNvSpPr>
                <a:spLocks/>
              </p:cNvSpPr>
              <p:nvPr/>
            </p:nvSpPr>
            <p:spPr bwMode="auto">
              <a:xfrm>
                <a:off x="11107685"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1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1" y="30"/>
                    </a:lnTo>
                    <a:lnTo>
                      <a:pt x="7" y="28"/>
                    </a:lnTo>
                    <a:lnTo>
                      <a:pt x="4" y="25"/>
                    </a:lnTo>
                    <a:lnTo>
                      <a:pt x="1" y="20"/>
                    </a:lnTo>
                    <a:lnTo>
                      <a:pt x="0" y="16"/>
                    </a:lnTo>
                    <a:lnTo>
                      <a:pt x="1" y="11"/>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955" name="Freeform 463"/>
              <p:cNvSpPr>
                <a:spLocks/>
              </p:cNvSpPr>
              <p:nvPr/>
            </p:nvSpPr>
            <p:spPr bwMode="auto">
              <a:xfrm>
                <a:off x="111219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56" name="Freeform 464"/>
              <p:cNvSpPr>
                <a:spLocks/>
              </p:cNvSpPr>
              <p:nvPr/>
            </p:nvSpPr>
            <p:spPr bwMode="auto">
              <a:xfrm>
                <a:off x="11136257"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957" name="Freeform 465"/>
              <p:cNvSpPr>
                <a:spLocks/>
              </p:cNvSpPr>
              <p:nvPr/>
            </p:nvSpPr>
            <p:spPr bwMode="auto">
              <a:xfrm>
                <a:off x="11148956"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58" name="Freeform 466"/>
              <p:cNvSpPr>
                <a:spLocks/>
              </p:cNvSpPr>
              <p:nvPr/>
            </p:nvSpPr>
            <p:spPr bwMode="auto">
              <a:xfrm>
                <a:off x="11163242"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959" name="Freeform 467"/>
              <p:cNvSpPr>
                <a:spLocks/>
              </p:cNvSpPr>
              <p:nvPr/>
            </p:nvSpPr>
            <p:spPr bwMode="auto">
              <a:xfrm>
                <a:off x="11177528"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60" name="Freeform 468"/>
              <p:cNvSpPr>
                <a:spLocks/>
              </p:cNvSpPr>
              <p:nvPr/>
            </p:nvSpPr>
            <p:spPr bwMode="auto">
              <a:xfrm>
                <a:off x="11190227"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961" name="Freeform 469"/>
              <p:cNvSpPr>
                <a:spLocks/>
              </p:cNvSpPr>
              <p:nvPr/>
            </p:nvSpPr>
            <p:spPr bwMode="auto">
              <a:xfrm>
                <a:off x="112045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962" name="Freeform 470"/>
              <p:cNvSpPr>
                <a:spLocks/>
              </p:cNvSpPr>
              <p:nvPr/>
            </p:nvSpPr>
            <p:spPr bwMode="auto">
              <a:xfrm>
                <a:off x="11218799"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963" name="Freeform 471"/>
              <p:cNvSpPr>
                <a:spLocks/>
              </p:cNvSpPr>
              <p:nvPr/>
            </p:nvSpPr>
            <p:spPr bwMode="auto">
              <a:xfrm>
                <a:off x="11233085"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964" name="Freeform 472"/>
              <p:cNvSpPr>
                <a:spLocks/>
              </p:cNvSpPr>
              <p:nvPr/>
            </p:nvSpPr>
            <p:spPr bwMode="auto">
              <a:xfrm>
                <a:off x="112473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65" name="Freeform 473"/>
              <p:cNvSpPr>
                <a:spLocks/>
              </p:cNvSpPr>
              <p:nvPr/>
            </p:nvSpPr>
            <p:spPr bwMode="auto">
              <a:xfrm>
                <a:off x="11260070" y="6061690"/>
                <a:ext cx="4762" cy="4763"/>
              </a:xfrm>
              <a:custGeom>
                <a:avLst/>
                <a:gdLst>
                  <a:gd name="T0" fmla="*/ 15 w 29"/>
                  <a:gd name="T1" fmla="*/ 0 h 30"/>
                  <a:gd name="T2" fmla="*/ 19 w 29"/>
                  <a:gd name="T3" fmla="*/ 1 h 30"/>
                  <a:gd name="T4" fmla="*/ 23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3 w 29"/>
                  <a:gd name="T17" fmla="*/ 28 h 30"/>
                  <a:gd name="T18" fmla="*/ 19 w 29"/>
                  <a:gd name="T19" fmla="*/ 30 h 30"/>
                  <a:gd name="T20" fmla="*/ 15 w 29"/>
                  <a:gd name="T21" fmla="*/ 30 h 30"/>
                  <a:gd name="T22" fmla="*/ 10 w 29"/>
                  <a:gd name="T23" fmla="*/ 30 h 30"/>
                  <a:gd name="T24" fmla="*/ 6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1"/>
                    </a:lnTo>
                    <a:lnTo>
                      <a:pt x="29"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966" name="Freeform 474"/>
              <p:cNvSpPr>
                <a:spLocks/>
              </p:cNvSpPr>
              <p:nvPr/>
            </p:nvSpPr>
            <p:spPr bwMode="auto">
              <a:xfrm>
                <a:off x="11274356"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67" name="Freeform 475"/>
              <p:cNvSpPr>
                <a:spLocks/>
              </p:cNvSpPr>
              <p:nvPr/>
            </p:nvSpPr>
            <p:spPr bwMode="auto">
              <a:xfrm>
                <a:off x="11288642"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968" name="Freeform 476"/>
              <p:cNvSpPr>
                <a:spLocks/>
              </p:cNvSpPr>
              <p:nvPr/>
            </p:nvSpPr>
            <p:spPr bwMode="auto">
              <a:xfrm>
                <a:off x="113029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969" name="Freeform 477"/>
              <p:cNvSpPr>
                <a:spLocks/>
              </p:cNvSpPr>
              <p:nvPr/>
            </p:nvSpPr>
            <p:spPr bwMode="auto">
              <a:xfrm>
                <a:off x="113156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70" name="Freeform 478"/>
              <p:cNvSpPr>
                <a:spLocks/>
              </p:cNvSpPr>
              <p:nvPr/>
            </p:nvSpPr>
            <p:spPr bwMode="auto">
              <a:xfrm>
                <a:off x="113299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971" name="Freeform 479"/>
              <p:cNvSpPr>
                <a:spLocks/>
              </p:cNvSpPr>
              <p:nvPr/>
            </p:nvSpPr>
            <p:spPr bwMode="auto">
              <a:xfrm>
                <a:off x="11344199"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72" name="Freeform 480"/>
              <p:cNvSpPr>
                <a:spLocks/>
              </p:cNvSpPr>
              <p:nvPr/>
            </p:nvSpPr>
            <p:spPr bwMode="auto">
              <a:xfrm>
                <a:off x="11358485" y="6061690"/>
                <a:ext cx="4762" cy="4763"/>
              </a:xfrm>
              <a:custGeom>
                <a:avLst/>
                <a:gdLst>
                  <a:gd name="T0" fmla="*/ 16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1"/>
                    </a:lnTo>
                    <a:lnTo>
                      <a:pt x="30" y="16"/>
                    </a:lnTo>
                    <a:lnTo>
                      <a:pt x="29" y="20"/>
                    </a:lnTo>
                    <a:lnTo>
                      <a:pt x="27" y="25"/>
                    </a:lnTo>
                    <a:lnTo>
                      <a:pt x="23"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973" name="Freeform 481"/>
              <p:cNvSpPr>
                <a:spLocks/>
              </p:cNvSpPr>
              <p:nvPr/>
            </p:nvSpPr>
            <p:spPr bwMode="auto">
              <a:xfrm>
                <a:off x="11371184" y="6061690"/>
                <a:ext cx="4762" cy="4763"/>
              </a:xfrm>
              <a:custGeom>
                <a:avLst/>
                <a:gdLst>
                  <a:gd name="T0" fmla="*/ 15 w 29"/>
                  <a:gd name="T1" fmla="*/ 0 h 30"/>
                  <a:gd name="T2" fmla="*/ 19 w 29"/>
                  <a:gd name="T3" fmla="*/ 1 h 30"/>
                  <a:gd name="T4" fmla="*/ 24 w 29"/>
                  <a:gd name="T5" fmla="*/ 4 h 30"/>
                  <a:gd name="T6" fmla="*/ 27 w 29"/>
                  <a:gd name="T7" fmla="*/ 7 h 30"/>
                  <a:gd name="T8" fmla="*/ 28 w 29"/>
                  <a:gd name="T9" fmla="*/ 11 h 30"/>
                  <a:gd name="T10" fmla="*/ 29 w 29"/>
                  <a:gd name="T11" fmla="*/ 16 h 30"/>
                  <a:gd name="T12" fmla="*/ 28 w 29"/>
                  <a:gd name="T13" fmla="*/ 20 h 30"/>
                  <a:gd name="T14" fmla="*/ 27 w 29"/>
                  <a:gd name="T15" fmla="*/ 25 h 30"/>
                  <a:gd name="T16" fmla="*/ 24 w 29"/>
                  <a:gd name="T17" fmla="*/ 28 h 30"/>
                  <a:gd name="T18" fmla="*/ 19 w 29"/>
                  <a:gd name="T19" fmla="*/ 30 h 30"/>
                  <a:gd name="T20" fmla="*/ 15 w 29"/>
                  <a:gd name="T21" fmla="*/ 30 h 30"/>
                  <a:gd name="T22" fmla="*/ 9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1"/>
                    </a:lnTo>
                    <a:lnTo>
                      <a:pt x="29" y="16"/>
                    </a:lnTo>
                    <a:lnTo>
                      <a:pt x="28" y="20"/>
                    </a:lnTo>
                    <a:lnTo>
                      <a:pt x="27" y="25"/>
                    </a:lnTo>
                    <a:lnTo>
                      <a:pt x="24" y="28"/>
                    </a:lnTo>
                    <a:lnTo>
                      <a:pt x="19" y="30"/>
                    </a:lnTo>
                    <a:lnTo>
                      <a:pt x="15" y="30"/>
                    </a:lnTo>
                    <a:lnTo>
                      <a:pt x="9" y="30"/>
                    </a:lnTo>
                    <a:lnTo>
                      <a:pt x="6" y="28"/>
                    </a:lnTo>
                    <a:lnTo>
                      <a:pt x="3" y="25"/>
                    </a:lnTo>
                    <a:lnTo>
                      <a:pt x="1" y="20"/>
                    </a:lnTo>
                    <a:lnTo>
                      <a:pt x="0" y="16"/>
                    </a:lnTo>
                    <a:lnTo>
                      <a:pt x="1" y="11"/>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974" name="Freeform 482"/>
              <p:cNvSpPr>
                <a:spLocks/>
              </p:cNvSpPr>
              <p:nvPr/>
            </p:nvSpPr>
            <p:spPr bwMode="auto">
              <a:xfrm>
                <a:off x="11385470"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975" name="Freeform 483"/>
              <p:cNvSpPr>
                <a:spLocks/>
              </p:cNvSpPr>
              <p:nvPr/>
            </p:nvSpPr>
            <p:spPr bwMode="auto">
              <a:xfrm>
                <a:off x="11399756"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976" name="Freeform 484"/>
              <p:cNvSpPr>
                <a:spLocks/>
              </p:cNvSpPr>
              <p:nvPr/>
            </p:nvSpPr>
            <p:spPr bwMode="auto">
              <a:xfrm>
                <a:off x="11414042"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977" name="Freeform 485"/>
              <p:cNvSpPr>
                <a:spLocks/>
              </p:cNvSpPr>
              <p:nvPr/>
            </p:nvSpPr>
            <p:spPr bwMode="auto">
              <a:xfrm>
                <a:off x="114283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978" name="Freeform 486"/>
              <p:cNvSpPr>
                <a:spLocks/>
              </p:cNvSpPr>
              <p:nvPr/>
            </p:nvSpPr>
            <p:spPr bwMode="auto">
              <a:xfrm>
                <a:off x="114410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979" name="Freeform 487"/>
              <p:cNvSpPr>
                <a:spLocks/>
              </p:cNvSpPr>
              <p:nvPr/>
            </p:nvSpPr>
            <p:spPr bwMode="auto">
              <a:xfrm>
                <a:off x="10967999"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980" name="Freeform 488"/>
              <p:cNvSpPr>
                <a:spLocks/>
              </p:cNvSpPr>
              <p:nvPr/>
            </p:nvSpPr>
            <p:spPr bwMode="auto">
              <a:xfrm>
                <a:off x="10982285"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981" name="Freeform 489"/>
              <p:cNvSpPr>
                <a:spLocks/>
              </p:cNvSpPr>
              <p:nvPr/>
            </p:nvSpPr>
            <p:spPr bwMode="auto">
              <a:xfrm>
                <a:off x="10996571" y="5736216"/>
                <a:ext cx="4762" cy="4763"/>
              </a:xfrm>
              <a:custGeom>
                <a:avLst/>
                <a:gdLst>
                  <a:gd name="T0" fmla="*/ 14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6"/>
                    </a:lnTo>
                    <a:lnTo>
                      <a:pt x="29" y="10"/>
                    </a:lnTo>
                    <a:lnTo>
                      <a:pt x="30" y="15"/>
                    </a:lnTo>
                    <a:lnTo>
                      <a:pt x="29" y="20"/>
                    </a:lnTo>
                    <a:lnTo>
                      <a:pt x="27" y="23"/>
                    </a:lnTo>
                    <a:lnTo>
                      <a:pt x="23" y="27"/>
                    </a:lnTo>
                    <a:lnTo>
                      <a:pt x="19" y="29"/>
                    </a:lnTo>
                    <a:lnTo>
                      <a:pt x="14" y="30"/>
                    </a:lnTo>
                    <a:lnTo>
                      <a:pt x="10" y="29"/>
                    </a:lnTo>
                    <a:lnTo>
                      <a:pt x="6" y="27"/>
                    </a:lnTo>
                    <a:lnTo>
                      <a:pt x="2" y="23"/>
                    </a:lnTo>
                    <a:lnTo>
                      <a:pt x="0" y="20"/>
                    </a:lnTo>
                    <a:lnTo>
                      <a:pt x="0" y="15"/>
                    </a:lnTo>
                    <a:lnTo>
                      <a:pt x="0" y="10"/>
                    </a:lnTo>
                    <a:lnTo>
                      <a:pt x="2" y="6"/>
                    </a:lnTo>
                    <a:lnTo>
                      <a:pt x="6" y="4"/>
                    </a:lnTo>
                    <a:lnTo>
                      <a:pt x="10" y="1"/>
                    </a:lnTo>
                    <a:lnTo>
                      <a:pt x="14" y="0"/>
                    </a:lnTo>
                    <a:close/>
                  </a:path>
                </a:pathLst>
              </a:custGeom>
              <a:solidFill>
                <a:schemeClr val="accent5"/>
              </a:solidFill>
              <a:ln>
                <a:noFill/>
              </a:ln>
            </p:spPr>
            <p:txBody>
              <a:bodyPr/>
              <a:lstStyle/>
              <a:p>
                <a:endParaRPr lang="de-DE" dirty="0"/>
              </a:p>
            </p:txBody>
          </p:sp>
          <p:sp>
            <p:nvSpPr>
              <p:cNvPr id="982" name="Freeform 490"/>
              <p:cNvSpPr>
                <a:spLocks/>
              </p:cNvSpPr>
              <p:nvPr/>
            </p:nvSpPr>
            <p:spPr bwMode="auto">
              <a:xfrm>
                <a:off x="11010857" y="5736216"/>
                <a:ext cx="4762" cy="4763"/>
              </a:xfrm>
              <a:custGeom>
                <a:avLst/>
                <a:gdLst>
                  <a:gd name="T0" fmla="*/ 15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29" y="10"/>
                    </a:lnTo>
                    <a:lnTo>
                      <a:pt x="30" y="15"/>
                    </a:lnTo>
                    <a:lnTo>
                      <a:pt x="29" y="20"/>
                    </a:lnTo>
                    <a:lnTo>
                      <a:pt x="27" y="23"/>
                    </a:lnTo>
                    <a:lnTo>
                      <a:pt x="24" y="27"/>
                    </a:lnTo>
                    <a:lnTo>
                      <a:pt x="20"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983" name="Freeform 491"/>
              <p:cNvSpPr>
                <a:spLocks/>
              </p:cNvSpPr>
              <p:nvPr/>
            </p:nvSpPr>
            <p:spPr bwMode="auto">
              <a:xfrm>
                <a:off x="11023556"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984" name="Freeform 492"/>
              <p:cNvSpPr>
                <a:spLocks/>
              </p:cNvSpPr>
              <p:nvPr/>
            </p:nvSpPr>
            <p:spPr bwMode="auto">
              <a:xfrm>
                <a:off x="11037842"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985" name="Freeform 493"/>
              <p:cNvSpPr>
                <a:spLocks/>
              </p:cNvSpPr>
              <p:nvPr/>
            </p:nvSpPr>
            <p:spPr bwMode="auto">
              <a:xfrm>
                <a:off x="11052128"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986" name="Freeform 494"/>
              <p:cNvSpPr>
                <a:spLocks/>
              </p:cNvSpPr>
              <p:nvPr/>
            </p:nvSpPr>
            <p:spPr bwMode="auto">
              <a:xfrm>
                <a:off x="11066414" y="5736216"/>
                <a:ext cx="4762" cy="4763"/>
              </a:xfrm>
              <a:custGeom>
                <a:avLst/>
                <a:gdLst>
                  <a:gd name="T0" fmla="*/ 15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6"/>
                    </a:lnTo>
                    <a:lnTo>
                      <a:pt x="29" y="10"/>
                    </a:lnTo>
                    <a:lnTo>
                      <a:pt x="30"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987" name="Freeform 495"/>
              <p:cNvSpPr>
                <a:spLocks/>
              </p:cNvSpPr>
              <p:nvPr/>
            </p:nvSpPr>
            <p:spPr bwMode="auto">
              <a:xfrm>
                <a:off x="11079113"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988" name="Freeform 496"/>
              <p:cNvSpPr>
                <a:spLocks/>
              </p:cNvSpPr>
              <p:nvPr/>
            </p:nvSpPr>
            <p:spPr bwMode="auto">
              <a:xfrm>
                <a:off x="11093399"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989" name="Freeform 497"/>
              <p:cNvSpPr>
                <a:spLocks/>
              </p:cNvSpPr>
              <p:nvPr/>
            </p:nvSpPr>
            <p:spPr bwMode="auto">
              <a:xfrm>
                <a:off x="11107685"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1" y="29"/>
                    </a:lnTo>
                    <a:lnTo>
                      <a:pt x="7" y="27"/>
                    </a:lnTo>
                    <a:lnTo>
                      <a:pt x="4" y="23"/>
                    </a:lnTo>
                    <a:lnTo>
                      <a:pt x="1" y="20"/>
                    </a:lnTo>
                    <a:lnTo>
                      <a:pt x="0" y="15"/>
                    </a:lnTo>
                    <a:lnTo>
                      <a:pt x="1" y="10"/>
                    </a:lnTo>
                    <a:lnTo>
                      <a:pt x="4" y="6"/>
                    </a:lnTo>
                    <a:lnTo>
                      <a:pt x="7" y="4"/>
                    </a:lnTo>
                    <a:lnTo>
                      <a:pt x="11" y="1"/>
                    </a:lnTo>
                    <a:lnTo>
                      <a:pt x="16" y="0"/>
                    </a:lnTo>
                    <a:close/>
                  </a:path>
                </a:pathLst>
              </a:custGeom>
              <a:solidFill>
                <a:schemeClr val="accent5"/>
              </a:solidFill>
              <a:ln>
                <a:noFill/>
              </a:ln>
            </p:spPr>
            <p:txBody>
              <a:bodyPr/>
              <a:lstStyle/>
              <a:p>
                <a:endParaRPr lang="de-DE" dirty="0"/>
              </a:p>
            </p:txBody>
          </p:sp>
          <p:sp>
            <p:nvSpPr>
              <p:cNvPr id="990" name="Freeform 498"/>
              <p:cNvSpPr>
                <a:spLocks/>
              </p:cNvSpPr>
              <p:nvPr/>
            </p:nvSpPr>
            <p:spPr bwMode="auto">
              <a:xfrm>
                <a:off x="111219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991" name="Freeform 499"/>
              <p:cNvSpPr>
                <a:spLocks/>
              </p:cNvSpPr>
              <p:nvPr/>
            </p:nvSpPr>
            <p:spPr bwMode="auto">
              <a:xfrm>
                <a:off x="11136257"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992" name="Freeform 500"/>
              <p:cNvSpPr>
                <a:spLocks/>
              </p:cNvSpPr>
              <p:nvPr/>
            </p:nvSpPr>
            <p:spPr bwMode="auto">
              <a:xfrm>
                <a:off x="11148956"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993" name="Freeform 501"/>
              <p:cNvSpPr>
                <a:spLocks/>
              </p:cNvSpPr>
              <p:nvPr/>
            </p:nvSpPr>
            <p:spPr bwMode="auto">
              <a:xfrm>
                <a:off x="11163242"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994" name="Freeform 502"/>
              <p:cNvSpPr>
                <a:spLocks/>
              </p:cNvSpPr>
              <p:nvPr/>
            </p:nvSpPr>
            <p:spPr bwMode="auto">
              <a:xfrm>
                <a:off x="11177528"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995" name="Freeform 503"/>
              <p:cNvSpPr>
                <a:spLocks/>
              </p:cNvSpPr>
              <p:nvPr/>
            </p:nvSpPr>
            <p:spPr bwMode="auto">
              <a:xfrm>
                <a:off x="11190227"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996" name="Freeform 504"/>
              <p:cNvSpPr>
                <a:spLocks/>
              </p:cNvSpPr>
              <p:nvPr/>
            </p:nvSpPr>
            <p:spPr bwMode="auto">
              <a:xfrm>
                <a:off x="112045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997" name="Freeform 505"/>
              <p:cNvSpPr>
                <a:spLocks/>
              </p:cNvSpPr>
              <p:nvPr/>
            </p:nvSpPr>
            <p:spPr bwMode="auto">
              <a:xfrm>
                <a:off x="11218799"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998" name="Freeform 506"/>
              <p:cNvSpPr>
                <a:spLocks/>
              </p:cNvSpPr>
              <p:nvPr/>
            </p:nvSpPr>
            <p:spPr bwMode="auto">
              <a:xfrm>
                <a:off x="11233085"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999" name="Freeform 507"/>
              <p:cNvSpPr>
                <a:spLocks/>
              </p:cNvSpPr>
              <p:nvPr/>
            </p:nvSpPr>
            <p:spPr bwMode="auto">
              <a:xfrm>
                <a:off x="112473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000" name="Freeform 508"/>
              <p:cNvSpPr>
                <a:spLocks/>
              </p:cNvSpPr>
              <p:nvPr/>
            </p:nvSpPr>
            <p:spPr bwMode="auto">
              <a:xfrm>
                <a:off x="11260070" y="5736216"/>
                <a:ext cx="4762" cy="4763"/>
              </a:xfrm>
              <a:custGeom>
                <a:avLst/>
                <a:gdLst>
                  <a:gd name="T0" fmla="*/ 15 w 29"/>
                  <a:gd name="T1" fmla="*/ 0 h 30"/>
                  <a:gd name="T2" fmla="*/ 19 w 29"/>
                  <a:gd name="T3" fmla="*/ 1 h 30"/>
                  <a:gd name="T4" fmla="*/ 23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6"/>
                    </a:lnTo>
                    <a:lnTo>
                      <a:pt x="29" y="10"/>
                    </a:lnTo>
                    <a:lnTo>
                      <a:pt x="29"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001" name="Freeform 509"/>
              <p:cNvSpPr>
                <a:spLocks/>
              </p:cNvSpPr>
              <p:nvPr/>
            </p:nvSpPr>
            <p:spPr bwMode="auto">
              <a:xfrm>
                <a:off x="11274356"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002" name="Freeform 510"/>
              <p:cNvSpPr>
                <a:spLocks/>
              </p:cNvSpPr>
              <p:nvPr/>
            </p:nvSpPr>
            <p:spPr bwMode="auto">
              <a:xfrm>
                <a:off x="11288642"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1003" name="Freeform 511"/>
              <p:cNvSpPr>
                <a:spLocks/>
              </p:cNvSpPr>
              <p:nvPr/>
            </p:nvSpPr>
            <p:spPr bwMode="auto">
              <a:xfrm>
                <a:off x="113029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004" name="Freeform 512"/>
              <p:cNvSpPr>
                <a:spLocks/>
              </p:cNvSpPr>
              <p:nvPr/>
            </p:nvSpPr>
            <p:spPr bwMode="auto">
              <a:xfrm>
                <a:off x="113156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005" name="Freeform 513"/>
              <p:cNvSpPr>
                <a:spLocks/>
              </p:cNvSpPr>
              <p:nvPr/>
            </p:nvSpPr>
            <p:spPr bwMode="auto">
              <a:xfrm>
                <a:off x="113299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006" name="Freeform 514"/>
              <p:cNvSpPr>
                <a:spLocks/>
              </p:cNvSpPr>
              <p:nvPr/>
            </p:nvSpPr>
            <p:spPr bwMode="auto">
              <a:xfrm>
                <a:off x="11344199"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007" name="Freeform 515"/>
              <p:cNvSpPr>
                <a:spLocks/>
              </p:cNvSpPr>
              <p:nvPr/>
            </p:nvSpPr>
            <p:spPr bwMode="auto">
              <a:xfrm>
                <a:off x="11358485" y="5736216"/>
                <a:ext cx="4762" cy="4763"/>
              </a:xfrm>
              <a:custGeom>
                <a:avLst/>
                <a:gdLst>
                  <a:gd name="T0" fmla="*/ 16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6"/>
                    </a:lnTo>
                    <a:lnTo>
                      <a:pt x="29" y="10"/>
                    </a:lnTo>
                    <a:lnTo>
                      <a:pt x="30" y="15"/>
                    </a:lnTo>
                    <a:lnTo>
                      <a:pt x="29" y="20"/>
                    </a:lnTo>
                    <a:lnTo>
                      <a:pt x="27" y="23"/>
                    </a:lnTo>
                    <a:lnTo>
                      <a:pt x="23"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008" name="Freeform 516"/>
              <p:cNvSpPr>
                <a:spLocks/>
              </p:cNvSpPr>
              <p:nvPr/>
            </p:nvSpPr>
            <p:spPr bwMode="auto">
              <a:xfrm>
                <a:off x="11371184" y="5736216"/>
                <a:ext cx="4762" cy="4763"/>
              </a:xfrm>
              <a:custGeom>
                <a:avLst/>
                <a:gdLst>
                  <a:gd name="T0" fmla="*/ 15 w 29"/>
                  <a:gd name="T1" fmla="*/ 0 h 30"/>
                  <a:gd name="T2" fmla="*/ 19 w 29"/>
                  <a:gd name="T3" fmla="*/ 1 h 30"/>
                  <a:gd name="T4" fmla="*/ 24 w 29"/>
                  <a:gd name="T5" fmla="*/ 4 h 30"/>
                  <a:gd name="T6" fmla="*/ 27 w 29"/>
                  <a:gd name="T7" fmla="*/ 6 h 30"/>
                  <a:gd name="T8" fmla="*/ 28 w 29"/>
                  <a:gd name="T9" fmla="*/ 10 h 30"/>
                  <a:gd name="T10" fmla="*/ 29 w 29"/>
                  <a:gd name="T11" fmla="*/ 15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8" y="10"/>
                    </a:lnTo>
                    <a:lnTo>
                      <a:pt x="29" y="15"/>
                    </a:lnTo>
                    <a:lnTo>
                      <a:pt x="28" y="20"/>
                    </a:lnTo>
                    <a:lnTo>
                      <a:pt x="27" y="23"/>
                    </a:lnTo>
                    <a:lnTo>
                      <a:pt x="24" y="27"/>
                    </a:lnTo>
                    <a:lnTo>
                      <a:pt x="19" y="29"/>
                    </a:lnTo>
                    <a:lnTo>
                      <a:pt x="15" y="30"/>
                    </a:lnTo>
                    <a:lnTo>
                      <a:pt x="9" y="29"/>
                    </a:lnTo>
                    <a:lnTo>
                      <a:pt x="6" y="27"/>
                    </a:lnTo>
                    <a:lnTo>
                      <a:pt x="3" y="23"/>
                    </a:lnTo>
                    <a:lnTo>
                      <a:pt x="1" y="20"/>
                    </a:lnTo>
                    <a:lnTo>
                      <a:pt x="0" y="15"/>
                    </a:lnTo>
                    <a:lnTo>
                      <a:pt x="1" y="10"/>
                    </a:lnTo>
                    <a:lnTo>
                      <a:pt x="3" y="6"/>
                    </a:lnTo>
                    <a:lnTo>
                      <a:pt x="6" y="4"/>
                    </a:lnTo>
                    <a:lnTo>
                      <a:pt x="9" y="1"/>
                    </a:lnTo>
                    <a:lnTo>
                      <a:pt x="15" y="0"/>
                    </a:lnTo>
                    <a:close/>
                  </a:path>
                </a:pathLst>
              </a:custGeom>
              <a:solidFill>
                <a:schemeClr val="accent5"/>
              </a:solidFill>
              <a:ln>
                <a:noFill/>
              </a:ln>
            </p:spPr>
            <p:txBody>
              <a:bodyPr/>
              <a:lstStyle/>
              <a:p>
                <a:endParaRPr lang="de-DE" dirty="0"/>
              </a:p>
            </p:txBody>
          </p:sp>
          <p:sp>
            <p:nvSpPr>
              <p:cNvPr id="1009" name="Freeform 517"/>
              <p:cNvSpPr>
                <a:spLocks/>
              </p:cNvSpPr>
              <p:nvPr/>
            </p:nvSpPr>
            <p:spPr bwMode="auto">
              <a:xfrm>
                <a:off x="11385470"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1010" name="Freeform 518"/>
              <p:cNvSpPr>
                <a:spLocks/>
              </p:cNvSpPr>
              <p:nvPr/>
            </p:nvSpPr>
            <p:spPr bwMode="auto">
              <a:xfrm>
                <a:off x="11399756"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011" name="Freeform 519"/>
              <p:cNvSpPr>
                <a:spLocks/>
              </p:cNvSpPr>
              <p:nvPr/>
            </p:nvSpPr>
            <p:spPr bwMode="auto">
              <a:xfrm>
                <a:off x="11414042"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012" name="Freeform 520"/>
              <p:cNvSpPr>
                <a:spLocks/>
              </p:cNvSpPr>
              <p:nvPr/>
            </p:nvSpPr>
            <p:spPr bwMode="auto">
              <a:xfrm>
                <a:off x="114283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013" name="Freeform 521"/>
              <p:cNvSpPr>
                <a:spLocks/>
              </p:cNvSpPr>
              <p:nvPr/>
            </p:nvSpPr>
            <p:spPr bwMode="auto">
              <a:xfrm>
                <a:off x="114410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014" name="Freeform 522"/>
              <p:cNvSpPr>
                <a:spLocks/>
              </p:cNvSpPr>
              <p:nvPr/>
            </p:nvSpPr>
            <p:spPr bwMode="auto">
              <a:xfrm>
                <a:off x="10967999"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015" name="Freeform 523"/>
              <p:cNvSpPr>
                <a:spLocks/>
              </p:cNvSpPr>
              <p:nvPr/>
            </p:nvSpPr>
            <p:spPr bwMode="auto">
              <a:xfrm>
                <a:off x="10982285"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16" name="Freeform 525"/>
              <p:cNvSpPr>
                <a:spLocks/>
              </p:cNvSpPr>
              <p:nvPr/>
            </p:nvSpPr>
            <p:spPr bwMode="auto">
              <a:xfrm>
                <a:off x="10996571" y="5790197"/>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1017" name="Freeform 526"/>
              <p:cNvSpPr>
                <a:spLocks/>
              </p:cNvSpPr>
              <p:nvPr/>
            </p:nvSpPr>
            <p:spPr bwMode="auto">
              <a:xfrm>
                <a:off x="11010857" y="5790197"/>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018" name="Freeform 527"/>
              <p:cNvSpPr>
                <a:spLocks/>
              </p:cNvSpPr>
              <p:nvPr/>
            </p:nvSpPr>
            <p:spPr bwMode="auto">
              <a:xfrm>
                <a:off x="11023556"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019" name="Freeform 528"/>
              <p:cNvSpPr>
                <a:spLocks/>
              </p:cNvSpPr>
              <p:nvPr/>
            </p:nvSpPr>
            <p:spPr bwMode="auto">
              <a:xfrm>
                <a:off x="11037842"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020" name="Freeform 529"/>
              <p:cNvSpPr>
                <a:spLocks/>
              </p:cNvSpPr>
              <p:nvPr/>
            </p:nvSpPr>
            <p:spPr bwMode="auto">
              <a:xfrm>
                <a:off x="11052128"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21" name="Freeform 530"/>
              <p:cNvSpPr>
                <a:spLocks/>
              </p:cNvSpPr>
              <p:nvPr/>
            </p:nvSpPr>
            <p:spPr bwMode="auto">
              <a:xfrm>
                <a:off x="11066414" y="5790197"/>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022" name="Freeform 531"/>
              <p:cNvSpPr>
                <a:spLocks/>
              </p:cNvSpPr>
              <p:nvPr/>
            </p:nvSpPr>
            <p:spPr bwMode="auto">
              <a:xfrm>
                <a:off x="11079113"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023" name="Freeform 532"/>
              <p:cNvSpPr>
                <a:spLocks/>
              </p:cNvSpPr>
              <p:nvPr/>
            </p:nvSpPr>
            <p:spPr bwMode="auto">
              <a:xfrm>
                <a:off x="11093399"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024" name="Freeform 533"/>
              <p:cNvSpPr>
                <a:spLocks/>
              </p:cNvSpPr>
              <p:nvPr/>
            </p:nvSpPr>
            <p:spPr bwMode="auto">
              <a:xfrm>
                <a:off x="11107685"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1025" name="Freeform 534"/>
              <p:cNvSpPr>
                <a:spLocks/>
              </p:cNvSpPr>
              <p:nvPr/>
            </p:nvSpPr>
            <p:spPr bwMode="auto">
              <a:xfrm>
                <a:off x="111219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26" name="Freeform 535"/>
              <p:cNvSpPr>
                <a:spLocks/>
              </p:cNvSpPr>
              <p:nvPr/>
            </p:nvSpPr>
            <p:spPr bwMode="auto">
              <a:xfrm>
                <a:off x="11136257"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027" name="Freeform 536"/>
              <p:cNvSpPr>
                <a:spLocks/>
              </p:cNvSpPr>
              <p:nvPr/>
            </p:nvSpPr>
            <p:spPr bwMode="auto">
              <a:xfrm>
                <a:off x="11148956"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028" name="Freeform 537"/>
              <p:cNvSpPr>
                <a:spLocks/>
              </p:cNvSpPr>
              <p:nvPr/>
            </p:nvSpPr>
            <p:spPr bwMode="auto">
              <a:xfrm>
                <a:off x="11163242"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029" name="Freeform 538"/>
              <p:cNvSpPr>
                <a:spLocks/>
              </p:cNvSpPr>
              <p:nvPr/>
            </p:nvSpPr>
            <p:spPr bwMode="auto">
              <a:xfrm>
                <a:off x="11177528"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30" name="Freeform 539"/>
              <p:cNvSpPr>
                <a:spLocks/>
              </p:cNvSpPr>
              <p:nvPr/>
            </p:nvSpPr>
            <p:spPr bwMode="auto">
              <a:xfrm>
                <a:off x="11190227"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031" name="Freeform 540"/>
              <p:cNvSpPr>
                <a:spLocks/>
              </p:cNvSpPr>
              <p:nvPr/>
            </p:nvSpPr>
            <p:spPr bwMode="auto">
              <a:xfrm>
                <a:off x="112045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032" name="Freeform 541"/>
              <p:cNvSpPr>
                <a:spLocks/>
              </p:cNvSpPr>
              <p:nvPr/>
            </p:nvSpPr>
            <p:spPr bwMode="auto">
              <a:xfrm>
                <a:off x="11218799"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033" name="Freeform 542"/>
              <p:cNvSpPr>
                <a:spLocks/>
              </p:cNvSpPr>
              <p:nvPr/>
            </p:nvSpPr>
            <p:spPr bwMode="auto">
              <a:xfrm>
                <a:off x="11233085"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034" name="Freeform 543"/>
              <p:cNvSpPr>
                <a:spLocks/>
              </p:cNvSpPr>
              <p:nvPr/>
            </p:nvSpPr>
            <p:spPr bwMode="auto">
              <a:xfrm>
                <a:off x="112473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35" name="Freeform 544"/>
              <p:cNvSpPr>
                <a:spLocks/>
              </p:cNvSpPr>
              <p:nvPr/>
            </p:nvSpPr>
            <p:spPr bwMode="auto">
              <a:xfrm>
                <a:off x="11260070" y="5790197"/>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036" name="Freeform 545"/>
              <p:cNvSpPr>
                <a:spLocks/>
              </p:cNvSpPr>
              <p:nvPr/>
            </p:nvSpPr>
            <p:spPr bwMode="auto">
              <a:xfrm>
                <a:off x="11274356"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037" name="Freeform 546"/>
              <p:cNvSpPr>
                <a:spLocks/>
              </p:cNvSpPr>
              <p:nvPr/>
            </p:nvSpPr>
            <p:spPr bwMode="auto">
              <a:xfrm>
                <a:off x="11288642"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038" name="Freeform 547"/>
              <p:cNvSpPr>
                <a:spLocks/>
              </p:cNvSpPr>
              <p:nvPr/>
            </p:nvSpPr>
            <p:spPr bwMode="auto">
              <a:xfrm>
                <a:off x="113029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039" name="Freeform 548"/>
              <p:cNvSpPr>
                <a:spLocks/>
              </p:cNvSpPr>
              <p:nvPr/>
            </p:nvSpPr>
            <p:spPr bwMode="auto">
              <a:xfrm>
                <a:off x="113156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40" name="Freeform 549"/>
              <p:cNvSpPr>
                <a:spLocks/>
              </p:cNvSpPr>
              <p:nvPr/>
            </p:nvSpPr>
            <p:spPr bwMode="auto">
              <a:xfrm>
                <a:off x="113299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041" name="Freeform 550"/>
              <p:cNvSpPr>
                <a:spLocks/>
              </p:cNvSpPr>
              <p:nvPr/>
            </p:nvSpPr>
            <p:spPr bwMode="auto">
              <a:xfrm>
                <a:off x="11344199"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042" name="Freeform 551"/>
              <p:cNvSpPr>
                <a:spLocks/>
              </p:cNvSpPr>
              <p:nvPr/>
            </p:nvSpPr>
            <p:spPr bwMode="auto">
              <a:xfrm>
                <a:off x="11358485" y="5790197"/>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043" name="Freeform 552"/>
              <p:cNvSpPr>
                <a:spLocks/>
              </p:cNvSpPr>
              <p:nvPr/>
            </p:nvSpPr>
            <p:spPr bwMode="auto">
              <a:xfrm>
                <a:off x="11371184" y="5790197"/>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1044" name="Freeform 553"/>
              <p:cNvSpPr>
                <a:spLocks/>
              </p:cNvSpPr>
              <p:nvPr/>
            </p:nvSpPr>
            <p:spPr bwMode="auto">
              <a:xfrm>
                <a:off x="11385470"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045" name="Freeform 554"/>
              <p:cNvSpPr>
                <a:spLocks/>
              </p:cNvSpPr>
              <p:nvPr/>
            </p:nvSpPr>
            <p:spPr bwMode="auto">
              <a:xfrm>
                <a:off x="11399756"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046" name="Freeform 555"/>
              <p:cNvSpPr>
                <a:spLocks/>
              </p:cNvSpPr>
              <p:nvPr/>
            </p:nvSpPr>
            <p:spPr bwMode="auto">
              <a:xfrm>
                <a:off x="11414042"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047" name="Freeform 556"/>
              <p:cNvSpPr>
                <a:spLocks/>
              </p:cNvSpPr>
              <p:nvPr/>
            </p:nvSpPr>
            <p:spPr bwMode="auto">
              <a:xfrm>
                <a:off x="114283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048" name="Freeform 557"/>
              <p:cNvSpPr>
                <a:spLocks/>
              </p:cNvSpPr>
              <p:nvPr/>
            </p:nvSpPr>
            <p:spPr bwMode="auto">
              <a:xfrm>
                <a:off x="114410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049" name="Freeform 558"/>
              <p:cNvSpPr>
                <a:spLocks/>
              </p:cNvSpPr>
              <p:nvPr/>
            </p:nvSpPr>
            <p:spPr bwMode="auto">
              <a:xfrm>
                <a:off x="10967999"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050" name="Freeform 559"/>
              <p:cNvSpPr>
                <a:spLocks/>
              </p:cNvSpPr>
              <p:nvPr/>
            </p:nvSpPr>
            <p:spPr bwMode="auto">
              <a:xfrm>
                <a:off x="10982285"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51" name="Freeform 560"/>
              <p:cNvSpPr>
                <a:spLocks/>
              </p:cNvSpPr>
              <p:nvPr/>
            </p:nvSpPr>
            <p:spPr bwMode="auto">
              <a:xfrm>
                <a:off x="10996571" y="5845766"/>
                <a:ext cx="4762" cy="3175"/>
              </a:xfrm>
              <a:custGeom>
                <a:avLst/>
                <a:gdLst>
                  <a:gd name="T0" fmla="*/ 14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0"/>
                    </a:lnTo>
                    <a:lnTo>
                      <a:pt x="30" y="16"/>
                    </a:lnTo>
                    <a:lnTo>
                      <a:pt x="29" y="20"/>
                    </a:lnTo>
                    <a:lnTo>
                      <a:pt x="27" y="23"/>
                    </a:lnTo>
                    <a:lnTo>
                      <a:pt x="23" y="27"/>
                    </a:lnTo>
                    <a:lnTo>
                      <a:pt x="19" y="29"/>
                    </a:lnTo>
                    <a:lnTo>
                      <a:pt x="14" y="30"/>
                    </a:lnTo>
                    <a:lnTo>
                      <a:pt x="10" y="29"/>
                    </a:lnTo>
                    <a:lnTo>
                      <a:pt x="6" y="27"/>
                    </a:lnTo>
                    <a:lnTo>
                      <a:pt x="2" y="23"/>
                    </a:lnTo>
                    <a:lnTo>
                      <a:pt x="0" y="20"/>
                    </a:lnTo>
                    <a:lnTo>
                      <a:pt x="0" y="16"/>
                    </a:lnTo>
                    <a:lnTo>
                      <a:pt x="0" y="10"/>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1052" name="Freeform 561"/>
              <p:cNvSpPr>
                <a:spLocks/>
              </p:cNvSpPr>
              <p:nvPr/>
            </p:nvSpPr>
            <p:spPr bwMode="auto">
              <a:xfrm>
                <a:off x="11010857" y="5845766"/>
                <a:ext cx="4762" cy="3175"/>
              </a:xfrm>
              <a:custGeom>
                <a:avLst/>
                <a:gdLst>
                  <a:gd name="T0" fmla="*/ 15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0"/>
                    </a:lnTo>
                    <a:lnTo>
                      <a:pt x="30" y="16"/>
                    </a:lnTo>
                    <a:lnTo>
                      <a:pt x="29" y="20"/>
                    </a:lnTo>
                    <a:lnTo>
                      <a:pt x="27" y="23"/>
                    </a:lnTo>
                    <a:lnTo>
                      <a:pt x="24" y="27"/>
                    </a:lnTo>
                    <a:lnTo>
                      <a:pt x="20"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053" name="Freeform 562"/>
              <p:cNvSpPr>
                <a:spLocks/>
              </p:cNvSpPr>
              <p:nvPr/>
            </p:nvSpPr>
            <p:spPr bwMode="auto">
              <a:xfrm>
                <a:off x="11023556"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054" name="Freeform 563"/>
              <p:cNvSpPr>
                <a:spLocks/>
              </p:cNvSpPr>
              <p:nvPr/>
            </p:nvSpPr>
            <p:spPr bwMode="auto">
              <a:xfrm>
                <a:off x="11037842"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055" name="Freeform 564"/>
              <p:cNvSpPr>
                <a:spLocks/>
              </p:cNvSpPr>
              <p:nvPr/>
            </p:nvSpPr>
            <p:spPr bwMode="auto">
              <a:xfrm>
                <a:off x="11052128"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56" name="Freeform 565"/>
              <p:cNvSpPr>
                <a:spLocks/>
              </p:cNvSpPr>
              <p:nvPr/>
            </p:nvSpPr>
            <p:spPr bwMode="auto">
              <a:xfrm>
                <a:off x="11066414" y="5845766"/>
                <a:ext cx="4762" cy="3175"/>
              </a:xfrm>
              <a:custGeom>
                <a:avLst/>
                <a:gdLst>
                  <a:gd name="T0" fmla="*/ 15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0"/>
                    </a:lnTo>
                    <a:lnTo>
                      <a:pt x="30"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057" name="Freeform 566"/>
              <p:cNvSpPr>
                <a:spLocks/>
              </p:cNvSpPr>
              <p:nvPr/>
            </p:nvSpPr>
            <p:spPr bwMode="auto">
              <a:xfrm>
                <a:off x="11079113"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058" name="Freeform 567"/>
              <p:cNvSpPr>
                <a:spLocks/>
              </p:cNvSpPr>
              <p:nvPr/>
            </p:nvSpPr>
            <p:spPr bwMode="auto">
              <a:xfrm>
                <a:off x="11093399"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059" name="Freeform 568"/>
              <p:cNvSpPr>
                <a:spLocks/>
              </p:cNvSpPr>
              <p:nvPr/>
            </p:nvSpPr>
            <p:spPr bwMode="auto">
              <a:xfrm>
                <a:off x="11107685"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1" y="29"/>
                    </a:lnTo>
                    <a:lnTo>
                      <a:pt x="7" y="27"/>
                    </a:lnTo>
                    <a:lnTo>
                      <a:pt x="4" y="23"/>
                    </a:lnTo>
                    <a:lnTo>
                      <a:pt x="1" y="20"/>
                    </a:lnTo>
                    <a:lnTo>
                      <a:pt x="0" y="16"/>
                    </a:lnTo>
                    <a:lnTo>
                      <a:pt x="1" y="10"/>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1060" name="Freeform 569"/>
              <p:cNvSpPr>
                <a:spLocks/>
              </p:cNvSpPr>
              <p:nvPr/>
            </p:nvSpPr>
            <p:spPr bwMode="auto">
              <a:xfrm>
                <a:off x="111219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61" name="Freeform 570"/>
              <p:cNvSpPr>
                <a:spLocks/>
              </p:cNvSpPr>
              <p:nvPr/>
            </p:nvSpPr>
            <p:spPr bwMode="auto">
              <a:xfrm>
                <a:off x="11136257"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062" name="Freeform 571"/>
              <p:cNvSpPr>
                <a:spLocks/>
              </p:cNvSpPr>
              <p:nvPr/>
            </p:nvSpPr>
            <p:spPr bwMode="auto">
              <a:xfrm>
                <a:off x="11148956"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063" name="Freeform 572"/>
              <p:cNvSpPr>
                <a:spLocks/>
              </p:cNvSpPr>
              <p:nvPr/>
            </p:nvSpPr>
            <p:spPr bwMode="auto">
              <a:xfrm>
                <a:off x="11163242"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064" name="Freeform 573"/>
              <p:cNvSpPr>
                <a:spLocks/>
              </p:cNvSpPr>
              <p:nvPr/>
            </p:nvSpPr>
            <p:spPr bwMode="auto">
              <a:xfrm>
                <a:off x="11177528"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65" name="Freeform 574"/>
              <p:cNvSpPr>
                <a:spLocks/>
              </p:cNvSpPr>
              <p:nvPr/>
            </p:nvSpPr>
            <p:spPr bwMode="auto">
              <a:xfrm>
                <a:off x="11190227"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066" name="Freeform 575"/>
              <p:cNvSpPr>
                <a:spLocks/>
              </p:cNvSpPr>
              <p:nvPr/>
            </p:nvSpPr>
            <p:spPr bwMode="auto">
              <a:xfrm>
                <a:off x="112045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067" name="Freeform 576"/>
              <p:cNvSpPr>
                <a:spLocks/>
              </p:cNvSpPr>
              <p:nvPr/>
            </p:nvSpPr>
            <p:spPr bwMode="auto">
              <a:xfrm>
                <a:off x="11218799"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068" name="Freeform 577"/>
              <p:cNvSpPr>
                <a:spLocks/>
              </p:cNvSpPr>
              <p:nvPr/>
            </p:nvSpPr>
            <p:spPr bwMode="auto">
              <a:xfrm>
                <a:off x="11233085"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069" name="Freeform 578"/>
              <p:cNvSpPr>
                <a:spLocks/>
              </p:cNvSpPr>
              <p:nvPr/>
            </p:nvSpPr>
            <p:spPr bwMode="auto">
              <a:xfrm>
                <a:off x="112473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70" name="Freeform 579"/>
              <p:cNvSpPr>
                <a:spLocks/>
              </p:cNvSpPr>
              <p:nvPr/>
            </p:nvSpPr>
            <p:spPr bwMode="auto">
              <a:xfrm>
                <a:off x="11260070" y="5845766"/>
                <a:ext cx="4762" cy="3175"/>
              </a:xfrm>
              <a:custGeom>
                <a:avLst/>
                <a:gdLst>
                  <a:gd name="T0" fmla="*/ 15 w 29"/>
                  <a:gd name="T1" fmla="*/ 0 h 30"/>
                  <a:gd name="T2" fmla="*/ 19 w 29"/>
                  <a:gd name="T3" fmla="*/ 1 h 30"/>
                  <a:gd name="T4" fmla="*/ 23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0"/>
                    </a:lnTo>
                    <a:lnTo>
                      <a:pt x="29"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071" name="Freeform 580"/>
              <p:cNvSpPr>
                <a:spLocks/>
              </p:cNvSpPr>
              <p:nvPr/>
            </p:nvSpPr>
            <p:spPr bwMode="auto">
              <a:xfrm>
                <a:off x="11274356"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072" name="Freeform 581"/>
              <p:cNvSpPr>
                <a:spLocks/>
              </p:cNvSpPr>
              <p:nvPr/>
            </p:nvSpPr>
            <p:spPr bwMode="auto">
              <a:xfrm>
                <a:off x="11288642"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073" name="Freeform 582"/>
              <p:cNvSpPr>
                <a:spLocks/>
              </p:cNvSpPr>
              <p:nvPr/>
            </p:nvSpPr>
            <p:spPr bwMode="auto">
              <a:xfrm>
                <a:off x="113029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074" name="Freeform 583"/>
              <p:cNvSpPr>
                <a:spLocks/>
              </p:cNvSpPr>
              <p:nvPr/>
            </p:nvSpPr>
            <p:spPr bwMode="auto">
              <a:xfrm>
                <a:off x="113156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75" name="Freeform 584"/>
              <p:cNvSpPr>
                <a:spLocks/>
              </p:cNvSpPr>
              <p:nvPr/>
            </p:nvSpPr>
            <p:spPr bwMode="auto">
              <a:xfrm>
                <a:off x="113299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076" name="Freeform 585"/>
              <p:cNvSpPr>
                <a:spLocks/>
              </p:cNvSpPr>
              <p:nvPr/>
            </p:nvSpPr>
            <p:spPr bwMode="auto">
              <a:xfrm>
                <a:off x="11344199"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077" name="Freeform 586"/>
              <p:cNvSpPr>
                <a:spLocks/>
              </p:cNvSpPr>
              <p:nvPr/>
            </p:nvSpPr>
            <p:spPr bwMode="auto">
              <a:xfrm>
                <a:off x="11358485" y="5845766"/>
                <a:ext cx="4762" cy="3175"/>
              </a:xfrm>
              <a:custGeom>
                <a:avLst/>
                <a:gdLst>
                  <a:gd name="T0" fmla="*/ 16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0"/>
                    </a:lnTo>
                    <a:lnTo>
                      <a:pt x="30" y="16"/>
                    </a:lnTo>
                    <a:lnTo>
                      <a:pt x="29" y="20"/>
                    </a:lnTo>
                    <a:lnTo>
                      <a:pt x="27" y="23"/>
                    </a:lnTo>
                    <a:lnTo>
                      <a:pt x="23"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078" name="Freeform 587"/>
              <p:cNvSpPr>
                <a:spLocks/>
              </p:cNvSpPr>
              <p:nvPr/>
            </p:nvSpPr>
            <p:spPr bwMode="auto">
              <a:xfrm>
                <a:off x="11371184" y="5845766"/>
                <a:ext cx="4762" cy="3175"/>
              </a:xfrm>
              <a:custGeom>
                <a:avLst/>
                <a:gdLst>
                  <a:gd name="T0" fmla="*/ 15 w 29"/>
                  <a:gd name="T1" fmla="*/ 0 h 30"/>
                  <a:gd name="T2" fmla="*/ 19 w 29"/>
                  <a:gd name="T3" fmla="*/ 1 h 30"/>
                  <a:gd name="T4" fmla="*/ 24 w 29"/>
                  <a:gd name="T5" fmla="*/ 3 h 30"/>
                  <a:gd name="T6" fmla="*/ 27 w 29"/>
                  <a:gd name="T7" fmla="*/ 7 h 30"/>
                  <a:gd name="T8" fmla="*/ 28 w 29"/>
                  <a:gd name="T9" fmla="*/ 10 h 30"/>
                  <a:gd name="T10" fmla="*/ 29 w 29"/>
                  <a:gd name="T11" fmla="*/ 16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0"/>
                    </a:lnTo>
                    <a:lnTo>
                      <a:pt x="29" y="16"/>
                    </a:lnTo>
                    <a:lnTo>
                      <a:pt x="28" y="20"/>
                    </a:lnTo>
                    <a:lnTo>
                      <a:pt x="27" y="23"/>
                    </a:lnTo>
                    <a:lnTo>
                      <a:pt x="24" y="27"/>
                    </a:lnTo>
                    <a:lnTo>
                      <a:pt x="19" y="29"/>
                    </a:lnTo>
                    <a:lnTo>
                      <a:pt x="15" y="30"/>
                    </a:lnTo>
                    <a:lnTo>
                      <a:pt x="9" y="29"/>
                    </a:lnTo>
                    <a:lnTo>
                      <a:pt x="6" y="27"/>
                    </a:lnTo>
                    <a:lnTo>
                      <a:pt x="3" y="23"/>
                    </a:lnTo>
                    <a:lnTo>
                      <a:pt x="1" y="20"/>
                    </a:lnTo>
                    <a:lnTo>
                      <a:pt x="0" y="16"/>
                    </a:lnTo>
                    <a:lnTo>
                      <a:pt x="1" y="10"/>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1079" name="Freeform 588"/>
              <p:cNvSpPr>
                <a:spLocks/>
              </p:cNvSpPr>
              <p:nvPr/>
            </p:nvSpPr>
            <p:spPr bwMode="auto">
              <a:xfrm>
                <a:off x="11385470"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080" name="Freeform 589"/>
              <p:cNvSpPr>
                <a:spLocks/>
              </p:cNvSpPr>
              <p:nvPr/>
            </p:nvSpPr>
            <p:spPr bwMode="auto">
              <a:xfrm>
                <a:off x="11399756"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081" name="Freeform 590"/>
              <p:cNvSpPr>
                <a:spLocks/>
              </p:cNvSpPr>
              <p:nvPr/>
            </p:nvSpPr>
            <p:spPr bwMode="auto">
              <a:xfrm>
                <a:off x="11414042"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082" name="Freeform 591"/>
              <p:cNvSpPr>
                <a:spLocks/>
              </p:cNvSpPr>
              <p:nvPr/>
            </p:nvSpPr>
            <p:spPr bwMode="auto">
              <a:xfrm>
                <a:off x="114283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083" name="Freeform 592"/>
              <p:cNvSpPr>
                <a:spLocks/>
              </p:cNvSpPr>
              <p:nvPr/>
            </p:nvSpPr>
            <p:spPr bwMode="auto">
              <a:xfrm>
                <a:off x="114410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084" name="Freeform 593"/>
              <p:cNvSpPr>
                <a:spLocks/>
              </p:cNvSpPr>
              <p:nvPr/>
            </p:nvSpPr>
            <p:spPr bwMode="auto">
              <a:xfrm>
                <a:off x="10967999"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085" name="Freeform 594"/>
              <p:cNvSpPr>
                <a:spLocks/>
              </p:cNvSpPr>
              <p:nvPr/>
            </p:nvSpPr>
            <p:spPr bwMode="auto">
              <a:xfrm>
                <a:off x="10982285"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086" name="Freeform 595"/>
              <p:cNvSpPr>
                <a:spLocks/>
              </p:cNvSpPr>
              <p:nvPr/>
            </p:nvSpPr>
            <p:spPr bwMode="auto">
              <a:xfrm>
                <a:off x="10996571" y="5899747"/>
                <a:ext cx="4762" cy="4763"/>
              </a:xfrm>
              <a:custGeom>
                <a:avLst/>
                <a:gdLst>
                  <a:gd name="T0" fmla="*/ 14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5"/>
                    </a:lnTo>
                    <a:lnTo>
                      <a:pt x="29" y="10"/>
                    </a:lnTo>
                    <a:lnTo>
                      <a:pt x="30" y="14"/>
                    </a:lnTo>
                    <a:lnTo>
                      <a:pt x="29" y="20"/>
                    </a:lnTo>
                    <a:lnTo>
                      <a:pt x="27" y="23"/>
                    </a:lnTo>
                    <a:lnTo>
                      <a:pt x="23" y="26"/>
                    </a:lnTo>
                    <a:lnTo>
                      <a:pt x="19" y="29"/>
                    </a:lnTo>
                    <a:lnTo>
                      <a:pt x="14" y="30"/>
                    </a:lnTo>
                    <a:lnTo>
                      <a:pt x="10" y="29"/>
                    </a:lnTo>
                    <a:lnTo>
                      <a:pt x="6" y="26"/>
                    </a:lnTo>
                    <a:lnTo>
                      <a:pt x="2" y="23"/>
                    </a:lnTo>
                    <a:lnTo>
                      <a:pt x="0" y="20"/>
                    </a:lnTo>
                    <a:lnTo>
                      <a:pt x="0" y="14"/>
                    </a:lnTo>
                    <a:lnTo>
                      <a:pt x="0" y="10"/>
                    </a:lnTo>
                    <a:lnTo>
                      <a:pt x="2" y="5"/>
                    </a:lnTo>
                    <a:lnTo>
                      <a:pt x="6" y="3"/>
                    </a:lnTo>
                    <a:lnTo>
                      <a:pt x="10" y="1"/>
                    </a:lnTo>
                    <a:lnTo>
                      <a:pt x="14" y="0"/>
                    </a:lnTo>
                    <a:close/>
                  </a:path>
                </a:pathLst>
              </a:custGeom>
              <a:solidFill>
                <a:schemeClr val="accent5"/>
              </a:solidFill>
              <a:ln>
                <a:noFill/>
              </a:ln>
            </p:spPr>
            <p:txBody>
              <a:bodyPr/>
              <a:lstStyle/>
              <a:p>
                <a:endParaRPr lang="de-DE" dirty="0"/>
              </a:p>
            </p:txBody>
          </p:sp>
          <p:sp>
            <p:nvSpPr>
              <p:cNvPr id="1087" name="Freeform 596"/>
              <p:cNvSpPr>
                <a:spLocks/>
              </p:cNvSpPr>
              <p:nvPr/>
            </p:nvSpPr>
            <p:spPr bwMode="auto">
              <a:xfrm>
                <a:off x="11010857" y="5899747"/>
                <a:ext cx="4762" cy="4763"/>
              </a:xfrm>
              <a:custGeom>
                <a:avLst/>
                <a:gdLst>
                  <a:gd name="T0" fmla="*/ 15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29" y="10"/>
                    </a:lnTo>
                    <a:lnTo>
                      <a:pt x="30" y="14"/>
                    </a:lnTo>
                    <a:lnTo>
                      <a:pt x="29" y="20"/>
                    </a:lnTo>
                    <a:lnTo>
                      <a:pt x="27" y="23"/>
                    </a:lnTo>
                    <a:lnTo>
                      <a:pt x="24" y="26"/>
                    </a:lnTo>
                    <a:lnTo>
                      <a:pt x="20"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088" name="Freeform 597"/>
              <p:cNvSpPr>
                <a:spLocks/>
              </p:cNvSpPr>
              <p:nvPr/>
            </p:nvSpPr>
            <p:spPr bwMode="auto">
              <a:xfrm>
                <a:off x="11023556"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1089" name="Freeform 598"/>
              <p:cNvSpPr>
                <a:spLocks/>
              </p:cNvSpPr>
              <p:nvPr/>
            </p:nvSpPr>
            <p:spPr bwMode="auto">
              <a:xfrm>
                <a:off x="11037842"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090" name="Freeform 599"/>
              <p:cNvSpPr>
                <a:spLocks/>
              </p:cNvSpPr>
              <p:nvPr/>
            </p:nvSpPr>
            <p:spPr bwMode="auto">
              <a:xfrm>
                <a:off x="11052128"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091" name="Freeform 600"/>
              <p:cNvSpPr>
                <a:spLocks/>
              </p:cNvSpPr>
              <p:nvPr/>
            </p:nvSpPr>
            <p:spPr bwMode="auto">
              <a:xfrm>
                <a:off x="11066414" y="5899747"/>
                <a:ext cx="4762" cy="4763"/>
              </a:xfrm>
              <a:custGeom>
                <a:avLst/>
                <a:gdLst>
                  <a:gd name="T0" fmla="*/ 15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5"/>
                    </a:lnTo>
                    <a:lnTo>
                      <a:pt x="29" y="10"/>
                    </a:lnTo>
                    <a:lnTo>
                      <a:pt x="30"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092" name="Freeform 601"/>
              <p:cNvSpPr>
                <a:spLocks/>
              </p:cNvSpPr>
              <p:nvPr/>
            </p:nvSpPr>
            <p:spPr bwMode="auto">
              <a:xfrm>
                <a:off x="11079113"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093" name="Freeform 602"/>
              <p:cNvSpPr>
                <a:spLocks/>
              </p:cNvSpPr>
              <p:nvPr/>
            </p:nvSpPr>
            <p:spPr bwMode="auto">
              <a:xfrm>
                <a:off x="11093399"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1094" name="Freeform 603"/>
              <p:cNvSpPr>
                <a:spLocks/>
              </p:cNvSpPr>
              <p:nvPr/>
            </p:nvSpPr>
            <p:spPr bwMode="auto">
              <a:xfrm>
                <a:off x="11107685"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1" y="29"/>
                    </a:lnTo>
                    <a:lnTo>
                      <a:pt x="7" y="26"/>
                    </a:lnTo>
                    <a:lnTo>
                      <a:pt x="4" y="23"/>
                    </a:lnTo>
                    <a:lnTo>
                      <a:pt x="1" y="20"/>
                    </a:lnTo>
                    <a:lnTo>
                      <a:pt x="0" y="14"/>
                    </a:lnTo>
                    <a:lnTo>
                      <a:pt x="1" y="10"/>
                    </a:lnTo>
                    <a:lnTo>
                      <a:pt x="4" y="5"/>
                    </a:lnTo>
                    <a:lnTo>
                      <a:pt x="7" y="3"/>
                    </a:lnTo>
                    <a:lnTo>
                      <a:pt x="11" y="1"/>
                    </a:lnTo>
                    <a:lnTo>
                      <a:pt x="16" y="0"/>
                    </a:lnTo>
                    <a:close/>
                  </a:path>
                </a:pathLst>
              </a:custGeom>
              <a:solidFill>
                <a:schemeClr val="accent5"/>
              </a:solidFill>
              <a:ln>
                <a:noFill/>
              </a:ln>
            </p:spPr>
            <p:txBody>
              <a:bodyPr/>
              <a:lstStyle/>
              <a:p>
                <a:endParaRPr lang="de-DE" dirty="0"/>
              </a:p>
            </p:txBody>
          </p:sp>
          <p:sp>
            <p:nvSpPr>
              <p:cNvPr id="1095" name="Freeform 604"/>
              <p:cNvSpPr>
                <a:spLocks/>
              </p:cNvSpPr>
              <p:nvPr/>
            </p:nvSpPr>
            <p:spPr bwMode="auto">
              <a:xfrm>
                <a:off x="111219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096" name="Freeform 605"/>
              <p:cNvSpPr>
                <a:spLocks/>
              </p:cNvSpPr>
              <p:nvPr/>
            </p:nvSpPr>
            <p:spPr bwMode="auto">
              <a:xfrm>
                <a:off x="11136257"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097" name="Freeform 606"/>
              <p:cNvSpPr>
                <a:spLocks/>
              </p:cNvSpPr>
              <p:nvPr/>
            </p:nvSpPr>
            <p:spPr bwMode="auto">
              <a:xfrm>
                <a:off x="11148956"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098" name="Freeform 607"/>
              <p:cNvSpPr>
                <a:spLocks/>
              </p:cNvSpPr>
              <p:nvPr/>
            </p:nvSpPr>
            <p:spPr bwMode="auto">
              <a:xfrm>
                <a:off x="11163242"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099" name="Freeform 608"/>
              <p:cNvSpPr>
                <a:spLocks/>
              </p:cNvSpPr>
              <p:nvPr/>
            </p:nvSpPr>
            <p:spPr bwMode="auto">
              <a:xfrm>
                <a:off x="11177528"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100" name="Freeform 609"/>
              <p:cNvSpPr>
                <a:spLocks/>
              </p:cNvSpPr>
              <p:nvPr/>
            </p:nvSpPr>
            <p:spPr bwMode="auto">
              <a:xfrm>
                <a:off x="11190227"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1101" name="Freeform 610"/>
              <p:cNvSpPr>
                <a:spLocks/>
              </p:cNvSpPr>
              <p:nvPr/>
            </p:nvSpPr>
            <p:spPr bwMode="auto">
              <a:xfrm>
                <a:off x="112045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102" name="Freeform 611"/>
              <p:cNvSpPr>
                <a:spLocks/>
              </p:cNvSpPr>
              <p:nvPr/>
            </p:nvSpPr>
            <p:spPr bwMode="auto">
              <a:xfrm>
                <a:off x="11218799"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1103" name="Freeform 612"/>
              <p:cNvSpPr>
                <a:spLocks/>
              </p:cNvSpPr>
              <p:nvPr/>
            </p:nvSpPr>
            <p:spPr bwMode="auto">
              <a:xfrm>
                <a:off x="11233085"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104" name="Freeform 613"/>
              <p:cNvSpPr>
                <a:spLocks/>
              </p:cNvSpPr>
              <p:nvPr/>
            </p:nvSpPr>
            <p:spPr bwMode="auto">
              <a:xfrm>
                <a:off x="112473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105" name="Freeform 614"/>
              <p:cNvSpPr>
                <a:spLocks/>
              </p:cNvSpPr>
              <p:nvPr/>
            </p:nvSpPr>
            <p:spPr bwMode="auto">
              <a:xfrm>
                <a:off x="11260070" y="5899747"/>
                <a:ext cx="4762" cy="4763"/>
              </a:xfrm>
              <a:custGeom>
                <a:avLst/>
                <a:gdLst>
                  <a:gd name="T0" fmla="*/ 15 w 29"/>
                  <a:gd name="T1" fmla="*/ 0 h 30"/>
                  <a:gd name="T2" fmla="*/ 19 w 29"/>
                  <a:gd name="T3" fmla="*/ 1 h 30"/>
                  <a:gd name="T4" fmla="*/ 23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5"/>
                    </a:lnTo>
                    <a:lnTo>
                      <a:pt x="29" y="10"/>
                    </a:lnTo>
                    <a:lnTo>
                      <a:pt x="29"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106" name="Freeform 615"/>
              <p:cNvSpPr>
                <a:spLocks/>
              </p:cNvSpPr>
              <p:nvPr/>
            </p:nvSpPr>
            <p:spPr bwMode="auto">
              <a:xfrm>
                <a:off x="11274356"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107" name="Freeform 616"/>
              <p:cNvSpPr>
                <a:spLocks/>
              </p:cNvSpPr>
              <p:nvPr/>
            </p:nvSpPr>
            <p:spPr bwMode="auto">
              <a:xfrm>
                <a:off x="11288642"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1108" name="Freeform 617"/>
              <p:cNvSpPr>
                <a:spLocks/>
              </p:cNvSpPr>
              <p:nvPr/>
            </p:nvSpPr>
            <p:spPr bwMode="auto">
              <a:xfrm>
                <a:off x="113029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109" name="Freeform 618"/>
              <p:cNvSpPr>
                <a:spLocks/>
              </p:cNvSpPr>
              <p:nvPr/>
            </p:nvSpPr>
            <p:spPr bwMode="auto">
              <a:xfrm>
                <a:off x="113156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110" name="Freeform 619"/>
              <p:cNvSpPr>
                <a:spLocks/>
              </p:cNvSpPr>
              <p:nvPr/>
            </p:nvSpPr>
            <p:spPr bwMode="auto">
              <a:xfrm>
                <a:off x="113299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111" name="Freeform 620"/>
              <p:cNvSpPr>
                <a:spLocks/>
              </p:cNvSpPr>
              <p:nvPr/>
            </p:nvSpPr>
            <p:spPr bwMode="auto">
              <a:xfrm>
                <a:off x="11344199"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112" name="Freeform 621"/>
              <p:cNvSpPr>
                <a:spLocks/>
              </p:cNvSpPr>
              <p:nvPr/>
            </p:nvSpPr>
            <p:spPr bwMode="auto">
              <a:xfrm>
                <a:off x="11358485" y="5899747"/>
                <a:ext cx="4762" cy="4763"/>
              </a:xfrm>
              <a:custGeom>
                <a:avLst/>
                <a:gdLst>
                  <a:gd name="T0" fmla="*/ 16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5"/>
                    </a:lnTo>
                    <a:lnTo>
                      <a:pt x="29" y="10"/>
                    </a:lnTo>
                    <a:lnTo>
                      <a:pt x="30" y="14"/>
                    </a:lnTo>
                    <a:lnTo>
                      <a:pt x="29" y="20"/>
                    </a:lnTo>
                    <a:lnTo>
                      <a:pt x="27" y="23"/>
                    </a:lnTo>
                    <a:lnTo>
                      <a:pt x="23"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113" name="Freeform 622"/>
              <p:cNvSpPr>
                <a:spLocks/>
              </p:cNvSpPr>
              <p:nvPr/>
            </p:nvSpPr>
            <p:spPr bwMode="auto">
              <a:xfrm>
                <a:off x="11371184" y="5899747"/>
                <a:ext cx="4762" cy="4763"/>
              </a:xfrm>
              <a:custGeom>
                <a:avLst/>
                <a:gdLst>
                  <a:gd name="T0" fmla="*/ 15 w 29"/>
                  <a:gd name="T1" fmla="*/ 0 h 30"/>
                  <a:gd name="T2" fmla="*/ 19 w 29"/>
                  <a:gd name="T3" fmla="*/ 1 h 30"/>
                  <a:gd name="T4" fmla="*/ 24 w 29"/>
                  <a:gd name="T5" fmla="*/ 3 h 30"/>
                  <a:gd name="T6" fmla="*/ 27 w 29"/>
                  <a:gd name="T7" fmla="*/ 5 h 30"/>
                  <a:gd name="T8" fmla="*/ 28 w 29"/>
                  <a:gd name="T9" fmla="*/ 10 h 30"/>
                  <a:gd name="T10" fmla="*/ 29 w 29"/>
                  <a:gd name="T11" fmla="*/ 14 h 30"/>
                  <a:gd name="T12" fmla="*/ 28 w 29"/>
                  <a:gd name="T13" fmla="*/ 20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8" y="10"/>
                    </a:lnTo>
                    <a:lnTo>
                      <a:pt x="29" y="14"/>
                    </a:lnTo>
                    <a:lnTo>
                      <a:pt x="28" y="20"/>
                    </a:lnTo>
                    <a:lnTo>
                      <a:pt x="27" y="23"/>
                    </a:lnTo>
                    <a:lnTo>
                      <a:pt x="24" y="26"/>
                    </a:lnTo>
                    <a:lnTo>
                      <a:pt x="19" y="29"/>
                    </a:lnTo>
                    <a:lnTo>
                      <a:pt x="15" y="30"/>
                    </a:lnTo>
                    <a:lnTo>
                      <a:pt x="9" y="29"/>
                    </a:lnTo>
                    <a:lnTo>
                      <a:pt x="6" y="26"/>
                    </a:lnTo>
                    <a:lnTo>
                      <a:pt x="3" y="23"/>
                    </a:lnTo>
                    <a:lnTo>
                      <a:pt x="1" y="20"/>
                    </a:lnTo>
                    <a:lnTo>
                      <a:pt x="0" y="14"/>
                    </a:lnTo>
                    <a:lnTo>
                      <a:pt x="1" y="10"/>
                    </a:lnTo>
                    <a:lnTo>
                      <a:pt x="3" y="5"/>
                    </a:lnTo>
                    <a:lnTo>
                      <a:pt x="6" y="3"/>
                    </a:lnTo>
                    <a:lnTo>
                      <a:pt x="9" y="1"/>
                    </a:lnTo>
                    <a:lnTo>
                      <a:pt x="15" y="0"/>
                    </a:lnTo>
                    <a:close/>
                  </a:path>
                </a:pathLst>
              </a:custGeom>
              <a:solidFill>
                <a:schemeClr val="accent5"/>
              </a:solidFill>
              <a:ln>
                <a:noFill/>
              </a:ln>
            </p:spPr>
            <p:txBody>
              <a:bodyPr/>
              <a:lstStyle/>
              <a:p>
                <a:endParaRPr lang="de-DE" dirty="0"/>
              </a:p>
            </p:txBody>
          </p:sp>
          <p:sp>
            <p:nvSpPr>
              <p:cNvPr id="1114" name="Freeform 623"/>
              <p:cNvSpPr>
                <a:spLocks/>
              </p:cNvSpPr>
              <p:nvPr/>
            </p:nvSpPr>
            <p:spPr bwMode="auto">
              <a:xfrm>
                <a:off x="11385470"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1115" name="Freeform 624"/>
              <p:cNvSpPr>
                <a:spLocks/>
              </p:cNvSpPr>
              <p:nvPr/>
            </p:nvSpPr>
            <p:spPr bwMode="auto">
              <a:xfrm>
                <a:off x="11399756"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116" name="Freeform 625"/>
              <p:cNvSpPr>
                <a:spLocks/>
              </p:cNvSpPr>
              <p:nvPr/>
            </p:nvSpPr>
            <p:spPr bwMode="auto">
              <a:xfrm>
                <a:off x="11414042"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117" name="Freeform 626"/>
              <p:cNvSpPr>
                <a:spLocks/>
              </p:cNvSpPr>
              <p:nvPr/>
            </p:nvSpPr>
            <p:spPr bwMode="auto">
              <a:xfrm>
                <a:off x="114283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118" name="Freeform 627"/>
              <p:cNvSpPr>
                <a:spLocks/>
              </p:cNvSpPr>
              <p:nvPr/>
            </p:nvSpPr>
            <p:spPr bwMode="auto">
              <a:xfrm>
                <a:off x="114410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119" name="Freeform 628"/>
              <p:cNvSpPr>
                <a:spLocks/>
              </p:cNvSpPr>
              <p:nvPr/>
            </p:nvSpPr>
            <p:spPr bwMode="auto">
              <a:xfrm>
                <a:off x="10967999"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120" name="Freeform 629"/>
              <p:cNvSpPr>
                <a:spLocks/>
              </p:cNvSpPr>
              <p:nvPr/>
            </p:nvSpPr>
            <p:spPr bwMode="auto">
              <a:xfrm>
                <a:off x="10982285"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21" name="Freeform 630"/>
              <p:cNvSpPr>
                <a:spLocks/>
              </p:cNvSpPr>
              <p:nvPr/>
            </p:nvSpPr>
            <p:spPr bwMode="auto">
              <a:xfrm>
                <a:off x="10996571" y="5950553"/>
                <a:ext cx="4762" cy="4763"/>
              </a:xfrm>
              <a:custGeom>
                <a:avLst/>
                <a:gdLst>
                  <a:gd name="T0" fmla="*/ 14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5"/>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5"/>
                    </a:lnTo>
                    <a:lnTo>
                      <a:pt x="6" y="2"/>
                    </a:lnTo>
                    <a:lnTo>
                      <a:pt x="10" y="0"/>
                    </a:lnTo>
                    <a:lnTo>
                      <a:pt x="14" y="0"/>
                    </a:lnTo>
                    <a:close/>
                  </a:path>
                </a:pathLst>
              </a:custGeom>
              <a:solidFill>
                <a:schemeClr val="accent5"/>
              </a:solidFill>
              <a:ln>
                <a:noFill/>
              </a:ln>
            </p:spPr>
            <p:txBody>
              <a:bodyPr/>
              <a:lstStyle/>
              <a:p>
                <a:endParaRPr lang="de-DE" dirty="0"/>
              </a:p>
            </p:txBody>
          </p:sp>
          <p:sp>
            <p:nvSpPr>
              <p:cNvPr id="1122" name="Freeform 631"/>
              <p:cNvSpPr>
                <a:spLocks/>
              </p:cNvSpPr>
              <p:nvPr/>
            </p:nvSpPr>
            <p:spPr bwMode="auto">
              <a:xfrm>
                <a:off x="11010857" y="5950553"/>
                <a:ext cx="4762" cy="4763"/>
              </a:xfrm>
              <a:custGeom>
                <a:avLst/>
                <a:gdLst>
                  <a:gd name="T0" fmla="*/ 15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123" name="Freeform 632"/>
              <p:cNvSpPr>
                <a:spLocks/>
              </p:cNvSpPr>
              <p:nvPr/>
            </p:nvSpPr>
            <p:spPr bwMode="auto">
              <a:xfrm>
                <a:off x="11023556"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1124" name="Freeform 633"/>
              <p:cNvSpPr>
                <a:spLocks/>
              </p:cNvSpPr>
              <p:nvPr/>
            </p:nvSpPr>
            <p:spPr bwMode="auto">
              <a:xfrm>
                <a:off x="11037842"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125" name="Freeform 634"/>
              <p:cNvSpPr>
                <a:spLocks/>
              </p:cNvSpPr>
              <p:nvPr/>
            </p:nvSpPr>
            <p:spPr bwMode="auto">
              <a:xfrm>
                <a:off x="11052128"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26" name="Freeform 635"/>
              <p:cNvSpPr>
                <a:spLocks/>
              </p:cNvSpPr>
              <p:nvPr/>
            </p:nvSpPr>
            <p:spPr bwMode="auto">
              <a:xfrm>
                <a:off x="11066414" y="5950553"/>
                <a:ext cx="4762" cy="4763"/>
              </a:xfrm>
              <a:custGeom>
                <a:avLst/>
                <a:gdLst>
                  <a:gd name="T0" fmla="*/ 15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5"/>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127" name="Freeform 636"/>
              <p:cNvSpPr>
                <a:spLocks/>
              </p:cNvSpPr>
              <p:nvPr/>
            </p:nvSpPr>
            <p:spPr bwMode="auto">
              <a:xfrm>
                <a:off x="11079113"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128" name="Freeform 637"/>
              <p:cNvSpPr>
                <a:spLocks/>
              </p:cNvSpPr>
              <p:nvPr/>
            </p:nvSpPr>
            <p:spPr bwMode="auto">
              <a:xfrm>
                <a:off x="11093399"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1129" name="Freeform 638"/>
              <p:cNvSpPr>
                <a:spLocks/>
              </p:cNvSpPr>
              <p:nvPr/>
            </p:nvSpPr>
            <p:spPr bwMode="auto">
              <a:xfrm>
                <a:off x="11107685"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5"/>
                    </a:lnTo>
                    <a:lnTo>
                      <a:pt x="7" y="2"/>
                    </a:lnTo>
                    <a:lnTo>
                      <a:pt x="11" y="0"/>
                    </a:lnTo>
                    <a:lnTo>
                      <a:pt x="16" y="0"/>
                    </a:lnTo>
                    <a:close/>
                  </a:path>
                </a:pathLst>
              </a:custGeom>
              <a:solidFill>
                <a:schemeClr val="accent5"/>
              </a:solidFill>
              <a:ln>
                <a:noFill/>
              </a:ln>
            </p:spPr>
            <p:txBody>
              <a:bodyPr/>
              <a:lstStyle/>
              <a:p>
                <a:endParaRPr lang="de-DE" dirty="0"/>
              </a:p>
            </p:txBody>
          </p:sp>
          <p:sp>
            <p:nvSpPr>
              <p:cNvPr id="1130" name="Freeform 639"/>
              <p:cNvSpPr>
                <a:spLocks/>
              </p:cNvSpPr>
              <p:nvPr/>
            </p:nvSpPr>
            <p:spPr bwMode="auto">
              <a:xfrm>
                <a:off x="111219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31" name="Freeform 640"/>
              <p:cNvSpPr>
                <a:spLocks/>
              </p:cNvSpPr>
              <p:nvPr/>
            </p:nvSpPr>
            <p:spPr bwMode="auto">
              <a:xfrm>
                <a:off x="11136257"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132" name="Freeform 641"/>
              <p:cNvSpPr>
                <a:spLocks/>
              </p:cNvSpPr>
              <p:nvPr/>
            </p:nvSpPr>
            <p:spPr bwMode="auto">
              <a:xfrm>
                <a:off x="11148956"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133" name="Freeform 642"/>
              <p:cNvSpPr>
                <a:spLocks/>
              </p:cNvSpPr>
              <p:nvPr/>
            </p:nvSpPr>
            <p:spPr bwMode="auto">
              <a:xfrm>
                <a:off x="11163242"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134" name="Freeform 643"/>
              <p:cNvSpPr>
                <a:spLocks/>
              </p:cNvSpPr>
              <p:nvPr/>
            </p:nvSpPr>
            <p:spPr bwMode="auto">
              <a:xfrm>
                <a:off x="11177528"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35" name="Freeform 644"/>
              <p:cNvSpPr>
                <a:spLocks/>
              </p:cNvSpPr>
              <p:nvPr/>
            </p:nvSpPr>
            <p:spPr bwMode="auto">
              <a:xfrm>
                <a:off x="11190227"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1136" name="Freeform 645"/>
              <p:cNvSpPr>
                <a:spLocks/>
              </p:cNvSpPr>
              <p:nvPr/>
            </p:nvSpPr>
            <p:spPr bwMode="auto">
              <a:xfrm>
                <a:off x="112045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137" name="Freeform 646"/>
              <p:cNvSpPr>
                <a:spLocks/>
              </p:cNvSpPr>
              <p:nvPr/>
            </p:nvSpPr>
            <p:spPr bwMode="auto">
              <a:xfrm>
                <a:off x="11218799"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1138" name="Freeform 647"/>
              <p:cNvSpPr>
                <a:spLocks/>
              </p:cNvSpPr>
              <p:nvPr/>
            </p:nvSpPr>
            <p:spPr bwMode="auto">
              <a:xfrm>
                <a:off x="11233085"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139" name="Freeform 648"/>
              <p:cNvSpPr>
                <a:spLocks/>
              </p:cNvSpPr>
              <p:nvPr/>
            </p:nvSpPr>
            <p:spPr bwMode="auto">
              <a:xfrm>
                <a:off x="112473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40" name="Freeform 649"/>
              <p:cNvSpPr>
                <a:spLocks/>
              </p:cNvSpPr>
              <p:nvPr/>
            </p:nvSpPr>
            <p:spPr bwMode="auto">
              <a:xfrm>
                <a:off x="11260070" y="5950553"/>
                <a:ext cx="4762" cy="4763"/>
              </a:xfrm>
              <a:custGeom>
                <a:avLst/>
                <a:gdLst>
                  <a:gd name="T0" fmla="*/ 15 w 29"/>
                  <a:gd name="T1" fmla="*/ 0 h 30"/>
                  <a:gd name="T2" fmla="*/ 19 w 29"/>
                  <a:gd name="T3" fmla="*/ 0 h 30"/>
                  <a:gd name="T4" fmla="*/ 23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5"/>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141" name="Freeform 650"/>
              <p:cNvSpPr>
                <a:spLocks/>
              </p:cNvSpPr>
              <p:nvPr/>
            </p:nvSpPr>
            <p:spPr bwMode="auto">
              <a:xfrm>
                <a:off x="11274356"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142" name="Freeform 651"/>
              <p:cNvSpPr>
                <a:spLocks/>
              </p:cNvSpPr>
              <p:nvPr/>
            </p:nvSpPr>
            <p:spPr bwMode="auto">
              <a:xfrm>
                <a:off x="11288642"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1143" name="Freeform 652"/>
              <p:cNvSpPr>
                <a:spLocks/>
              </p:cNvSpPr>
              <p:nvPr/>
            </p:nvSpPr>
            <p:spPr bwMode="auto">
              <a:xfrm>
                <a:off x="113029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144" name="Freeform 653"/>
              <p:cNvSpPr>
                <a:spLocks/>
              </p:cNvSpPr>
              <p:nvPr/>
            </p:nvSpPr>
            <p:spPr bwMode="auto">
              <a:xfrm>
                <a:off x="113156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45" name="Freeform 654"/>
              <p:cNvSpPr>
                <a:spLocks/>
              </p:cNvSpPr>
              <p:nvPr/>
            </p:nvSpPr>
            <p:spPr bwMode="auto">
              <a:xfrm>
                <a:off x="113299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146" name="Freeform 655"/>
              <p:cNvSpPr>
                <a:spLocks/>
              </p:cNvSpPr>
              <p:nvPr/>
            </p:nvSpPr>
            <p:spPr bwMode="auto">
              <a:xfrm>
                <a:off x="11344199"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147" name="Freeform 656"/>
              <p:cNvSpPr>
                <a:spLocks/>
              </p:cNvSpPr>
              <p:nvPr/>
            </p:nvSpPr>
            <p:spPr bwMode="auto">
              <a:xfrm>
                <a:off x="11358485" y="5950553"/>
                <a:ext cx="4762" cy="4763"/>
              </a:xfrm>
              <a:custGeom>
                <a:avLst/>
                <a:gdLst>
                  <a:gd name="T0" fmla="*/ 16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5"/>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148" name="Freeform 657"/>
              <p:cNvSpPr>
                <a:spLocks/>
              </p:cNvSpPr>
              <p:nvPr/>
            </p:nvSpPr>
            <p:spPr bwMode="auto">
              <a:xfrm>
                <a:off x="11371184" y="5950553"/>
                <a:ext cx="4762" cy="4763"/>
              </a:xfrm>
              <a:custGeom>
                <a:avLst/>
                <a:gdLst>
                  <a:gd name="T0" fmla="*/ 15 w 29"/>
                  <a:gd name="T1" fmla="*/ 0 h 30"/>
                  <a:gd name="T2" fmla="*/ 19 w 29"/>
                  <a:gd name="T3" fmla="*/ 0 h 30"/>
                  <a:gd name="T4" fmla="*/ 24 w 29"/>
                  <a:gd name="T5" fmla="*/ 2 h 30"/>
                  <a:gd name="T6" fmla="*/ 27 w 29"/>
                  <a:gd name="T7" fmla="*/ 5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5"/>
                    </a:lnTo>
                    <a:lnTo>
                      <a:pt x="6" y="2"/>
                    </a:lnTo>
                    <a:lnTo>
                      <a:pt x="9" y="0"/>
                    </a:lnTo>
                    <a:lnTo>
                      <a:pt x="15" y="0"/>
                    </a:lnTo>
                    <a:close/>
                  </a:path>
                </a:pathLst>
              </a:custGeom>
              <a:solidFill>
                <a:schemeClr val="accent5"/>
              </a:solidFill>
              <a:ln>
                <a:noFill/>
              </a:ln>
            </p:spPr>
            <p:txBody>
              <a:bodyPr/>
              <a:lstStyle/>
              <a:p>
                <a:endParaRPr lang="de-DE" dirty="0"/>
              </a:p>
            </p:txBody>
          </p:sp>
          <p:sp>
            <p:nvSpPr>
              <p:cNvPr id="1149" name="Freeform 658"/>
              <p:cNvSpPr>
                <a:spLocks/>
              </p:cNvSpPr>
              <p:nvPr/>
            </p:nvSpPr>
            <p:spPr bwMode="auto">
              <a:xfrm>
                <a:off x="11385470"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1150" name="Freeform 659"/>
              <p:cNvSpPr>
                <a:spLocks/>
              </p:cNvSpPr>
              <p:nvPr/>
            </p:nvSpPr>
            <p:spPr bwMode="auto">
              <a:xfrm>
                <a:off x="11399756"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151" name="Freeform 660"/>
              <p:cNvSpPr>
                <a:spLocks/>
              </p:cNvSpPr>
              <p:nvPr/>
            </p:nvSpPr>
            <p:spPr bwMode="auto">
              <a:xfrm>
                <a:off x="11414042"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152" name="Freeform 661"/>
              <p:cNvSpPr>
                <a:spLocks/>
              </p:cNvSpPr>
              <p:nvPr/>
            </p:nvSpPr>
            <p:spPr bwMode="auto">
              <a:xfrm>
                <a:off x="114283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153" name="Freeform 662"/>
              <p:cNvSpPr>
                <a:spLocks/>
              </p:cNvSpPr>
              <p:nvPr/>
            </p:nvSpPr>
            <p:spPr bwMode="auto">
              <a:xfrm>
                <a:off x="114410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154" name="Freeform 663"/>
              <p:cNvSpPr>
                <a:spLocks/>
              </p:cNvSpPr>
              <p:nvPr/>
            </p:nvSpPr>
            <p:spPr bwMode="auto">
              <a:xfrm>
                <a:off x="10967999"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155" name="Freeform 664"/>
              <p:cNvSpPr>
                <a:spLocks/>
              </p:cNvSpPr>
              <p:nvPr/>
            </p:nvSpPr>
            <p:spPr bwMode="auto">
              <a:xfrm>
                <a:off x="10982285"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156" name="Freeform 665"/>
              <p:cNvSpPr>
                <a:spLocks/>
              </p:cNvSpPr>
              <p:nvPr/>
            </p:nvSpPr>
            <p:spPr bwMode="auto">
              <a:xfrm>
                <a:off x="10996571" y="6004534"/>
                <a:ext cx="4762" cy="4763"/>
              </a:xfrm>
              <a:custGeom>
                <a:avLst/>
                <a:gdLst>
                  <a:gd name="T0" fmla="*/ 14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4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1"/>
                    </a:lnTo>
                    <a:lnTo>
                      <a:pt x="30" y="15"/>
                    </a:lnTo>
                    <a:lnTo>
                      <a:pt x="29" y="20"/>
                    </a:lnTo>
                    <a:lnTo>
                      <a:pt x="27" y="24"/>
                    </a:lnTo>
                    <a:lnTo>
                      <a:pt x="23" y="27"/>
                    </a:lnTo>
                    <a:lnTo>
                      <a:pt x="19" y="30"/>
                    </a:lnTo>
                    <a:lnTo>
                      <a:pt x="14" y="30"/>
                    </a:lnTo>
                    <a:lnTo>
                      <a:pt x="10" y="30"/>
                    </a:lnTo>
                    <a:lnTo>
                      <a:pt x="6" y="27"/>
                    </a:lnTo>
                    <a:lnTo>
                      <a:pt x="2" y="24"/>
                    </a:lnTo>
                    <a:lnTo>
                      <a:pt x="0" y="20"/>
                    </a:lnTo>
                    <a:lnTo>
                      <a:pt x="0" y="15"/>
                    </a:lnTo>
                    <a:lnTo>
                      <a:pt x="0" y="11"/>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1157" name="Freeform 666"/>
              <p:cNvSpPr>
                <a:spLocks/>
              </p:cNvSpPr>
              <p:nvPr/>
            </p:nvSpPr>
            <p:spPr bwMode="auto">
              <a:xfrm>
                <a:off x="11010857" y="6004534"/>
                <a:ext cx="4762" cy="4763"/>
              </a:xfrm>
              <a:custGeom>
                <a:avLst/>
                <a:gdLst>
                  <a:gd name="T0" fmla="*/ 15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1"/>
                    </a:lnTo>
                    <a:lnTo>
                      <a:pt x="30" y="15"/>
                    </a:lnTo>
                    <a:lnTo>
                      <a:pt x="29" y="20"/>
                    </a:lnTo>
                    <a:lnTo>
                      <a:pt x="27" y="24"/>
                    </a:lnTo>
                    <a:lnTo>
                      <a:pt x="24" y="27"/>
                    </a:lnTo>
                    <a:lnTo>
                      <a:pt x="20"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158" name="Freeform 667"/>
              <p:cNvSpPr>
                <a:spLocks/>
              </p:cNvSpPr>
              <p:nvPr/>
            </p:nvSpPr>
            <p:spPr bwMode="auto">
              <a:xfrm>
                <a:off x="11023556"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159" name="Freeform 668"/>
              <p:cNvSpPr>
                <a:spLocks/>
              </p:cNvSpPr>
              <p:nvPr/>
            </p:nvSpPr>
            <p:spPr bwMode="auto">
              <a:xfrm>
                <a:off x="11037842"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160" name="Freeform 669"/>
              <p:cNvSpPr>
                <a:spLocks/>
              </p:cNvSpPr>
              <p:nvPr/>
            </p:nvSpPr>
            <p:spPr bwMode="auto">
              <a:xfrm>
                <a:off x="11052128"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161" name="Freeform 670"/>
              <p:cNvSpPr>
                <a:spLocks/>
              </p:cNvSpPr>
              <p:nvPr/>
            </p:nvSpPr>
            <p:spPr bwMode="auto">
              <a:xfrm>
                <a:off x="11066414" y="6004534"/>
                <a:ext cx="4762" cy="4763"/>
              </a:xfrm>
              <a:custGeom>
                <a:avLst/>
                <a:gdLst>
                  <a:gd name="T0" fmla="*/ 15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1"/>
                    </a:lnTo>
                    <a:lnTo>
                      <a:pt x="30"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162" name="Freeform 671"/>
              <p:cNvSpPr>
                <a:spLocks/>
              </p:cNvSpPr>
              <p:nvPr/>
            </p:nvSpPr>
            <p:spPr bwMode="auto">
              <a:xfrm>
                <a:off x="11079113"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163" name="Freeform 672"/>
              <p:cNvSpPr>
                <a:spLocks/>
              </p:cNvSpPr>
              <p:nvPr/>
            </p:nvSpPr>
            <p:spPr bwMode="auto">
              <a:xfrm>
                <a:off x="11093399"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164" name="Freeform 673"/>
              <p:cNvSpPr>
                <a:spLocks/>
              </p:cNvSpPr>
              <p:nvPr/>
            </p:nvSpPr>
            <p:spPr bwMode="auto">
              <a:xfrm>
                <a:off x="11107685"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1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1" y="30"/>
                    </a:lnTo>
                    <a:lnTo>
                      <a:pt x="7" y="27"/>
                    </a:lnTo>
                    <a:lnTo>
                      <a:pt x="4" y="24"/>
                    </a:lnTo>
                    <a:lnTo>
                      <a:pt x="1" y="20"/>
                    </a:lnTo>
                    <a:lnTo>
                      <a:pt x="0" y="15"/>
                    </a:lnTo>
                    <a:lnTo>
                      <a:pt x="1" y="11"/>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1165" name="Freeform 674"/>
              <p:cNvSpPr>
                <a:spLocks/>
              </p:cNvSpPr>
              <p:nvPr/>
            </p:nvSpPr>
            <p:spPr bwMode="auto">
              <a:xfrm>
                <a:off x="111219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166" name="Freeform 675"/>
              <p:cNvSpPr>
                <a:spLocks/>
              </p:cNvSpPr>
              <p:nvPr/>
            </p:nvSpPr>
            <p:spPr bwMode="auto">
              <a:xfrm>
                <a:off x="11136257"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167" name="Freeform 676"/>
              <p:cNvSpPr>
                <a:spLocks/>
              </p:cNvSpPr>
              <p:nvPr/>
            </p:nvSpPr>
            <p:spPr bwMode="auto">
              <a:xfrm>
                <a:off x="11148956"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168" name="Freeform 677"/>
              <p:cNvSpPr>
                <a:spLocks/>
              </p:cNvSpPr>
              <p:nvPr/>
            </p:nvSpPr>
            <p:spPr bwMode="auto">
              <a:xfrm>
                <a:off x="11163242"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169" name="Freeform 678"/>
              <p:cNvSpPr>
                <a:spLocks/>
              </p:cNvSpPr>
              <p:nvPr/>
            </p:nvSpPr>
            <p:spPr bwMode="auto">
              <a:xfrm>
                <a:off x="11177528"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170" name="Freeform 679"/>
              <p:cNvSpPr>
                <a:spLocks/>
              </p:cNvSpPr>
              <p:nvPr/>
            </p:nvSpPr>
            <p:spPr bwMode="auto">
              <a:xfrm>
                <a:off x="11190227"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171" name="Freeform 680"/>
              <p:cNvSpPr>
                <a:spLocks/>
              </p:cNvSpPr>
              <p:nvPr/>
            </p:nvSpPr>
            <p:spPr bwMode="auto">
              <a:xfrm>
                <a:off x="112045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172" name="Freeform 681"/>
              <p:cNvSpPr>
                <a:spLocks/>
              </p:cNvSpPr>
              <p:nvPr/>
            </p:nvSpPr>
            <p:spPr bwMode="auto">
              <a:xfrm>
                <a:off x="11218799"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173" name="Freeform 682"/>
              <p:cNvSpPr>
                <a:spLocks/>
              </p:cNvSpPr>
              <p:nvPr/>
            </p:nvSpPr>
            <p:spPr bwMode="auto">
              <a:xfrm>
                <a:off x="11233085"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174" name="Freeform 683"/>
              <p:cNvSpPr>
                <a:spLocks/>
              </p:cNvSpPr>
              <p:nvPr/>
            </p:nvSpPr>
            <p:spPr bwMode="auto">
              <a:xfrm>
                <a:off x="112473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175" name="Freeform 684"/>
              <p:cNvSpPr>
                <a:spLocks/>
              </p:cNvSpPr>
              <p:nvPr/>
            </p:nvSpPr>
            <p:spPr bwMode="auto">
              <a:xfrm>
                <a:off x="11260070" y="6004534"/>
                <a:ext cx="4762" cy="4763"/>
              </a:xfrm>
              <a:custGeom>
                <a:avLst/>
                <a:gdLst>
                  <a:gd name="T0" fmla="*/ 15 w 29"/>
                  <a:gd name="T1" fmla="*/ 0 h 30"/>
                  <a:gd name="T2" fmla="*/ 19 w 29"/>
                  <a:gd name="T3" fmla="*/ 1 h 30"/>
                  <a:gd name="T4" fmla="*/ 23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3 w 29"/>
                  <a:gd name="T17" fmla="*/ 27 h 30"/>
                  <a:gd name="T18" fmla="*/ 19 w 29"/>
                  <a:gd name="T19" fmla="*/ 30 h 30"/>
                  <a:gd name="T20" fmla="*/ 15 w 29"/>
                  <a:gd name="T21" fmla="*/ 30 h 30"/>
                  <a:gd name="T22" fmla="*/ 10 w 29"/>
                  <a:gd name="T23" fmla="*/ 30 h 30"/>
                  <a:gd name="T24" fmla="*/ 6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1"/>
                    </a:lnTo>
                    <a:lnTo>
                      <a:pt x="29"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176" name="Freeform 685"/>
              <p:cNvSpPr>
                <a:spLocks/>
              </p:cNvSpPr>
              <p:nvPr/>
            </p:nvSpPr>
            <p:spPr bwMode="auto">
              <a:xfrm>
                <a:off x="11274356"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177" name="Freeform 686"/>
              <p:cNvSpPr>
                <a:spLocks/>
              </p:cNvSpPr>
              <p:nvPr/>
            </p:nvSpPr>
            <p:spPr bwMode="auto">
              <a:xfrm>
                <a:off x="11288642"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178" name="Freeform 687"/>
              <p:cNvSpPr>
                <a:spLocks/>
              </p:cNvSpPr>
              <p:nvPr/>
            </p:nvSpPr>
            <p:spPr bwMode="auto">
              <a:xfrm>
                <a:off x="113029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179" name="Freeform 688"/>
              <p:cNvSpPr>
                <a:spLocks/>
              </p:cNvSpPr>
              <p:nvPr/>
            </p:nvSpPr>
            <p:spPr bwMode="auto">
              <a:xfrm>
                <a:off x="113156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180" name="Freeform 689"/>
              <p:cNvSpPr>
                <a:spLocks/>
              </p:cNvSpPr>
              <p:nvPr/>
            </p:nvSpPr>
            <p:spPr bwMode="auto">
              <a:xfrm>
                <a:off x="113299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181" name="Freeform 690"/>
              <p:cNvSpPr>
                <a:spLocks/>
              </p:cNvSpPr>
              <p:nvPr/>
            </p:nvSpPr>
            <p:spPr bwMode="auto">
              <a:xfrm>
                <a:off x="11344199"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182" name="Freeform 691"/>
              <p:cNvSpPr>
                <a:spLocks/>
              </p:cNvSpPr>
              <p:nvPr/>
            </p:nvSpPr>
            <p:spPr bwMode="auto">
              <a:xfrm>
                <a:off x="11358485" y="6004534"/>
                <a:ext cx="4762" cy="4763"/>
              </a:xfrm>
              <a:custGeom>
                <a:avLst/>
                <a:gdLst>
                  <a:gd name="T0" fmla="*/ 16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1"/>
                    </a:lnTo>
                    <a:lnTo>
                      <a:pt x="30" y="15"/>
                    </a:lnTo>
                    <a:lnTo>
                      <a:pt x="29" y="20"/>
                    </a:lnTo>
                    <a:lnTo>
                      <a:pt x="27" y="24"/>
                    </a:lnTo>
                    <a:lnTo>
                      <a:pt x="23"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183" name="Freeform 692"/>
              <p:cNvSpPr>
                <a:spLocks/>
              </p:cNvSpPr>
              <p:nvPr/>
            </p:nvSpPr>
            <p:spPr bwMode="auto">
              <a:xfrm>
                <a:off x="11371184" y="6004534"/>
                <a:ext cx="4762" cy="4763"/>
              </a:xfrm>
              <a:custGeom>
                <a:avLst/>
                <a:gdLst>
                  <a:gd name="T0" fmla="*/ 15 w 29"/>
                  <a:gd name="T1" fmla="*/ 0 h 30"/>
                  <a:gd name="T2" fmla="*/ 19 w 29"/>
                  <a:gd name="T3" fmla="*/ 1 h 30"/>
                  <a:gd name="T4" fmla="*/ 24 w 29"/>
                  <a:gd name="T5" fmla="*/ 3 h 30"/>
                  <a:gd name="T6" fmla="*/ 27 w 29"/>
                  <a:gd name="T7" fmla="*/ 7 h 30"/>
                  <a:gd name="T8" fmla="*/ 28 w 29"/>
                  <a:gd name="T9" fmla="*/ 11 h 30"/>
                  <a:gd name="T10" fmla="*/ 29 w 29"/>
                  <a:gd name="T11" fmla="*/ 15 h 30"/>
                  <a:gd name="T12" fmla="*/ 28 w 29"/>
                  <a:gd name="T13" fmla="*/ 20 h 30"/>
                  <a:gd name="T14" fmla="*/ 27 w 29"/>
                  <a:gd name="T15" fmla="*/ 24 h 30"/>
                  <a:gd name="T16" fmla="*/ 24 w 29"/>
                  <a:gd name="T17" fmla="*/ 27 h 30"/>
                  <a:gd name="T18" fmla="*/ 19 w 29"/>
                  <a:gd name="T19" fmla="*/ 30 h 30"/>
                  <a:gd name="T20" fmla="*/ 15 w 29"/>
                  <a:gd name="T21" fmla="*/ 30 h 30"/>
                  <a:gd name="T22" fmla="*/ 9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1"/>
                    </a:lnTo>
                    <a:lnTo>
                      <a:pt x="29" y="15"/>
                    </a:lnTo>
                    <a:lnTo>
                      <a:pt x="28" y="20"/>
                    </a:lnTo>
                    <a:lnTo>
                      <a:pt x="27" y="24"/>
                    </a:lnTo>
                    <a:lnTo>
                      <a:pt x="24" y="27"/>
                    </a:lnTo>
                    <a:lnTo>
                      <a:pt x="19" y="30"/>
                    </a:lnTo>
                    <a:lnTo>
                      <a:pt x="15" y="30"/>
                    </a:lnTo>
                    <a:lnTo>
                      <a:pt x="9" y="30"/>
                    </a:lnTo>
                    <a:lnTo>
                      <a:pt x="6" y="27"/>
                    </a:lnTo>
                    <a:lnTo>
                      <a:pt x="3" y="24"/>
                    </a:lnTo>
                    <a:lnTo>
                      <a:pt x="1" y="20"/>
                    </a:lnTo>
                    <a:lnTo>
                      <a:pt x="0" y="15"/>
                    </a:lnTo>
                    <a:lnTo>
                      <a:pt x="1" y="11"/>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1184" name="Freeform 693"/>
              <p:cNvSpPr>
                <a:spLocks/>
              </p:cNvSpPr>
              <p:nvPr/>
            </p:nvSpPr>
            <p:spPr bwMode="auto">
              <a:xfrm>
                <a:off x="11385470"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185" name="Freeform 694"/>
              <p:cNvSpPr>
                <a:spLocks/>
              </p:cNvSpPr>
              <p:nvPr/>
            </p:nvSpPr>
            <p:spPr bwMode="auto">
              <a:xfrm>
                <a:off x="11399756"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186" name="Freeform 695"/>
              <p:cNvSpPr>
                <a:spLocks/>
              </p:cNvSpPr>
              <p:nvPr/>
            </p:nvSpPr>
            <p:spPr bwMode="auto">
              <a:xfrm>
                <a:off x="11414042"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187" name="Freeform 696"/>
              <p:cNvSpPr>
                <a:spLocks/>
              </p:cNvSpPr>
              <p:nvPr/>
            </p:nvSpPr>
            <p:spPr bwMode="auto">
              <a:xfrm>
                <a:off x="114283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188" name="Freeform 697"/>
              <p:cNvSpPr>
                <a:spLocks/>
              </p:cNvSpPr>
              <p:nvPr/>
            </p:nvSpPr>
            <p:spPr bwMode="auto">
              <a:xfrm>
                <a:off x="114410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grpSp>
        <p:sp>
          <p:nvSpPr>
            <p:cNvPr id="814" name="Textfeld 813">
              <a:extLst>
                <a:ext uri="{FF2B5EF4-FFF2-40B4-BE49-F238E27FC236}">
                  <a16:creationId xmlns:a16="http://schemas.microsoft.com/office/drawing/2014/main" id="{A89AA882-1BAC-40ED-9B66-213BB26D9FD0}"/>
                </a:ext>
              </a:extLst>
            </p:cNvPr>
            <p:cNvSpPr txBox="1"/>
            <p:nvPr/>
          </p:nvSpPr>
          <p:spPr>
            <a:xfrm>
              <a:off x="5372148" y="6236712"/>
              <a:ext cx="57600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Register</a:t>
              </a:r>
            </a:p>
          </p:txBody>
        </p:sp>
        <p:cxnSp>
          <p:nvCxnSpPr>
            <p:cNvPr id="815" name="Gerade Verbindung mit Pfeil 814">
              <a:extLst>
                <a:ext uri="{FF2B5EF4-FFF2-40B4-BE49-F238E27FC236}">
                  <a16:creationId xmlns:a16="http://schemas.microsoft.com/office/drawing/2014/main" id="{B2324294-942D-4C26-A53C-FF6E7C932AA7}"/>
                </a:ext>
              </a:extLst>
            </p:cNvPr>
            <p:cNvCxnSpPr/>
            <p:nvPr/>
          </p:nvCxnSpPr>
          <p:spPr>
            <a:xfrm rot="5400000">
              <a:off x="5498148" y="5630453"/>
              <a:ext cx="324000" cy="0"/>
            </a:xfrm>
            <a:prstGeom prst="straightConnector1">
              <a:avLst/>
            </a:prstGeom>
            <a:ln w="38100">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189" name="Rechteck 1188"/>
          <p:cNvSpPr/>
          <p:nvPr/>
        </p:nvSpPr>
        <p:spPr>
          <a:xfrm>
            <a:off x="3654806" y="2287856"/>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191" name="Rechteck 1190"/>
          <p:cNvSpPr/>
          <p:nvPr/>
        </p:nvSpPr>
        <p:spPr>
          <a:xfrm>
            <a:off x="4916987" y="2287856"/>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Tree>
    <p:extLst>
      <p:ext uri="{BB962C8B-B14F-4D97-AF65-F5344CB8AC3E}">
        <p14:creationId xmlns:p14="http://schemas.microsoft.com/office/powerpoint/2010/main" val="2672490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0" name="Objekt 19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7" imgH="348" progId="TCLayout.ActiveDocument.1">
                  <p:embed/>
                </p:oleObj>
              </mc:Choice>
              <mc:Fallback>
                <p:oleObj name="think-cell Folie" r:id="rId4" imgW="347" imgH="348" progId="TCLayout.ActiveDocument.1">
                  <p:embed/>
                  <p:pic>
                    <p:nvPicPr>
                      <p:cNvPr id="1940" name="Objekt 19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37" name="Titel 1936"/>
          <p:cNvSpPr>
            <a:spLocks noGrp="1"/>
          </p:cNvSpPr>
          <p:nvPr>
            <p:ph type="title"/>
          </p:nvPr>
        </p:nvSpPr>
        <p:spPr/>
        <p:txBody>
          <a:bodyPr vert="horz"/>
          <a:lstStyle/>
          <a:p>
            <a:r>
              <a:rPr lang="de-DE" dirty="0"/>
              <a:t>Das Zusammenwirken der definierten Basiskomponenten bei Digitalisierungsvor-haben muss vor dem Hintergrund der verschiedenen Festlegungen gedacht werden</a:t>
            </a:r>
          </a:p>
        </p:txBody>
      </p:sp>
      <p:sp>
        <p:nvSpPr>
          <p:cNvPr id="3" name="Fußzeilenplatzhalter 2"/>
          <p:cNvSpPr>
            <a:spLocks noGrp="1"/>
          </p:cNvSpPr>
          <p:nvPr>
            <p:ph type="ftr" sz="quarter" idx="10"/>
          </p:nvPr>
        </p:nvSpPr>
        <p:spPr/>
        <p:txBody>
          <a:bodyPr/>
          <a:lstStyle/>
          <a:p>
            <a:pPr>
              <a:defRPr/>
            </a:pPr>
            <a:r>
              <a:rPr lang="de-DE" dirty="0" err="1"/>
              <a:t>Factbook</a:t>
            </a:r>
            <a:r>
              <a:rPr lang="de-DE" dirty="0"/>
              <a:t> Verwaltungsdigitalisierung</a:t>
            </a:r>
          </a:p>
        </p:txBody>
      </p:sp>
      <p:sp>
        <p:nvSpPr>
          <p:cNvPr id="4" name="Foliennummernplatzhalter 3"/>
          <p:cNvSpPr>
            <a:spLocks noGrp="1"/>
          </p:cNvSpPr>
          <p:nvPr>
            <p:ph type="sldNum" sz="quarter" idx="12"/>
          </p:nvPr>
        </p:nvSpPr>
        <p:spPr/>
        <p:txBody>
          <a:bodyPr/>
          <a:lstStyle/>
          <a:p>
            <a:fld id="{D4A18DF9-8FF6-4BA5-BC52-5FB4772E2292}" type="slidenum">
              <a:rPr lang="de-DE" smtClean="0"/>
              <a:pPr/>
              <a:t>3</a:t>
            </a:fld>
            <a:endParaRPr lang="de-DE" dirty="0"/>
          </a:p>
        </p:txBody>
      </p:sp>
      <p:sp>
        <p:nvSpPr>
          <p:cNvPr id="1938" name="Textplatzhalter 1937"/>
          <p:cNvSpPr>
            <a:spLocks noGrp="1"/>
          </p:cNvSpPr>
          <p:nvPr>
            <p:ph type="body" sz="quarter" idx="14"/>
          </p:nvPr>
        </p:nvSpPr>
        <p:spPr/>
        <p:txBody>
          <a:bodyPr/>
          <a:lstStyle/>
          <a:p>
            <a:r>
              <a:rPr lang="de-DE" dirty="0"/>
              <a:t>Plattformbasierte Verwaltungsdigitalisierung</a:t>
            </a:r>
          </a:p>
        </p:txBody>
      </p:sp>
      <p:sp>
        <p:nvSpPr>
          <p:cNvPr id="6" name="Textplatzhalter 5"/>
          <p:cNvSpPr>
            <a:spLocks noGrp="1"/>
          </p:cNvSpPr>
          <p:nvPr>
            <p:ph type="body" sz="quarter" idx="13"/>
          </p:nvPr>
        </p:nvSpPr>
        <p:spPr/>
        <p:txBody>
          <a:bodyPr/>
          <a:lstStyle/>
          <a:p>
            <a:r>
              <a:rPr lang="de-DE" dirty="0"/>
              <a:t>Der digitale Amtsbesuch und relevante Basiskomponenten</a:t>
            </a:r>
          </a:p>
        </p:txBody>
      </p:sp>
      <p:sp>
        <p:nvSpPr>
          <p:cNvPr id="1939" name="Textplatzhalter 1938"/>
          <p:cNvSpPr>
            <a:spLocks noGrp="1"/>
          </p:cNvSpPr>
          <p:nvPr>
            <p:ph type="body" sz="quarter" idx="15"/>
          </p:nvPr>
        </p:nvSpPr>
        <p:spPr>
          <a:xfrm>
            <a:off x="693211" y="6454254"/>
            <a:ext cx="5044808" cy="246221"/>
          </a:xfrm>
        </p:spPr>
        <p:txBody>
          <a:bodyPr/>
          <a:lstStyle/>
          <a:p>
            <a:r>
              <a:rPr lang="de-DE" kern="0" dirty="0"/>
              <a:t>* Theoretisch geht auch DE-Mail – </a:t>
            </a:r>
            <a:r>
              <a:rPr lang="de-DE" kern="0" dirty="0" err="1"/>
              <a:t>defacto</a:t>
            </a:r>
            <a:r>
              <a:rPr lang="de-DE" kern="0" dirty="0"/>
              <a:t> nicht relevant, sollte nicht genutzt werden</a:t>
            </a:r>
            <a:br>
              <a:rPr lang="de-DE" kern="0" dirty="0"/>
            </a:br>
            <a:r>
              <a:rPr lang="de-DE" kern="0" dirty="0"/>
              <a:t>** XML-Datensatz enthält Postkorb-Handle. Ebenso das PDF der Antragsdaten</a:t>
            </a:r>
          </a:p>
        </p:txBody>
      </p:sp>
      <p:sp>
        <p:nvSpPr>
          <p:cNvPr id="973" name="Abgerundetes Rechteck 12">
            <a:extLst>
              <a:ext uri="{FF2B5EF4-FFF2-40B4-BE49-F238E27FC236}">
                <a16:creationId xmlns:a16="http://schemas.microsoft.com/office/drawing/2014/main" id="{1B9D5F0D-4D47-461F-87B4-88108D79727F}"/>
              </a:ext>
            </a:extLst>
          </p:cNvPr>
          <p:cNvSpPr/>
          <p:nvPr/>
        </p:nvSpPr>
        <p:spPr>
          <a:xfrm>
            <a:off x="3448310" y="2505081"/>
            <a:ext cx="900000" cy="684000"/>
          </a:xfrm>
          <a:prstGeom prst="roundRect">
            <a:avLst>
              <a:gd name="adj" fmla="val 9983"/>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grpSp>
        <p:nvGrpSpPr>
          <p:cNvPr id="974" name="Gruppieren 973"/>
          <p:cNvGrpSpPr/>
          <p:nvPr/>
        </p:nvGrpSpPr>
        <p:grpSpPr>
          <a:xfrm>
            <a:off x="3541633" y="2645228"/>
            <a:ext cx="254762" cy="157335"/>
            <a:chOff x="7073453" y="2563341"/>
            <a:chExt cx="254762" cy="157335"/>
          </a:xfrm>
        </p:grpSpPr>
        <p:sp>
          <p:nvSpPr>
            <p:cNvPr id="975" name="Freihandform: Form 223">
              <a:extLst>
                <a:ext uri="{FF2B5EF4-FFF2-40B4-BE49-F238E27FC236}">
                  <a16:creationId xmlns:a16="http://schemas.microsoft.com/office/drawing/2014/main" id="{D4806A20-A82F-4A5F-AD8C-BD961479E435}"/>
                </a:ext>
              </a:extLst>
            </p:cNvPr>
            <p:cNvSpPr/>
            <p:nvPr/>
          </p:nvSpPr>
          <p:spPr>
            <a:xfrm>
              <a:off x="7073453" y="2584094"/>
              <a:ext cx="162122" cy="136582"/>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2700" cap="sq">
              <a:solidFill>
                <a:schemeClr val="accent5"/>
              </a:solidFill>
              <a:prstDash val="solid"/>
              <a:miter/>
            </a:ln>
          </p:spPr>
          <p:txBody>
            <a:bodyPr lIns="36000" tIns="36000" rIns="36000" bIns="36000" rtlCol="0" anchor="ctr"/>
            <a:lstStyle/>
            <a:p>
              <a:pPr>
                <a:defRPr/>
              </a:pPr>
              <a:endParaRPr lang="de-DE" sz="800" kern="0" dirty="0"/>
            </a:p>
          </p:txBody>
        </p:sp>
        <p:sp>
          <p:nvSpPr>
            <p:cNvPr id="976" name="Freihandform: Form 224">
              <a:extLst>
                <a:ext uri="{FF2B5EF4-FFF2-40B4-BE49-F238E27FC236}">
                  <a16:creationId xmlns:a16="http://schemas.microsoft.com/office/drawing/2014/main" id="{B0DE8EF5-AD7F-4C08-A1DE-FD7551BB1E27}"/>
                </a:ext>
              </a:extLst>
            </p:cNvPr>
            <p:cNvSpPr/>
            <p:nvPr/>
          </p:nvSpPr>
          <p:spPr>
            <a:xfrm>
              <a:off x="7208940" y="2563341"/>
              <a:ext cx="119275" cy="157335"/>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2700" cap="sq">
              <a:solidFill>
                <a:schemeClr val="accent5"/>
              </a:solidFill>
              <a:prstDash val="solid"/>
              <a:miter/>
            </a:ln>
          </p:spPr>
          <p:txBody>
            <a:bodyPr lIns="36000" tIns="36000" rIns="36000" bIns="36000" rtlCol="0" anchor="ctr"/>
            <a:lstStyle/>
            <a:p>
              <a:pPr>
                <a:defRPr/>
              </a:pPr>
              <a:endParaRPr lang="de-DE" sz="800" kern="0" dirty="0"/>
            </a:p>
          </p:txBody>
        </p:sp>
      </p:grpSp>
      <p:grpSp>
        <p:nvGrpSpPr>
          <p:cNvPr id="977" name="Gruppieren 510">
            <a:extLst>
              <a:ext uri="{FF2B5EF4-FFF2-40B4-BE49-F238E27FC236}">
                <a16:creationId xmlns:a16="http://schemas.microsoft.com/office/drawing/2014/main" id="{74CD490D-35A7-4536-8EEC-8323CEB1A910}"/>
              </a:ext>
            </a:extLst>
          </p:cNvPr>
          <p:cNvGrpSpPr>
            <a:grpSpLocks noChangeAspect="1"/>
          </p:cNvGrpSpPr>
          <p:nvPr/>
        </p:nvGrpSpPr>
        <p:grpSpPr>
          <a:xfrm>
            <a:off x="4024936" y="2659265"/>
            <a:ext cx="196748" cy="129260"/>
            <a:chOff x="3925395" y="1785648"/>
            <a:chExt cx="552450" cy="457200"/>
          </a:xfrm>
        </p:grpSpPr>
        <p:sp>
          <p:nvSpPr>
            <p:cNvPr id="978" name="Freihandform: Form 166">
              <a:extLst>
                <a:ext uri="{FF2B5EF4-FFF2-40B4-BE49-F238E27FC236}">
                  <a16:creationId xmlns:a16="http://schemas.microsoft.com/office/drawing/2014/main" id="{A7DE4998-3E89-4A94-ACAA-107376A89B44}"/>
                </a:ext>
              </a:extLst>
            </p:cNvPr>
            <p:cNvSpPr/>
            <p:nvPr/>
          </p:nvSpPr>
          <p:spPr>
            <a:xfrm>
              <a:off x="3992070" y="1852323"/>
              <a:ext cx="419100" cy="200025"/>
            </a:xfrm>
            <a:custGeom>
              <a:avLst/>
              <a:gdLst>
                <a:gd name="connsiteX0" fmla="*/ 0 w 419100"/>
                <a:gd name="connsiteY0" fmla="*/ 0 h 200025"/>
                <a:gd name="connsiteX1" fmla="*/ 209550 w 419100"/>
                <a:gd name="connsiteY1" fmla="*/ 200025 h 200025"/>
                <a:gd name="connsiteX2" fmla="*/ 419100 w 419100"/>
                <a:gd name="connsiteY2" fmla="*/ 0 h 200025"/>
              </a:gdLst>
              <a:ahLst/>
              <a:cxnLst>
                <a:cxn ang="0">
                  <a:pos x="connsiteX0" y="connsiteY0"/>
                </a:cxn>
                <a:cxn ang="0">
                  <a:pos x="connsiteX1" y="connsiteY1"/>
                </a:cxn>
                <a:cxn ang="0">
                  <a:pos x="connsiteX2" y="connsiteY2"/>
                </a:cxn>
              </a:cxnLst>
              <a:rect l="l" t="t" r="r" b="b"/>
              <a:pathLst>
                <a:path w="419100" h="200025">
                  <a:moveTo>
                    <a:pt x="0" y="0"/>
                  </a:moveTo>
                  <a:lnTo>
                    <a:pt x="209550" y="200025"/>
                  </a:lnTo>
                  <a:lnTo>
                    <a:pt x="419100" y="0"/>
                  </a:lnTo>
                </a:path>
              </a:pathLst>
            </a:custGeom>
            <a:noFill/>
            <a:ln w="12700" cap="sq">
              <a:solidFill>
                <a:schemeClr val="accent5"/>
              </a:solidFill>
              <a:prstDash val="solid"/>
              <a:miter/>
            </a:ln>
          </p:spPr>
          <p:txBody>
            <a:bodyPr lIns="36000" tIns="36000" rIns="36000" bIns="36000" rtlCol="0" anchor="ctr"/>
            <a:lstStyle/>
            <a:p>
              <a:endParaRPr lang="de-DE" sz="800" dirty="0"/>
            </a:p>
          </p:txBody>
        </p:sp>
        <p:sp>
          <p:nvSpPr>
            <p:cNvPr id="979" name="Freihandform: Form 167">
              <a:extLst>
                <a:ext uri="{FF2B5EF4-FFF2-40B4-BE49-F238E27FC236}">
                  <a16:creationId xmlns:a16="http://schemas.microsoft.com/office/drawing/2014/main" id="{DC64D642-5C23-4E56-9C33-AC23CE2E1CA0}"/>
                </a:ext>
              </a:extLst>
            </p:cNvPr>
            <p:cNvSpPr/>
            <p:nvPr/>
          </p:nvSpPr>
          <p:spPr>
            <a:xfrm>
              <a:off x="3992070" y="2033298"/>
              <a:ext cx="95250" cy="123825"/>
            </a:xfrm>
            <a:custGeom>
              <a:avLst/>
              <a:gdLst>
                <a:gd name="connsiteX0" fmla="*/ 0 w 95250"/>
                <a:gd name="connsiteY0" fmla="*/ 123825 h 123825"/>
                <a:gd name="connsiteX1" fmla="*/ 95250 w 95250"/>
                <a:gd name="connsiteY1" fmla="*/ 0 h 123825"/>
              </a:gdLst>
              <a:ahLst/>
              <a:cxnLst>
                <a:cxn ang="0">
                  <a:pos x="connsiteX0" y="connsiteY0"/>
                </a:cxn>
                <a:cxn ang="0">
                  <a:pos x="connsiteX1" y="connsiteY1"/>
                </a:cxn>
              </a:cxnLst>
              <a:rect l="l" t="t" r="r" b="b"/>
              <a:pathLst>
                <a:path w="95250" h="123825">
                  <a:moveTo>
                    <a:pt x="0" y="123825"/>
                  </a:moveTo>
                  <a:lnTo>
                    <a:pt x="95250" y="0"/>
                  </a:lnTo>
                </a:path>
              </a:pathLst>
            </a:custGeom>
            <a:ln w="12700" cap="sq">
              <a:solidFill>
                <a:schemeClr val="accent5"/>
              </a:solidFill>
              <a:prstDash val="solid"/>
              <a:miter/>
            </a:ln>
          </p:spPr>
          <p:txBody>
            <a:bodyPr lIns="36000" tIns="36000" rIns="36000" bIns="36000" rtlCol="0" anchor="ctr"/>
            <a:lstStyle/>
            <a:p>
              <a:endParaRPr lang="de-DE" sz="800" dirty="0"/>
            </a:p>
          </p:txBody>
        </p:sp>
        <p:sp>
          <p:nvSpPr>
            <p:cNvPr id="980" name="Freihandform: Form 168">
              <a:extLst>
                <a:ext uri="{FF2B5EF4-FFF2-40B4-BE49-F238E27FC236}">
                  <a16:creationId xmlns:a16="http://schemas.microsoft.com/office/drawing/2014/main" id="{75577E59-DD76-48BE-917E-8C56AB080038}"/>
                </a:ext>
              </a:extLst>
            </p:cNvPr>
            <p:cNvSpPr/>
            <p:nvPr/>
          </p:nvSpPr>
          <p:spPr>
            <a:xfrm>
              <a:off x="4315920" y="2033298"/>
              <a:ext cx="95250" cy="123825"/>
            </a:xfrm>
            <a:custGeom>
              <a:avLst/>
              <a:gdLst>
                <a:gd name="connsiteX0" fmla="*/ 0 w 95250"/>
                <a:gd name="connsiteY0" fmla="*/ 0 h 123825"/>
                <a:gd name="connsiteX1" fmla="*/ 95250 w 95250"/>
                <a:gd name="connsiteY1" fmla="*/ 123825 h 123825"/>
              </a:gdLst>
              <a:ahLst/>
              <a:cxnLst>
                <a:cxn ang="0">
                  <a:pos x="connsiteX0" y="connsiteY0"/>
                </a:cxn>
                <a:cxn ang="0">
                  <a:pos x="connsiteX1" y="connsiteY1"/>
                </a:cxn>
              </a:cxnLst>
              <a:rect l="l" t="t" r="r" b="b"/>
              <a:pathLst>
                <a:path w="95250" h="123825">
                  <a:moveTo>
                    <a:pt x="0" y="0"/>
                  </a:moveTo>
                  <a:lnTo>
                    <a:pt x="95250" y="123825"/>
                  </a:lnTo>
                </a:path>
              </a:pathLst>
            </a:custGeom>
            <a:ln w="12700" cap="sq">
              <a:solidFill>
                <a:schemeClr val="accent5"/>
              </a:solidFill>
              <a:prstDash val="solid"/>
              <a:miter/>
            </a:ln>
          </p:spPr>
          <p:txBody>
            <a:bodyPr lIns="36000" tIns="36000" rIns="36000" bIns="36000" rtlCol="0" anchor="ctr"/>
            <a:lstStyle/>
            <a:p>
              <a:endParaRPr lang="de-DE" sz="800" dirty="0"/>
            </a:p>
          </p:txBody>
        </p:sp>
        <p:sp>
          <p:nvSpPr>
            <p:cNvPr id="981" name="Freihandform: Form 169">
              <a:extLst>
                <a:ext uri="{FF2B5EF4-FFF2-40B4-BE49-F238E27FC236}">
                  <a16:creationId xmlns:a16="http://schemas.microsoft.com/office/drawing/2014/main" id="{8CF40263-D27C-4B24-8C84-AAA8BE8EEE48}"/>
                </a:ext>
              </a:extLst>
            </p:cNvPr>
            <p:cNvSpPr/>
            <p:nvPr/>
          </p:nvSpPr>
          <p:spPr>
            <a:xfrm>
              <a:off x="3925395" y="1785648"/>
              <a:ext cx="552450" cy="457200"/>
            </a:xfrm>
            <a:custGeom>
              <a:avLst/>
              <a:gdLst>
                <a:gd name="connsiteX0" fmla="*/ 0 w 552450"/>
                <a:gd name="connsiteY0" fmla="*/ 47625 h 457200"/>
                <a:gd name="connsiteX1" fmla="*/ 0 w 552450"/>
                <a:gd name="connsiteY1" fmla="*/ 409575 h 457200"/>
                <a:gd name="connsiteX2" fmla="*/ 47625 w 552450"/>
                <a:gd name="connsiteY2" fmla="*/ 457200 h 457200"/>
                <a:gd name="connsiteX3" fmla="*/ 504825 w 552450"/>
                <a:gd name="connsiteY3" fmla="*/ 457200 h 457200"/>
                <a:gd name="connsiteX4" fmla="*/ 552450 w 552450"/>
                <a:gd name="connsiteY4" fmla="*/ 409575 h 457200"/>
                <a:gd name="connsiteX5" fmla="*/ 552450 w 552450"/>
                <a:gd name="connsiteY5" fmla="*/ 47625 h 457200"/>
                <a:gd name="connsiteX6" fmla="*/ 504825 w 552450"/>
                <a:gd name="connsiteY6" fmla="*/ 0 h 457200"/>
                <a:gd name="connsiteX7" fmla="*/ 47625 w 552450"/>
                <a:gd name="connsiteY7" fmla="*/ 0 h 457200"/>
                <a:gd name="connsiteX8" fmla="*/ 0 w 552450"/>
                <a:gd name="connsiteY8" fmla="*/ 4762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457200">
                  <a:moveTo>
                    <a:pt x="0" y="47625"/>
                  </a:moveTo>
                  <a:lnTo>
                    <a:pt x="0" y="409575"/>
                  </a:lnTo>
                  <a:cubicBezTo>
                    <a:pt x="0" y="436245"/>
                    <a:pt x="20955" y="457200"/>
                    <a:pt x="47625" y="457200"/>
                  </a:cubicBezTo>
                  <a:lnTo>
                    <a:pt x="504825" y="457200"/>
                  </a:lnTo>
                  <a:cubicBezTo>
                    <a:pt x="531495" y="457200"/>
                    <a:pt x="552450" y="436245"/>
                    <a:pt x="552450" y="409575"/>
                  </a:cubicBezTo>
                  <a:lnTo>
                    <a:pt x="552450" y="47625"/>
                  </a:lnTo>
                  <a:cubicBezTo>
                    <a:pt x="552450" y="20955"/>
                    <a:pt x="531495" y="0"/>
                    <a:pt x="504825" y="0"/>
                  </a:cubicBezTo>
                  <a:lnTo>
                    <a:pt x="47625" y="0"/>
                  </a:lnTo>
                  <a:cubicBezTo>
                    <a:pt x="20955" y="0"/>
                    <a:pt x="0" y="20955"/>
                    <a:pt x="0" y="47625"/>
                  </a:cubicBezTo>
                  <a:close/>
                </a:path>
              </a:pathLst>
            </a:custGeom>
            <a:noFill/>
            <a:ln w="12700" cap="sq">
              <a:solidFill>
                <a:schemeClr val="accent5"/>
              </a:solidFill>
              <a:prstDash val="solid"/>
              <a:miter/>
            </a:ln>
          </p:spPr>
          <p:txBody>
            <a:bodyPr lIns="36000" tIns="36000" rIns="36000" bIns="36000" rtlCol="0" anchor="ctr"/>
            <a:lstStyle/>
            <a:p>
              <a:endParaRPr lang="de-DE" sz="800" dirty="0"/>
            </a:p>
          </p:txBody>
        </p:sp>
      </p:grpSp>
      <p:sp>
        <p:nvSpPr>
          <p:cNvPr id="982" name="Textfeld 509">
            <a:extLst>
              <a:ext uri="{FF2B5EF4-FFF2-40B4-BE49-F238E27FC236}">
                <a16:creationId xmlns:a16="http://schemas.microsoft.com/office/drawing/2014/main" id="{F8B1162D-90A9-4807-A120-E2E6D7A3F0B9}"/>
              </a:ext>
            </a:extLst>
          </p:cNvPr>
          <p:cNvSpPr txBox="1">
            <a:spLocks/>
          </p:cNvSpPr>
          <p:nvPr/>
        </p:nvSpPr>
        <p:spPr>
          <a:xfrm>
            <a:off x="3448310"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Nutzer-konto</a:t>
            </a:r>
          </a:p>
        </p:txBody>
      </p:sp>
      <p:sp>
        <p:nvSpPr>
          <p:cNvPr id="983" name="Textfeld 515">
            <a:extLst>
              <a:ext uri="{FF2B5EF4-FFF2-40B4-BE49-F238E27FC236}">
                <a16:creationId xmlns:a16="http://schemas.microsoft.com/office/drawing/2014/main" id="{4C3251A9-846A-47F8-8F0F-B1B5F99431EE}"/>
              </a:ext>
            </a:extLst>
          </p:cNvPr>
          <p:cNvSpPr txBox="1">
            <a:spLocks/>
          </p:cNvSpPr>
          <p:nvPr/>
        </p:nvSpPr>
        <p:spPr>
          <a:xfrm>
            <a:off x="3898310"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Postfach</a:t>
            </a:r>
          </a:p>
        </p:txBody>
      </p:sp>
      <p:sp>
        <p:nvSpPr>
          <p:cNvPr id="984" name="Abgerundetes Rechteck 13">
            <a:extLst>
              <a:ext uri="{FF2B5EF4-FFF2-40B4-BE49-F238E27FC236}">
                <a16:creationId xmlns:a16="http://schemas.microsoft.com/office/drawing/2014/main" id="{5CD60640-289D-4D30-8AE0-0F7EB7900213}"/>
              </a:ext>
            </a:extLst>
          </p:cNvPr>
          <p:cNvSpPr/>
          <p:nvPr/>
        </p:nvSpPr>
        <p:spPr>
          <a:xfrm>
            <a:off x="3037634" y="4644179"/>
            <a:ext cx="4128865" cy="950038"/>
          </a:xfrm>
          <a:prstGeom prst="roundRect">
            <a:avLst>
              <a:gd name="adj" fmla="val 6390"/>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sp>
        <p:nvSpPr>
          <p:cNvPr id="985" name="Textfeld 984">
            <a:extLst>
              <a:ext uri="{FF2B5EF4-FFF2-40B4-BE49-F238E27FC236}">
                <a16:creationId xmlns:a16="http://schemas.microsoft.com/office/drawing/2014/main" id="{306D977B-E9B3-4510-A00B-D9B69D94EE77}"/>
              </a:ext>
            </a:extLst>
          </p:cNvPr>
          <p:cNvSpPr txBox="1">
            <a:spLocks noChangeAspect="1"/>
          </p:cNvSpPr>
          <p:nvPr/>
        </p:nvSpPr>
        <p:spPr>
          <a:xfrm>
            <a:off x="829074" y="2718595"/>
            <a:ext cx="93588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Verwaltungskunde</a:t>
            </a:r>
          </a:p>
        </p:txBody>
      </p:sp>
      <p:cxnSp>
        <p:nvCxnSpPr>
          <p:cNvPr id="986" name="Gerade Verbindung mit Pfeil 985">
            <a:extLst>
              <a:ext uri="{FF2B5EF4-FFF2-40B4-BE49-F238E27FC236}">
                <a16:creationId xmlns:a16="http://schemas.microsoft.com/office/drawing/2014/main" id="{781D0F32-56FD-4CBC-98CE-4B342E8E7592}"/>
              </a:ext>
            </a:extLst>
          </p:cNvPr>
          <p:cNvCxnSpPr>
            <a:cxnSpLocks/>
            <a:stCxn id="985" idx="2"/>
            <a:endCxn id="989" idx="0"/>
          </p:cNvCxnSpPr>
          <p:nvPr/>
        </p:nvCxnSpPr>
        <p:spPr>
          <a:xfrm>
            <a:off x="1297014" y="2914409"/>
            <a:ext cx="1" cy="435083"/>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87" name="Textfeld 986">
            <a:extLst>
              <a:ext uri="{FF2B5EF4-FFF2-40B4-BE49-F238E27FC236}">
                <a16:creationId xmlns:a16="http://schemas.microsoft.com/office/drawing/2014/main" id="{81D4D4BE-9DF6-452C-9DB3-17575C18E898}"/>
              </a:ext>
            </a:extLst>
          </p:cNvPr>
          <p:cNvSpPr txBox="1"/>
          <p:nvPr/>
        </p:nvSpPr>
        <p:spPr>
          <a:xfrm>
            <a:off x="1808794" y="5433134"/>
            <a:ext cx="1242379" cy="442035"/>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Link zu Service der zuständigen Behörde (Webadresse)</a:t>
            </a:r>
          </a:p>
        </p:txBody>
      </p:sp>
      <p:sp>
        <p:nvSpPr>
          <p:cNvPr id="988" name="Freihandform: Form 169">
            <a:extLst>
              <a:ext uri="{FF2B5EF4-FFF2-40B4-BE49-F238E27FC236}">
                <a16:creationId xmlns:a16="http://schemas.microsoft.com/office/drawing/2014/main" id="{1A0DFE7C-E574-4BFD-B13E-0EA280877A90}"/>
              </a:ext>
            </a:extLst>
          </p:cNvPr>
          <p:cNvSpPr/>
          <p:nvPr/>
        </p:nvSpPr>
        <p:spPr>
          <a:xfrm>
            <a:off x="2309685" y="5201072"/>
            <a:ext cx="240596" cy="210245"/>
          </a:xfrm>
          <a:custGeom>
            <a:avLst/>
            <a:gdLst>
              <a:gd name="connsiteX0" fmla="*/ 181096 w 229673"/>
              <a:gd name="connsiteY0" fmla="*/ 95250 h 248602"/>
              <a:gd name="connsiteX1" fmla="*/ 228721 w 229673"/>
              <a:gd name="connsiteY1" fmla="*/ 47625 h 248602"/>
              <a:gd name="connsiteX2" fmla="*/ 181096 w 229673"/>
              <a:gd name="connsiteY2" fmla="*/ 0 h 248602"/>
              <a:gd name="connsiteX3" fmla="*/ 133471 w 229673"/>
              <a:gd name="connsiteY3" fmla="*/ 47625 h 248602"/>
              <a:gd name="connsiteX4" fmla="*/ 135376 w 229673"/>
              <a:gd name="connsiteY4" fmla="*/ 60960 h 248602"/>
              <a:gd name="connsiteX5" fmla="*/ 81084 w 229673"/>
              <a:gd name="connsiteY5" fmla="*/ 89535 h 248602"/>
              <a:gd name="connsiteX6" fmla="*/ 13456 w 229673"/>
              <a:gd name="connsiteY6" fmla="*/ 90488 h 248602"/>
              <a:gd name="connsiteX7" fmla="*/ 14409 w 229673"/>
              <a:gd name="connsiteY7" fmla="*/ 158115 h 248602"/>
              <a:gd name="connsiteX8" fmla="*/ 81084 w 229673"/>
              <a:gd name="connsiteY8" fmla="*/ 158115 h 248602"/>
              <a:gd name="connsiteX9" fmla="*/ 135376 w 229673"/>
              <a:gd name="connsiteY9" fmla="*/ 186690 h 248602"/>
              <a:gd name="connsiteX10" fmla="*/ 133471 w 229673"/>
              <a:gd name="connsiteY10" fmla="*/ 200025 h 248602"/>
              <a:gd name="connsiteX11" fmla="*/ 181096 w 229673"/>
              <a:gd name="connsiteY11" fmla="*/ 248602 h 248602"/>
              <a:gd name="connsiteX12" fmla="*/ 229674 w 229673"/>
              <a:gd name="connsiteY12" fmla="*/ 200977 h 248602"/>
              <a:gd name="connsiteX13" fmla="*/ 182049 w 229673"/>
              <a:gd name="connsiteY13" fmla="*/ 152400 h 248602"/>
              <a:gd name="connsiteX14" fmla="*/ 143949 w 229673"/>
              <a:gd name="connsiteY14" fmla="*/ 169545 h 248602"/>
              <a:gd name="connsiteX15" fmla="*/ 91561 w 229673"/>
              <a:gd name="connsiteY15" fmla="*/ 141923 h 248602"/>
              <a:gd name="connsiteX16" fmla="*/ 91561 w 229673"/>
              <a:gd name="connsiteY16" fmla="*/ 105727 h 248602"/>
              <a:gd name="connsiteX17" fmla="*/ 143949 w 229673"/>
              <a:gd name="connsiteY17" fmla="*/ 78105 h 248602"/>
              <a:gd name="connsiteX18" fmla="*/ 181096 w 229673"/>
              <a:gd name="connsiteY18" fmla="*/ 95250 h 248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9673" h="248602">
                <a:moveTo>
                  <a:pt x="181096" y="95250"/>
                </a:moveTo>
                <a:cubicBezTo>
                  <a:pt x="207766" y="95250"/>
                  <a:pt x="228721" y="74295"/>
                  <a:pt x="228721" y="47625"/>
                </a:cubicBezTo>
                <a:cubicBezTo>
                  <a:pt x="228721" y="20955"/>
                  <a:pt x="207766" y="0"/>
                  <a:pt x="181096" y="0"/>
                </a:cubicBezTo>
                <a:cubicBezTo>
                  <a:pt x="154426" y="0"/>
                  <a:pt x="133471" y="20955"/>
                  <a:pt x="133471" y="47625"/>
                </a:cubicBezTo>
                <a:cubicBezTo>
                  <a:pt x="133471" y="52388"/>
                  <a:pt x="134424" y="56198"/>
                  <a:pt x="135376" y="60960"/>
                </a:cubicBezTo>
                <a:lnTo>
                  <a:pt x="81084" y="89535"/>
                </a:lnTo>
                <a:cubicBezTo>
                  <a:pt x="62034" y="71438"/>
                  <a:pt x="32506" y="71438"/>
                  <a:pt x="13456" y="90488"/>
                </a:cubicBezTo>
                <a:cubicBezTo>
                  <a:pt x="-4641" y="109538"/>
                  <a:pt x="-4641" y="139065"/>
                  <a:pt x="14409" y="158115"/>
                </a:cubicBezTo>
                <a:cubicBezTo>
                  <a:pt x="32506" y="176213"/>
                  <a:pt x="62034" y="176213"/>
                  <a:pt x="81084" y="158115"/>
                </a:cubicBezTo>
                <a:lnTo>
                  <a:pt x="135376" y="186690"/>
                </a:lnTo>
                <a:cubicBezTo>
                  <a:pt x="134424" y="191452"/>
                  <a:pt x="133471" y="195263"/>
                  <a:pt x="133471" y="200025"/>
                </a:cubicBezTo>
                <a:cubicBezTo>
                  <a:pt x="133471" y="226695"/>
                  <a:pt x="154426" y="248602"/>
                  <a:pt x="181096" y="248602"/>
                </a:cubicBezTo>
                <a:cubicBezTo>
                  <a:pt x="207766" y="248602"/>
                  <a:pt x="229674" y="227648"/>
                  <a:pt x="229674" y="200977"/>
                </a:cubicBezTo>
                <a:cubicBezTo>
                  <a:pt x="229674" y="174308"/>
                  <a:pt x="208719" y="152400"/>
                  <a:pt x="182049" y="152400"/>
                </a:cubicBezTo>
                <a:cubicBezTo>
                  <a:pt x="167761" y="152400"/>
                  <a:pt x="153474" y="159068"/>
                  <a:pt x="143949" y="169545"/>
                </a:cubicBezTo>
                <a:lnTo>
                  <a:pt x="91561" y="141923"/>
                </a:lnTo>
                <a:cubicBezTo>
                  <a:pt x="96324" y="130493"/>
                  <a:pt x="96324" y="117157"/>
                  <a:pt x="91561" y="105727"/>
                </a:cubicBezTo>
                <a:lnTo>
                  <a:pt x="143949" y="78105"/>
                </a:lnTo>
                <a:cubicBezTo>
                  <a:pt x="153474" y="88582"/>
                  <a:pt x="166809" y="95250"/>
                  <a:pt x="181096" y="95250"/>
                </a:cubicBezTo>
                <a:close/>
              </a:path>
            </a:pathLst>
          </a:custGeom>
          <a:solidFill>
            <a:schemeClr val="accent5"/>
          </a:solidFill>
          <a:ln w="9525" cap="flat">
            <a:solidFill>
              <a:schemeClr val="accent5"/>
            </a:solidFill>
            <a:prstDash val="solid"/>
            <a:miter/>
          </a:ln>
        </p:spPr>
        <p:txBody>
          <a:bodyPr lIns="36000" tIns="36000" rIns="36000" bIns="36000" rtlCol="0" anchor="ctr"/>
          <a:lstStyle/>
          <a:p>
            <a:endParaRPr lang="de-DE" sz="800" dirty="0"/>
          </a:p>
        </p:txBody>
      </p:sp>
      <p:sp>
        <p:nvSpPr>
          <p:cNvPr id="989" name="Abgerundetes Rechteck 11">
            <a:extLst>
              <a:ext uri="{FF2B5EF4-FFF2-40B4-BE49-F238E27FC236}">
                <a16:creationId xmlns:a16="http://schemas.microsoft.com/office/drawing/2014/main" id="{AEA2CB68-A3D9-4825-BCF9-7FB990F1F2C0}"/>
              </a:ext>
            </a:extLst>
          </p:cNvPr>
          <p:cNvSpPr/>
          <p:nvPr/>
        </p:nvSpPr>
        <p:spPr>
          <a:xfrm>
            <a:off x="719743" y="3349492"/>
            <a:ext cx="1154543" cy="2244724"/>
          </a:xfrm>
          <a:prstGeom prst="roundRect">
            <a:avLst>
              <a:gd name="adj" fmla="val 4620"/>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grpSp>
        <p:nvGrpSpPr>
          <p:cNvPr id="990" name="Gruppieren 989">
            <a:extLst>
              <a:ext uri="{FF2B5EF4-FFF2-40B4-BE49-F238E27FC236}">
                <a16:creationId xmlns:a16="http://schemas.microsoft.com/office/drawing/2014/main" id="{374DF1A9-CD1C-4379-AE16-C53189FD93BB}"/>
              </a:ext>
            </a:extLst>
          </p:cNvPr>
          <p:cNvGrpSpPr>
            <a:grpSpLocks noChangeAspect="1"/>
          </p:cNvGrpSpPr>
          <p:nvPr/>
        </p:nvGrpSpPr>
        <p:grpSpPr>
          <a:xfrm>
            <a:off x="1068985" y="4639646"/>
            <a:ext cx="456058" cy="401653"/>
            <a:chOff x="1384220" y="4721915"/>
            <a:chExt cx="523875" cy="571500"/>
          </a:xfrm>
        </p:grpSpPr>
        <p:sp>
          <p:nvSpPr>
            <p:cNvPr id="991" name="Freihandform: Form 538">
              <a:extLst>
                <a:ext uri="{FF2B5EF4-FFF2-40B4-BE49-F238E27FC236}">
                  <a16:creationId xmlns:a16="http://schemas.microsoft.com/office/drawing/2014/main" id="{2744B768-A24E-4610-B2DD-8EB7A8FDDF3A}"/>
                </a:ext>
              </a:extLst>
            </p:cNvPr>
            <p:cNvSpPr/>
            <p:nvPr/>
          </p:nvSpPr>
          <p:spPr>
            <a:xfrm>
              <a:off x="1384220" y="4721915"/>
              <a:ext cx="457200" cy="571500"/>
            </a:xfrm>
            <a:custGeom>
              <a:avLst/>
              <a:gdLst>
                <a:gd name="connsiteX0" fmla="*/ 266700 w 457200"/>
                <a:gd name="connsiteY0" fmla="*/ 571500 h 571500"/>
                <a:gd name="connsiteX1" fmla="*/ 0 w 457200"/>
                <a:gd name="connsiteY1" fmla="*/ 571500 h 571500"/>
                <a:gd name="connsiteX2" fmla="*/ 0 w 457200"/>
                <a:gd name="connsiteY2" fmla="*/ 0 h 571500"/>
                <a:gd name="connsiteX3" fmla="*/ 457200 w 457200"/>
                <a:gd name="connsiteY3" fmla="*/ 0 h 571500"/>
                <a:gd name="connsiteX4" fmla="*/ 457200 w 4572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71500">
                  <a:moveTo>
                    <a:pt x="266700" y="571500"/>
                  </a:moveTo>
                  <a:lnTo>
                    <a:pt x="0" y="571500"/>
                  </a:lnTo>
                  <a:lnTo>
                    <a:pt x="0" y="0"/>
                  </a:lnTo>
                  <a:lnTo>
                    <a:pt x="457200" y="0"/>
                  </a:lnTo>
                  <a:lnTo>
                    <a:pt x="457200" y="28575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992" name="Freihandform: Form 539">
              <a:extLst>
                <a:ext uri="{FF2B5EF4-FFF2-40B4-BE49-F238E27FC236}">
                  <a16:creationId xmlns:a16="http://schemas.microsoft.com/office/drawing/2014/main" id="{E64DE43F-F675-4FDF-8BCA-5861EB5EA13E}"/>
                </a:ext>
              </a:extLst>
            </p:cNvPr>
            <p:cNvSpPr/>
            <p:nvPr/>
          </p:nvSpPr>
          <p:spPr>
            <a:xfrm>
              <a:off x="1584245" y="485526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3" name="Freihandform: Form 540">
              <a:extLst>
                <a:ext uri="{FF2B5EF4-FFF2-40B4-BE49-F238E27FC236}">
                  <a16:creationId xmlns:a16="http://schemas.microsoft.com/office/drawing/2014/main" id="{6DC9A462-E3D3-4F27-A439-3FA2412859F4}"/>
                </a:ext>
              </a:extLst>
            </p:cNvPr>
            <p:cNvSpPr/>
            <p:nvPr/>
          </p:nvSpPr>
          <p:spPr>
            <a:xfrm>
              <a:off x="1488995" y="5141015"/>
              <a:ext cx="123825" cy="9525"/>
            </a:xfrm>
            <a:custGeom>
              <a:avLst/>
              <a:gdLst>
                <a:gd name="connsiteX0" fmla="*/ 0 w 123825"/>
                <a:gd name="connsiteY0" fmla="*/ 0 h 9525"/>
                <a:gd name="connsiteX1" fmla="*/ 123825 w 123825"/>
                <a:gd name="connsiteY1" fmla="*/ 0 h 9525"/>
              </a:gdLst>
              <a:ahLst/>
              <a:cxnLst>
                <a:cxn ang="0">
                  <a:pos x="connsiteX0" y="connsiteY0"/>
                </a:cxn>
                <a:cxn ang="0">
                  <a:pos x="connsiteX1" y="connsiteY1"/>
                </a:cxn>
              </a:cxnLst>
              <a:rect l="l" t="t" r="r" b="b"/>
              <a:pathLst>
                <a:path w="123825" h="9525">
                  <a:moveTo>
                    <a:pt x="0" y="0"/>
                  </a:moveTo>
                  <a:lnTo>
                    <a:pt x="12382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4" name="Freihandform: Form 541">
              <a:extLst>
                <a:ext uri="{FF2B5EF4-FFF2-40B4-BE49-F238E27FC236}">
                  <a16:creationId xmlns:a16="http://schemas.microsoft.com/office/drawing/2014/main" id="{927F290D-E2BD-4573-9A47-6B8412DC51C1}"/>
                </a:ext>
              </a:extLst>
            </p:cNvPr>
            <p:cNvSpPr/>
            <p:nvPr/>
          </p:nvSpPr>
          <p:spPr>
            <a:xfrm>
              <a:off x="1488995" y="48552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5" name="Freihandform: Form 542">
              <a:extLst>
                <a:ext uri="{FF2B5EF4-FFF2-40B4-BE49-F238E27FC236}">
                  <a16:creationId xmlns:a16="http://schemas.microsoft.com/office/drawing/2014/main" id="{C983F9A3-FD87-49FE-A188-A6B4B3610617}"/>
                </a:ext>
              </a:extLst>
            </p:cNvPr>
            <p:cNvSpPr/>
            <p:nvPr/>
          </p:nvSpPr>
          <p:spPr>
            <a:xfrm>
              <a:off x="1584245" y="495051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6" name="Freihandform: Form 543">
              <a:extLst>
                <a:ext uri="{FF2B5EF4-FFF2-40B4-BE49-F238E27FC236}">
                  <a16:creationId xmlns:a16="http://schemas.microsoft.com/office/drawing/2014/main" id="{0D7AF888-D61E-4BC0-801D-59A17978D18A}"/>
                </a:ext>
              </a:extLst>
            </p:cNvPr>
            <p:cNvSpPr/>
            <p:nvPr/>
          </p:nvSpPr>
          <p:spPr>
            <a:xfrm>
              <a:off x="1488995" y="495051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7" name="Freihandform: Form 544">
              <a:extLst>
                <a:ext uri="{FF2B5EF4-FFF2-40B4-BE49-F238E27FC236}">
                  <a16:creationId xmlns:a16="http://schemas.microsoft.com/office/drawing/2014/main" id="{18BC9A56-8142-4C06-8211-3809445EAE68}"/>
                </a:ext>
              </a:extLst>
            </p:cNvPr>
            <p:cNvSpPr/>
            <p:nvPr/>
          </p:nvSpPr>
          <p:spPr>
            <a:xfrm>
              <a:off x="1584245" y="5045765"/>
              <a:ext cx="85725" cy="9525"/>
            </a:xfrm>
            <a:custGeom>
              <a:avLst/>
              <a:gdLst>
                <a:gd name="connsiteX0" fmla="*/ 0 w 85725"/>
                <a:gd name="connsiteY0" fmla="*/ 0 h 9525"/>
                <a:gd name="connsiteX1" fmla="*/ 85725 w 85725"/>
                <a:gd name="connsiteY1" fmla="*/ 0 h 9525"/>
              </a:gdLst>
              <a:ahLst/>
              <a:cxnLst>
                <a:cxn ang="0">
                  <a:pos x="connsiteX0" y="connsiteY0"/>
                </a:cxn>
                <a:cxn ang="0">
                  <a:pos x="connsiteX1" y="connsiteY1"/>
                </a:cxn>
              </a:cxnLst>
              <a:rect l="l" t="t" r="r" b="b"/>
              <a:pathLst>
                <a:path w="85725" h="9525">
                  <a:moveTo>
                    <a:pt x="0" y="0"/>
                  </a:moveTo>
                  <a:lnTo>
                    <a:pt x="8572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8" name="Freihandform: Form 545">
              <a:extLst>
                <a:ext uri="{FF2B5EF4-FFF2-40B4-BE49-F238E27FC236}">
                  <a16:creationId xmlns:a16="http://schemas.microsoft.com/office/drawing/2014/main" id="{D995C39D-F1C9-452F-B9AC-17CCA6F92A4D}"/>
                </a:ext>
              </a:extLst>
            </p:cNvPr>
            <p:cNvSpPr/>
            <p:nvPr/>
          </p:nvSpPr>
          <p:spPr>
            <a:xfrm>
              <a:off x="1488995" y="50457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999" name="Freihandform: Form 546">
              <a:extLst>
                <a:ext uri="{FF2B5EF4-FFF2-40B4-BE49-F238E27FC236}">
                  <a16:creationId xmlns:a16="http://schemas.microsoft.com/office/drawing/2014/main" id="{1DA6F193-EEDA-4E0D-BE1A-8F95C2659893}"/>
                </a:ext>
              </a:extLst>
            </p:cNvPr>
            <p:cNvSpPr/>
            <p:nvPr/>
          </p:nvSpPr>
          <p:spPr>
            <a:xfrm>
              <a:off x="1793795" y="5141015"/>
              <a:ext cx="9525" cy="76200"/>
            </a:xfrm>
            <a:custGeom>
              <a:avLst/>
              <a:gdLst>
                <a:gd name="connsiteX0" fmla="*/ 0 w 9525"/>
                <a:gd name="connsiteY0" fmla="*/ 0 h 76200"/>
                <a:gd name="connsiteX1" fmla="*/ 0 w 9525"/>
                <a:gd name="connsiteY1" fmla="*/ 76200 h 76200"/>
              </a:gdLst>
              <a:ahLst/>
              <a:cxnLst>
                <a:cxn ang="0">
                  <a:pos x="connsiteX0" y="connsiteY0"/>
                </a:cxn>
                <a:cxn ang="0">
                  <a:pos x="connsiteX1" y="connsiteY1"/>
                </a:cxn>
              </a:cxnLst>
              <a:rect l="l" t="t" r="r" b="b"/>
              <a:pathLst>
                <a:path w="9525" h="76200">
                  <a:moveTo>
                    <a:pt x="0" y="0"/>
                  </a:moveTo>
                  <a:lnTo>
                    <a:pt x="0" y="7620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00" name="Freihandform: Form 547">
              <a:extLst>
                <a:ext uri="{FF2B5EF4-FFF2-40B4-BE49-F238E27FC236}">
                  <a16:creationId xmlns:a16="http://schemas.microsoft.com/office/drawing/2014/main" id="{E5090021-59FB-4BED-9A62-3D82FBF69352}"/>
                </a:ext>
              </a:extLst>
            </p:cNvPr>
            <p:cNvSpPr/>
            <p:nvPr/>
          </p:nvSpPr>
          <p:spPr>
            <a:xfrm>
              <a:off x="1755695" y="5179115"/>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01" name="Freihandform: Form 548">
              <a:extLst>
                <a:ext uri="{FF2B5EF4-FFF2-40B4-BE49-F238E27FC236}">
                  <a16:creationId xmlns:a16="http://schemas.microsoft.com/office/drawing/2014/main" id="{2E45F68D-1141-4D3C-A336-BB52F6C3B210}"/>
                </a:ext>
              </a:extLst>
            </p:cNvPr>
            <p:cNvSpPr/>
            <p:nvPr/>
          </p:nvSpPr>
          <p:spPr>
            <a:xfrm>
              <a:off x="1679495" y="5064815"/>
              <a:ext cx="228600" cy="228600"/>
            </a:xfrm>
            <a:custGeom>
              <a:avLst/>
              <a:gdLst>
                <a:gd name="connsiteX0" fmla="*/ 228600 w 228600"/>
                <a:gd name="connsiteY0" fmla="*/ 114300 h 228600"/>
                <a:gd name="connsiteX1" fmla="*/ 114300 w 228600"/>
                <a:gd name="connsiteY1" fmla="*/ 228600 h 228600"/>
                <a:gd name="connsiteX2" fmla="*/ 0 w 228600"/>
                <a:gd name="connsiteY2" fmla="*/ 114300 h 228600"/>
                <a:gd name="connsiteX3" fmla="*/ 114300 w 228600"/>
                <a:gd name="connsiteY3" fmla="*/ 0 h 228600"/>
                <a:gd name="connsiteX4" fmla="*/ 228600 w 228600"/>
                <a:gd name="connsiteY4" fmla="*/ 114300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228600" y="114300"/>
                  </a:moveTo>
                  <a:cubicBezTo>
                    <a:pt x="228600" y="177426"/>
                    <a:pt x="177426" y="228600"/>
                    <a:pt x="114300" y="228600"/>
                  </a:cubicBezTo>
                  <a:cubicBezTo>
                    <a:pt x="51174" y="228600"/>
                    <a:pt x="0" y="177426"/>
                    <a:pt x="0" y="114300"/>
                  </a:cubicBezTo>
                  <a:cubicBezTo>
                    <a:pt x="0" y="51174"/>
                    <a:pt x="51174" y="0"/>
                    <a:pt x="114300" y="0"/>
                  </a:cubicBezTo>
                  <a:cubicBezTo>
                    <a:pt x="177426" y="0"/>
                    <a:pt x="228600" y="51174"/>
                    <a:pt x="228600" y="114300"/>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grpSp>
      <p:grpSp>
        <p:nvGrpSpPr>
          <p:cNvPr id="1002" name="Grafik 33">
            <a:extLst>
              <a:ext uri="{FF2B5EF4-FFF2-40B4-BE49-F238E27FC236}">
                <a16:creationId xmlns:a16="http://schemas.microsoft.com/office/drawing/2014/main" id="{218B79F5-CF39-447A-B8E9-F2CC4930389E}"/>
              </a:ext>
            </a:extLst>
          </p:cNvPr>
          <p:cNvGrpSpPr>
            <a:grpSpLocks noChangeAspect="1"/>
          </p:cNvGrpSpPr>
          <p:nvPr/>
        </p:nvGrpSpPr>
        <p:grpSpPr>
          <a:xfrm>
            <a:off x="1087477" y="3523828"/>
            <a:ext cx="419074" cy="304953"/>
            <a:chOff x="8500865" y="2492965"/>
            <a:chExt cx="560069" cy="504825"/>
          </a:xfrm>
          <a:noFill/>
        </p:grpSpPr>
        <p:sp>
          <p:nvSpPr>
            <p:cNvPr id="1003" name="Freihandform: Form 442">
              <a:extLst>
                <a:ext uri="{FF2B5EF4-FFF2-40B4-BE49-F238E27FC236}">
                  <a16:creationId xmlns:a16="http://schemas.microsoft.com/office/drawing/2014/main" id="{C93870F2-0FF5-4B26-9B46-18416D9BDF7B}"/>
                </a:ext>
              </a:extLst>
            </p:cNvPr>
            <p:cNvSpPr/>
            <p:nvPr/>
          </p:nvSpPr>
          <p:spPr>
            <a:xfrm>
              <a:off x="8874245" y="2797765"/>
              <a:ext cx="179069" cy="76200"/>
            </a:xfrm>
            <a:custGeom>
              <a:avLst/>
              <a:gdLst>
                <a:gd name="connsiteX0" fmla="*/ 0 w 179069"/>
                <a:gd name="connsiteY0" fmla="*/ 76200 h 76200"/>
                <a:gd name="connsiteX1" fmla="*/ 93345 w 179069"/>
                <a:gd name="connsiteY1" fmla="*/ 0 h 76200"/>
                <a:gd name="connsiteX2" fmla="*/ 179070 w 179069"/>
                <a:gd name="connsiteY2" fmla="*/ 57150 h 76200"/>
              </a:gdLst>
              <a:ahLst/>
              <a:cxnLst>
                <a:cxn ang="0">
                  <a:pos x="connsiteX0" y="connsiteY0"/>
                </a:cxn>
                <a:cxn ang="0">
                  <a:pos x="connsiteX1" y="connsiteY1"/>
                </a:cxn>
                <a:cxn ang="0">
                  <a:pos x="connsiteX2" y="connsiteY2"/>
                </a:cxn>
              </a:cxnLst>
              <a:rect l="l" t="t" r="r" b="b"/>
              <a:pathLst>
                <a:path w="179069" h="76200">
                  <a:moveTo>
                    <a:pt x="0" y="76200"/>
                  </a:moveTo>
                  <a:cubicBezTo>
                    <a:pt x="8572" y="32385"/>
                    <a:pt x="47625" y="0"/>
                    <a:pt x="93345" y="0"/>
                  </a:cubicBezTo>
                  <a:cubicBezTo>
                    <a:pt x="132397" y="0"/>
                    <a:pt x="164783" y="23813"/>
                    <a:pt x="179070" y="57150"/>
                  </a:cubicBezTo>
                </a:path>
              </a:pathLst>
            </a:custGeom>
            <a:noFill/>
            <a:ln w="28575" cap="flat">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04" name="Freihandform: Form 443">
              <a:extLst>
                <a:ext uri="{FF2B5EF4-FFF2-40B4-BE49-F238E27FC236}">
                  <a16:creationId xmlns:a16="http://schemas.microsoft.com/office/drawing/2014/main" id="{99787ECD-6A3F-45C8-958C-14C2DF97F7CC}"/>
                </a:ext>
              </a:extLst>
            </p:cNvPr>
            <p:cNvSpPr/>
            <p:nvPr/>
          </p:nvSpPr>
          <p:spPr>
            <a:xfrm>
              <a:off x="8881865" y="2912065"/>
              <a:ext cx="179069" cy="76200"/>
            </a:xfrm>
            <a:custGeom>
              <a:avLst/>
              <a:gdLst>
                <a:gd name="connsiteX0" fmla="*/ 179070 w 179069"/>
                <a:gd name="connsiteY0" fmla="*/ 0 h 76200"/>
                <a:gd name="connsiteX1" fmla="*/ 85725 w 179069"/>
                <a:gd name="connsiteY1" fmla="*/ 76200 h 76200"/>
                <a:gd name="connsiteX2" fmla="*/ 0 w 179069"/>
                <a:gd name="connsiteY2" fmla="*/ 19050 h 76200"/>
              </a:gdLst>
              <a:ahLst/>
              <a:cxnLst>
                <a:cxn ang="0">
                  <a:pos x="connsiteX0" y="connsiteY0"/>
                </a:cxn>
                <a:cxn ang="0">
                  <a:pos x="connsiteX1" y="connsiteY1"/>
                </a:cxn>
                <a:cxn ang="0">
                  <a:pos x="connsiteX2" y="connsiteY2"/>
                </a:cxn>
              </a:cxnLst>
              <a:rect l="l" t="t" r="r" b="b"/>
              <a:pathLst>
                <a:path w="179069" h="76200">
                  <a:moveTo>
                    <a:pt x="179070" y="0"/>
                  </a:moveTo>
                  <a:cubicBezTo>
                    <a:pt x="170498" y="43815"/>
                    <a:pt x="131445" y="76200"/>
                    <a:pt x="85725" y="76200"/>
                  </a:cubicBezTo>
                  <a:cubicBezTo>
                    <a:pt x="46673" y="76200"/>
                    <a:pt x="14288" y="52388"/>
                    <a:pt x="0" y="19050"/>
                  </a:cubicBezTo>
                </a:path>
              </a:pathLst>
            </a:custGeom>
            <a:noFill/>
            <a:ln w="28575" cap="flat">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05" name="Freihandform: Form 444">
              <a:extLst>
                <a:ext uri="{FF2B5EF4-FFF2-40B4-BE49-F238E27FC236}">
                  <a16:creationId xmlns:a16="http://schemas.microsoft.com/office/drawing/2014/main" id="{BC84BB00-9886-4B42-A790-E2236343ABD5}"/>
                </a:ext>
              </a:extLst>
            </p:cNvPr>
            <p:cNvSpPr/>
            <p:nvPr/>
          </p:nvSpPr>
          <p:spPr>
            <a:xfrm>
              <a:off x="8986640" y="2788240"/>
              <a:ext cx="66675" cy="66675"/>
            </a:xfrm>
            <a:custGeom>
              <a:avLst/>
              <a:gdLst>
                <a:gd name="connsiteX0" fmla="*/ 66675 w 66675"/>
                <a:gd name="connsiteY0" fmla="*/ 0 h 66675"/>
                <a:gd name="connsiteX1" fmla="*/ 66675 w 66675"/>
                <a:gd name="connsiteY1" fmla="*/ 66675 h 66675"/>
                <a:gd name="connsiteX2" fmla="*/ 0 w 66675"/>
                <a:gd name="connsiteY2" fmla="*/ 66675 h 66675"/>
              </a:gdLst>
              <a:ahLst/>
              <a:cxnLst>
                <a:cxn ang="0">
                  <a:pos x="connsiteX0" y="connsiteY0"/>
                </a:cxn>
                <a:cxn ang="0">
                  <a:pos x="connsiteX1" y="connsiteY1"/>
                </a:cxn>
                <a:cxn ang="0">
                  <a:pos x="connsiteX2" y="connsiteY2"/>
                </a:cxn>
              </a:cxnLst>
              <a:rect l="l" t="t" r="r" b="b"/>
              <a:pathLst>
                <a:path w="66675" h="66675">
                  <a:moveTo>
                    <a:pt x="66675" y="0"/>
                  </a:moveTo>
                  <a:lnTo>
                    <a:pt x="66675" y="66675"/>
                  </a:lnTo>
                  <a:lnTo>
                    <a:pt x="0" y="66675"/>
                  </a:lnTo>
                </a:path>
              </a:pathLst>
            </a:custGeom>
            <a:noFill/>
            <a:ln w="28575"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06" name="Freihandform: Form 445">
              <a:extLst>
                <a:ext uri="{FF2B5EF4-FFF2-40B4-BE49-F238E27FC236}">
                  <a16:creationId xmlns:a16="http://schemas.microsoft.com/office/drawing/2014/main" id="{9868504C-491A-4A49-A21F-6BAB765848A2}"/>
                </a:ext>
              </a:extLst>
            </p:cNvPr>
            <p:cNvSpPr/>
            <p:nvPr/>
          </p:nvSpPr>
          <p:spPr>
            <a:xfrm>
              <a:off x="8881865" y="2931115"/>
              <a:ext cx="66675" cy="66675"/>
            </a:xfrm>
            <a:custGeom>
              <a:avLst/>
              <a:gdLst>
                <a:gd name="connsiteX0" fmla="*/ 0 w 66675"/>
                <a:gd name="connsiteY0" fmla="*/ 66675 h 66675"/>
                <a:gd name="connsiteX1" fmla="*/ 0 w 66675"/>
                <a:gd name="connsiteY1" fmla="*/ 0 h 66675"/>
                <a:gd name="connsiteX2" fmla="*/ 66675 w 66675"/>
                <a:gd name="connsiteY2" fmla="*/ 0 h 66675"/>
              </a:gdLst>
              <a:ahLst/>
              <a:cxnLst>
                <a:cxn ang="0">
                  <a:pos x="connsiteX0" y="connsiteY0"/>
                </a:cxn>
                <a:cxn ang="0">
                  <a:pos x="connsiteX1" y="connsiteY1"/>
                </a:cxn>
                <a:cxn ang="0">
                  <a:pos x="connsiteX2" y="connsiteY2"/>
                </a:cxn>
              </a:cxnLst>
              <a:rect l="l" t="t" r="r" b="b"/>
              <a:pathLst>
                <a:path w="66675" h="66675">
                  <a:moveTo>
                    <a:pt x="0" y="66675"/>
                  </a:moveTo>
                  <a:lnTo>
                    <a:pt x="0" y="0"/>
                  </a:lnTo>
                  <a:lnTo>
                    <a:pt x="66675" y="0"/>
                  </a:lnTo>
                </a:path>
              </a:pathLst>
            </a:custGeom>
            <a:noFill/>
            <a:ln w="28575"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07" name="Freihandform: Form 446">
              <a:extLst>
                <a:ext uri="{FF2B5EF4-FFF2-40B4-BE49-F238E27FC236}">
                  <a16:creationId xmlns:a16="http://schemas.microsoft.com/office/drawing/2014/main" id="{3D07BB22-043F-467C-BD20-D6889292F261}"/>
                </a:ext>
              </a:extLst>
            </p:cNvPr>
            <p:cNvSpPr/>
            <p:nvPr/>
          </p:nvSpPr>
          <p:spPr>
            <a:xfrm>
              <a:off x="8558015" y="2492965"/>
              <a:ext cx="457200" cy="304800"/>
            </a:xfrm>
            <a:custGeom>
              <a:avLst/>
              <a:gdLst>
                <a:gd name="connsiteX0" fmla="*/ 0 w 457200"/>
                <a:gd name="connsiteY0" fmla="*/ 304800 h 304800"/>
                <a:gd name="connsiteX1" fmla="*/ 0 w 457200"/>
                <a:gd name="connsiteY1" fmla="*/ 38100 h 304800"/>
                <a:gd name="connsiteX2" fmla="*/ 38100 w 457200"/>
                <a:gd name="connsiteY2" fmla="*/ 0 h 304800"/>
                <a:gd name="connsiteX3" fmla="*/ 419100 w 457200"/>
                <a:gd name="connsiteY3" fmla="*/ 0 h 304800"/>
                <a:gd name="connsiteX4" fmla="*/ 457200 w 457200"/>
                <a:gd name="connsiteY4" fmla="*/ 38100 h 304800"/>
                <a:gd name="connsiteX5" fmla="*/ 457200 w 457200"/>
                <a:gd name="connsiteY5" fmla="*/ 2286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304800">
                  <a:moveTo>
                    <a:pt x="0" y="304800"/>
                  </a:moveTo>
                  <a:lnTo>
                    <a:pt x="0" y="38100"/>
                  </a:lnTo>
                  <a:cubicBezTo>
                    <a:pt x="0" y="17145"/>
                    <a:pt x="17145" y="0"/>
                    <a:pt x="38100" y="0"/>
                  </a:cubicBezTo>
                  <a:lnTo>
                    <a:pt x="419100" y="0"/>
                  </a:lnTo>
                  <a:cubicBezTo>
                    <a:pt x="440055" y="0"/>
                    <a:pt x="457200" y="17145"/>
                    <a:pt x="457200" y="38100"/>
                  </a:cubicBezTo>
                  <a:lnTo>
                    <a:pt x="457200" y="22860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08" name="Freihandform: Form 447">
              <a:extLst>
                <a:ext uri="{FF2B5EF4-FFF2-40B4-BE49-F238E27FC236}">
                  <a16:creationId xmlns:a16="http://schemas.microsoft.com/office/drawing/2014/main" id="{87541ACA-5FE5-42C5-B04F-2E4AA5F84BD1}"/>
                </a:ext>
              </a:extLst>
            </p:cNvPr>
            <p:cNvSpPr/>
            <p:nvPr/>
          </p:nvSpPr>
          <p:spPr>
            <a:xfrm>
              <a:off x="8767565" y="2550115"/>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09" name="Freihandform: Form 448">
              <a:extLst>
                <a:ext uri="{FF2B5EF4-FFF2-40B4-BE49-F238E27FC236}">
                  <a16:creationId xmlns:a16="http://schemas.microsoft.com/office/drawing/2014/main" id="{4ABF80ED-2B44-4330-BB61-5AAE2572CCD3}"/>
                </a:ext>
              </a:extLst>
            </p:cNvPr>
            <p:cNvSpPr/>
            <p:nvPr/>
          </p:nvSpPr>
          <p:spPr>
            <a:xfrm>
              <a:off x="8500865" y="2854915"/>
              <a:ext cx="314325" cy="76200"/>
            </a:xfrm>
            <a:custGeom>
              <a:avLst/>
              <a:gdLst>
                <a:gd name="connsiteX0" fmla="*/ 314325 w 314325"/>
                <a:gd name="connsiteY0" fmla="*/ 0 h 76200"/>
                <a:gd name="connsiteX1" fmla="*/ 0 w 314325"/>
                <a:gd name="connsiteY1" fmla="*/ 0 h 76200"/>
                <a:gd name="connsiteX2" fmla="*/ 76200 w 314325"/>
                <a:gd name="connsiteY2" fmla="*/ 76200 h 76200"/>
                <a:gd name="connsiteX3" fmla="*/ 314325 w 314325"/>
                <a:gd name="connsiteY3" fmla="*/ 76200 h 76200"/>
              </a:gdLst>
              <a:ahLst/>
              <a:cxnLst>
                <a:cxn ang="0">
                  <a:pos x="connsiteX0" y="connsiteY0"/>
                </a:cxn>
                <a:cxn ang="0">
                  <a:pos x="connsiteX1" y="connsiteY1"/>
                </a:cxn>
                <a:cxn ang="0">
                  <a:pos x="connsiteX2" y="connsiteY2"/>
                </a:cxn>
                <a:cxn ang="0">
                  <a:pos x="connsiteX3" y="connsiteY3"/>
                </a:cxn>
              </a:cxnLst>
              <a:rect l="l" t="t" r="r" b="b"/>
              <a:pathLst>
                <a:path w="314325" h="76200">
                  <a:moveTo>
                    <a:pt x="314325" y="0"/>
                  </a:moveTo>
                  <a:lnTo>
                    <a:pt x="0" y="0"/>
                  </a:lnTo>
                  <a:cubicBezTo>
                    <a:pt x="0" y="41910"/>
                    <a:pt x="34290" y="76200"/>
                    <a:pt x="76200" y="76200"/>
                  </a:cubicBezTo>
                  <a:lnTo>
                    <a:pt x="314325" y="7620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grpSp>
      <p:sp>
        <p:nvSpPr>
          <p:cNvPr id="1010" name="Textfeld 1009">
            <a:extLst>
              <a:ext uri="{FF2B5EF4-FFF2-40B4-BE49-F238E27FC236}">
                <a16:creationId xmlns:a16="http://schemas.microsoft.com/office/drawing/2014/main" id="{CB4660CB-77AB-4A5B-AAD6-88E8C8618796}"/>
              </a:ext>
            </a:extLst>
          </p:cNvPr>
          <p:cNvSpPr txBox="1">
            <a:spLocks noChangeAspect="1"/>
          </p:cNvSpPr>
          <p:nvPr/>
        </p:nvSpPr>
        <p:spPr>
          <a:xfrm>
            <a:off x="759912" y="3846119"/>
            <a:ext cx="1074205"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Verwaltungs-</a:t>
            </a:r>
          </a:p>
          <a:p>
            <a:r>
              <a:rPr lang="de-DE" dirty="0"/>
              <a:t>Portal</a:t>
            </a:r>
          </a:p>
        </p:txBody>
      </p:sp>
      <p:cxnSp>
        <p:nvCxnSpPr>
          <p:cNvPr id="1011" name="Gerade Verbindung mit Pfeil 1010">
            <a:extLst>
              <a:ext uri="{FF2B5EF4-FFF2-40B4-BE49-F238E27FC236}">
                <a16:creationId xmlns:a16="http://schemas.microsoft.com/office/drawing/2014/main" id="{BFFEFDA9-C35D-4B99-AE84-9DA96D91F629}"/>
              </a:ext>
            </a:extLst>
          </p:cNvPr>
          <p:cNvCxnSpPr>
            <a:cxnSpLocks/>
          </p:cNvCxnSpPr>
          <p:nvPr/>
        </p:nvCxnSpPr>
        <p:spPr>
          <a:xfrm>
            <a:off x="1297014" y="4205715"/>
            <a:ext cx="0" cy="33705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12" name="Textfeld 1011">
            <a:extLst>
              <a:ext uri="{FF2B5EF4-FFF2-40B4-BE49-F238E27FC236}">
                <a16:creationId xmlns:a16="http://schemas.microsoft.com/office/drawing/2014/main" id="{285BF91C-B030-4C1C-8964-2970F597331F}"/>
              </a:ext>
            </a:extLst>
          </p:cNvPr>
          <p:cNvSpPr txBox="1">
            <a:spLocks noChangeAspect="1"/>
          </p:cNvSpPr>
          <p:nvPr/>
        </p:nvSpPr>
        <p:spPr>
          <a:xfrm>
            <a:off x="759912" y="5074932"/>
            <a:ext cx="1074205"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Leistungsbeschreibung </a:t>
            </a:r>
          </a:p>
          <a:p>
            <a:r>
              <a:rPr lang="de-DE" dirty="0"/>
              <a:t>aufrufen</a:t>
            </a:r>
          </a:p>
        </p:txBody>
      </p:sp>
      <p:grpSp>
        <p:nvGrpSpPr>
          <p:cNvPr id="1013" name="Grafik 60">
            <a:extLst>
              <a:ext uri="{FF2B5EF4-FFF2-40B4-BE49-F238E27FC236}">
                <a16:creationId xmlns:a16="http://schemas.microsoft.com/office/drawing/2014/main" id="{5B54BA13-6A67-47DF-B0ED-ADE97C507A78}"/>
              </a:ext>
            </a:extLst>
          </p:cNvPr>
          <p:cNvGrpSpPr>
            <a:grpSpLocks noChangeAspect="1"/>
          </p:cNvGrpSpPr>
          <p:nvPr/>
        </p:nvGrpSpPr>
        <p:grpSpPr>
          <a:xfrm>
            <a:off x="4274860" y="4755423"/>
            <a:ext cx="568290" cy="451142"/>
            <a:chOff x="7339940" y="4969264"/>
            <a:chExt cx="571500" cy="561975"/>
          </a:xfrm>
          <a:noFill/>
        </p:grpSpPr>
        <p:sp>
          <p:nvSpPr>
            <p:cNvPr id="1014" name="Freihandform: Form 127">
              <a:extLst>
                <a:ext uri="{FF2B5EF4-FFF2-40B4-BE49-F238E27FC236}">
                  <a16:creationId xmlns:a16="http://schemas.microsoft.com/office/drawing/2014/main" id="{890273B0-DC40-4A9C-86AC-83D03757E03C}"/>
                </a:ext>
              </a:extLst>
            </p:cNvPr>
            <p:cNvSpPr/>
            <p:nvPr/>
          </p:nvSpPr>
          <p:spPr>
            <a:xfrm>
              <a:off x="7339940" y="5245489"/>
              <a:ext cx="571500" cy="285750"/>
            </a:xfrm>
            <a:custGeom>
              <a:avLst/>
              <a:gdLst>
                <a:gd name="connsiteX0" fmla="*/ 352425 w 571500"/>
                <a:gd name="connsiteY0" fmla="*/ 0 h 285750"/>
                <a:gd name="connsiteX1" fmla="*/ 571500 w 571500"/>
                <a:gd name="connsiteY1" fmla="*/ 0 h 285750"/>
                <a:gd name="connsiteX2" fmla="*/ 571500 w 571500"/>
                <a:gd name="connsiteY2" fmla="*/ 285750 h 285750"/>
                <a:gd name="connsiteX3" fmla="*/ 0 w 571500"/>
                <a:gd name="connsiteY3" fmla="*/ 285750 h 285750"/>
                <a:gd name="connsiteX4" fmla="*/ 0 w 571500"/>
                <a:gd name="connsiteY4" fmla="*/ 0 h 285750"/>
                <a:gd name="connsiteX5" fmla="*/ 76200 w 571500"/>
                <a:gd name="connsiteY5"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0" h="285750">
                  <a:moveTo>
                    <a:pt x="352425" y="0"/>
                  </a:moveTo>
                  <a:lnTo>
                    <a:pt x="571500" y="0"/>
                  </a:lnTo>
                  <a:lnTo>
                    <a:pt x="571500" y="285750"/>
                  </a:lnTo>
                  <a:lnTo>
                    <a:pt x="0" y="285750"/>
                  </a:lnTo>
                  <a:lnTo>
                    <a:pt x="0" y="0"/>
                  </a:lnTo>
                  <a:lnTo>
                    <a:pt x="76200" y="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15" name="Freihandform: Form 128">
              <a:extLst>
                <a:ext uri="{FF2B5EF4-FFF2-40B4-BE49-F238E27FC236}">
                  <a16:creationId xmlns:a16="http://schemas.microsoft.com/office/drawing/2014/main" id="{6C1BB863-D356-4891-AA1F-4FFDFDB0B987}"/>
                </a:ext>
              </a:extLst>
            </p:cNvPr>
            <p:cNvSpPr/>
            <p:nvPr/>
          </p:nvSpPr>
          <p:spPr>
            <a:xfrm>
              <a:off x="7463765" y="4969264"/>
              <a:ext cx="342900" cy="342900"/>
            </a:xfrm>
            <a:custGeom>
              <a:avLst/>
              <a:gdLst>
                <a:gd name="connsiteX0" fmla="*/ 95250 w 342900"/>
                <a:gd name="connsiteY0" fmla="*/ 314325 h 342900"/>
                <a:gd name="connsiteX1" fmla="*/ 0 w 342900"/>
                <a:gd name="connsiteY1" fmla="*/ 342900 h 342900"/>
                <a:gd name="connsiteX2" fmla="*/ 28575 w 342900"/>
                <a:gd name="connsiteY2" fmla="*/ 247650 h 342900"/>
                <a:gd name="connsiteX3" fmla="*/ 276225 w 342900"/>
                <a:gd name="connsiteY3" fmla="*/ 0 h 342900"/>
                <a:gd name="connsiteX4" fmla="*/ 342900 w 342900"/>
                <a:gd name="connsiteY4" fmla="*/ 6667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95250" y="314325"/>
                  </a:moveTo>
                  <a:lnTo>
                    <a:pt x="0" y="342900"/>
                  </a:lnTo>
                  <a:lnTo>
                    <a:pt x="28575" y="247650"/>
                  </a:lnTo>
                  <a:lnTo>
                    <a:pt x="276225" y="0"/>
                  </a:lnTo>
                  <a:lnTo>
                    <a:pt x="342900" y="66675"/>
                  </a:ln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16" name="Freihandform: Form 129">
              <a:extLst>
                <a:ext uri="{FF2B5EF4-FFF2-40B4-BE49-F238E27FC236}">
                  <a16:creationId xmlns:a16="http://schemas.microsoft.com/office/drawing/2014/main" id="{9BECD6AD-500D-4706-8A74-341ADBDE1D19}"/>
                </a:ext>
              </a:extLst>
            </p:cNvPr>
            <p:cNvSpPr/>
            <p:nvPr/>
          </p:nvSpPr>
          <p:spPr>
            <a:xfrm>
              <a:off x="7454240" y="5378840"/>
              <a:ext cx="342900" cy="9525"/>
            </a:xfrm>
            <a:custGeom>
              <a:avLst/>
              <a:gdLst>
                <a:gd name="connsiteX0" fmla="*/ 0 w 342900"/>
                <a:gd name="connsiteY0" fmla="*/ 0 h 9525"/>
                <a:gd name="connsiteX1" fmla="*/ 342900 w 342900"/>
                <a:gd name="connsiteY1" fmla="*/ 0 h 9525"/>
              </a:gdLst>
              <a:ahLst/>
              <a:cxnLst>
                <a:cxn ang="0">
                  <a:pos x="connsiteX0" y="connsiteY0"/>
                </a:cxn>
                <a:cxn ang="0">
                  <a:pos x="connsiteX1" y="connsiteY1"/>
                </a:cxn>
              </a:cxnLst>
              <a:rect l="l" t="t" r="r" b="b"/>
              <a:pathLst>
                <a:path w="342900" h="9525">
                  <a:moveTo>
                    <a:pt x="0" y="0"/>
                  </a:moveTo>
                  <a:lnTo>
                    <a:pt x="3429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17" name="Freihandform: Form 130">
              <a:extLst>
                <a:ext uri="{FF2B5EF4-FFF2-40B4-BE49-F238E27FC236}">
                  <a16:creationId xmlns:a16="http://schemas.microsoft.com/office/drawing/2014/main" id="{0038CA60-38B1-4643-BF95-194EB2CC22B8}"/>
                </a:ext>
              </a:extLst>
            </p:cNvPr>
            <p:cNvSpPr/>
            <p:nvPr/>
          </p:nvSpPr>
          <p:spPr>
            <a:xfrm>
              <a:off x="7454240" y="5455040"/>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18" name="Freihandform: Form 131">
              <a:extLst>
                <a:ext uri="{FF2B5EF4-FFF2-40B4-BE49-F238E27FC236}">
                  <a16:creationId xmlns:a16="http://schemas.microsoft.com/office/drawing/2014/main" id="{F9CF4477-AD42-4402-B690-D305A76828E4}"/>
                </a:ext>
              </a:extLst>
            </p:cNvPr>
            <p:cNvSpPr/>
            <p:nvPr/>
          </p:nvSpPr>
          <p:spPr>
            <a:xfrm>
              <a:off x="7720940" y="5455040"/>
              <a:ext cx="76200" cy="9525"/>
            </a:xfrm>
            <a:custGeom>
              <a:avLst/>
              <a:gdLst>
                <a:gd name="connsiteX0" fmla="*/ 0 w 76200"/>
                <a:gd name="connsiteY0" fmla="*/ 0 h 9525"/>
                <a:gd name="connsiteX1" fmla="*/ 76200 w 76200"/>
                <a:gd name="connsiteY1" fmla="*/ 0 h 9525"/>
              </a:gdLst>
              <a:ahLst/>
              <a:cxnLst>
                <a:cxn ang="0">
                  <a:pos x="connsiteX0" y="connsiteY0"/>
                </a:cxn>
                <a:cxn ang="0">
                  <a:pos x="connsiteX1" y="connsiteY1"/>
                </a:cxn>
              </a:cxnLst>
              <a:rect l="l" t="t" r="r" b="b"/>
              <a:pathLst>
                <a:path w="76200" h="9525">
                  <a:moveTo>
                    <a:pt x="0" y="0"/>
                  </a:moveTo>
                  <a:lnTo>
                    <a:pt x="76200" y="0"/>
                  </a:lnTo>
                </a:path>
              </a:pathLst>
            </a:custGeom>
            <a:ln w="19050" cap="sq">
              <a:solidFill>
                <a:schemeClr val="accent5"/>
              </a:solidFill>
              <a:prstDash val="solid"/>
              <a:miter/>
            </a:ln>
          </p:spPr>
          <p:txBody>
            <a:bodyPr lIns="36000" tIns="36000" rIns="36000" bIns="36000" rtlCol="0" anchor="ctr"/>
            <a:lstStyle/>
            <a:p>
              <a:endParaRPr lang="de-DE" sz="800" dirty="0"/>
            </a:p>
          </p:txBody>
        </p:sp>
      </p:grpSp>
      <p:sp>
        <p:nvSpPr>
          <p:cNvPr id="1019" name="Textfeld 1018">
            <a:extLst>
              <a:ext uri="{FF2B5EF4-FFF2-40B4-BE49-F238E27FC236}">
                <a16:creationId xmlns:a16="http://schemas.microsoft.com/office/drawing/2014/main" id="{61FA0F73-A2AB-420B-B790-4ACF959411DD}"/>
              </a:ext>
            </a:extLst>
          </p:cNvPr>
          <p:cNvSpPr txBox="1">
            <a:spLocks/>
          </p:cNvSpPr>
          <p:nvPr/>
        </p:nvSpPr>
        <p:spPr>
          <a:xfrm>
            <a:off x="4172164"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t>Onlineformular </a:t>
            </a:r>
          </a:p>
          <a:p>
            <a:pPr algn="ctr" fontAlgn="base">
              <a:spcBef>
                <a:spcPct val="0"/>
              </a:spcBef>
              <a:spcAft>
                <a:spcPct val="0"/>
              </a:spcAft>
            </a:pPr>
            <a:r>
              <a:rPr lang="de-DE" sz="800" dirty="0"/>
              <a:t>ausfüllen</a:t>
            </a:r>
          </a:p>
        </p:txBody>
      </p:sp>
      <p:cxnSp>
        <p:nvCxnSpPr>
          <p:cNvPr id="1020" name="Gerade Verbindung mit Pfeil 1019">
            <a:extLst>
              <a:ext uri="{FF2B5EF4-FFF2-40B4-BE49-F238E27FC236}">
                <a16:creationId xmlns:a16="http://schemas.microsoft.com/office/drawing/2014/main" id="{92669AC7-5C88-481D-9D0A-23056D097197}"/>
              </a:ext>
            </a:extLst>
          </p:cNvPr>
          <p:cNvCxnSpPr>
            <a:cxnSpLocks/>
          </p:cNvCxnSpPr>
          <p:nvPr/>
        </p:nvCxnSpPr>
        <p:spPr>
          <a:xfrm flipV="1">
            <a:off x="3842438" y="5119198"/>
            <a:ext cx="324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021" name="Grafik 22">
            <a:extLst>
              <a:ext uri="{FF2B5EF4-FFF2-40B4-BE49-F238E27FC236}">
                <a16:creationId xmlns:a16="http://schemas.microsoft.com/office/drawing/2014/main" id="{8780B4EC-0700-4FC7-BC2F-69DEDDC0BFEE}"/>
              </a:ext>
            </a:extLst>
          </p:cNvPr>
          <p:cNvGrpSpPr>
            <a:grpSpLocks noChangeAspect="1"/>
          </p:cNvGrpSpPr>
          <p:nvPr/>
        </p:nvGrpSpPr>
        <p:grpSpPr>
          <a:xfrm rot="5400000">
            <a:off x="7383258" y="5742294"/>
            <a:ext cx="202850" cy="395393"/>
            <a:chOff x="4545058" y="2924175"/>
            <a:chExt cx="403556" cy="571500"/>
          </a:xfrm>
          <a:noFill/>
        </p:grpSpPr>
        <p:sp>
          <p:nvSpPr>
            <p:cNvPr id="1022" name="Freihandform: Form 116">
              <a:extLst>
                <a:ext uri="{FF2B5EF4-FFF2-40B4-BE49-F238E27FC236}">
                  <a16:creationId xmlns:a16="http://schemas.microsoft.com/office/drawing/2014/main" id="{AFB78749-E16C-4118-ADCA-0D5362BF8556}"/>
                </a:ext>
              </a:extLst>
            </p:cNvPr>
            <p:cNvSpPr/>
            <p:nvPr/>
          </p:nvSpPr>
          <p:spPr>
            <a:xfrm>
              <a:off x="4726033" y="3438525"/>
              <a:ext cx="209550" cy="57150"/>
            </a:xfrm>
            <a:custGeom>
              <a:avLst/>
              <a:gdLst>
                <a:gd name="connsiteX0" fmla="*/ 0 w 209550"/>
                <a:gd name="connsiteY0" fmla="*/ 0 h 57150"/>
                <a:gd name="connsiteX1" fmla="*/ 209550 w 209550"/>
                <a:gd name="connsiteY1" fmla="*/ 0 h 57150"/>
                <a:gd name="connsiteX2" fmla="*/ 209550 w 209550"/>
                <a:gd name="connsiteY2" fmla="*/ 57150 h 57150"/>
                <a:gd name="connsiteX3" fmla="*/ 0 w 20955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209550" h="57150">
                  <a:moveTo>
                    <a:pt x="0" y="0"/>
                  </a:moveTo>
                  <a:lnTo>
                    <a:pt x="209550" y="0"/>
                  </a:lnTo>
                  <a:lnTo>
                    <a:pt x="209550" y="57150"/>
                  </a:lnTo>
                  <a:lnTo>
                    <a:pt x="0" y="57150"/>
                  </a:lnTo>
                  <a:close/>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sp>
          <p:nvSpPr>
            <p:cNvPr id="1023" name="Freihandform: Form 117">
              <a:extLst>
                <a:ext uri="{FF2B5EF4-FFF2-40B4-BE49-F238E27FC236}">
                  <a16:creationId xmlns:a16="http://schemas.microsoft.com/office/drawing/2014/main" id="{91BDEED2-E69D-4C78-8CC9-C7D485DE65A6}"/>
                </a:ext>
              </a:extLst>
            </p:cNvPr>
            <p:cNvSpPr/>
            <p:nvPr/>
          </p:nvSpPr>
          <p:spPr>
            <a:xfrm>
              <a:off x="4830808" y="3019425"/>
              <a:ext cx="117806" cy="419100"/>
            </a:xfrm>
            <a:custGeom>
              <a:avLst/>
              <a:gdLst>
                <a:gd name="connsiteX0" fmla="*/ 76200 w 117806"/>
                <a:gd name="connsiteY0" fmla="*/ 419100 h 419100"/>
                <a:gd name="connsiteX1" fmla="*/ 113348 w 117806"/>
                <a:gd name="connsiteY1" fmla="*/ 292418 h 419100"/>
                <a:gd name="connsiteX2" fmla="*/ 111443 w 117806"/>
                <a:gd name="connsiteY2" fmla="*/ 222885 h 419100"/>
                <a:gd name="connsiteX3" fmla="*/ 50482 w 117806"/>
                <a:gd name="connsiteY3" fmla="*/ 46672 h 419100"/>
                <a:gd name="connsiteX4" fmla="*/ 0 w 117806"/>
                <a:gd name="connsiteY4" fmla="*/ 0 h 419100"/>
                <a:gd name="connsiteX5" fmla="*/ 0 w 117806"/>
                <a:gd name="connsiteY5"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806" h="419100">
                  <a:moveTo>
                    <a:pt x="76200" y="419100"/>
                  </a:moveTo>
                  <a:lnTo>
                    <a:pt x="113348" y="292418"/>
                  </a:lnTo>
                  <a:cubicBezTo>
                    <a:pt x="120015" y="269558"/>
                    <a:pt x="119063" y="244793"/>
                    <a:pt x="111443" y="222885"/>
                  </a:cubicBezTo>
                  <a:lnTo>
                    <a:pt x="50482" y="46672"/>
                  </a:lnTo>
                  <a:cubicBezTo>
                    <a:pt x="42863" y="23813"/>
                    <a:pt x="22860" y="5715"/>
                    <a:pt x="0" y="0"/>
                  </a:cubicBezTo>
                  <a:lnTo>
                    <a:pt x="0" y="0"/>
                  </a:ln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sp>
          <p:nvSpPr>
            <p:cNvPr id="1024" name="Freihandform: Form 118">
              <a:extLst>
                <a:ext uri="{FF2B5EF4-FFF2-40B4-BE49-F238E27FC236}">
                  <a16:creationId xmlns:a16="http://schemas.microsoft.com/office/drawing/2014/main" id="{F9B4AEF7-4085-42F6-9C86-9F42348779CF}"/>
                </a:ext>
              </a:extLst>
            </p:cNvPr>
            <p:cNvSpPr/>
            <p:nvPr/>
          </p:nvSpPr>
          <p:spPr>
            <a:xfrm>
              <a:off x="4716508" y="3181350"/>
              <a:ext cx="76200" cy="257175"/>
            </a:xfrm>
            <a:custGeom>
              <a:avLst/>
              <a:gdLst>
                <a:gd name="connsiteX0" fmla="*/ 76200 w 76200"/>
                <a:gd name="connsiteY0" fmla="*/ 133350 h 257175"/>
                <a:gd name="connsiteX1" fmla="*/ 76200 w 76200"/>
                <a:gd name="connsiteY1" fmla="*/ 38100 h 257175"/>
                <a:gd name="connsiteX2" fmla="*/ 38100 w 76200"/>
                <a:gd name="connsiteY2" fmla="*/ 0 h 257175"/>
                <a:gd name="connsiteX3" fmla="*/ 38100 w 76200"/>
                <a:gd name="connsiteY3" fmla="*/ 0 h 257175"/>
                <a:gd name="connsiteX4" fmla="*/ 0 w 76200"/>
                <a:gd name="connsiteY4" fmla="*/ 38100 h 257175"/>
                <a:gd name="connsiteX5" fmla="*/ 0 w 76200"/>
                <a:gd name="connsiteY5" fmla="*/ 161925 h 257175"/>
                <a:gd name="connsiteX6" fmla="*/ 57150 w 76200"/>
                <a:gd name="connsiteY6"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57175">
                  <a:moveTo>
                    <a:pt x="76200" y="133350"/>
                  </a:moveTo>
                  <a:lnTo>
                    <a:pt x="76200" y="38100"/>
                  </a:lnTo>
                  <a:cubicBezTo>
                    <a:pt x="76200" y="17145"/>
                    <a:pt x="59055" y="0"/>
                    <a:pt x="38100" y="0"/>
                  </a:cubicBezTo>
                  <a:lnTo>
                    <a:pt x="38100" y="0"/>
                  </a:lnTo>
                  <a:cubicBezTo>
                    <a:pt x="17145" y="0"/>
                    <a:pt x="0" y="17145"/>
                    <a:pt x="0" y="38100"/>
                  </a:cubicBezTo>
                  <a:lnTo>
                    <a:pt x="0" y="161925"/>
                  </a:lnTo>
                  <a:cubicBezTo>
                    <a:pt x="0" y="219075"/>
                    <a:pt x="57150" y="257175"/>
                    <a:pt x="57150" y="257175"/>
                  </a:cubicBez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sp>
          <p:nvSpPr>
            <p:cNvPr id="1025" name="Freihandform: Form 119">
              <a:extLst>
                <a:ext uri="{FF2B5EF4-FFF2-40B4-BE49-F238E27FC236}">
                  <a16:creationId xmlns:a16="http://schemas.microsoft.com/office/drawing/2014/main" id="{68F78B82-75A7-4499-B2B0-E97D178B5EB3}"/>
                </a:ext>
              </a:extLst>
            </p:cNvPr>
            <p:cNvSpPr/>
            <p:nvPr/>
          </p:nvSpPr>
          <p:spPr>
            <a:xfrm>
              <a:off x="4545058" y="2924175"/>
              <a:ext cx="285750" cy="381000"/>
            </a:xfrm>
            <a:custGeom>
              <a:avLst/>
              <a:gdLst>
                <a:gd name="connsiteX0" fmla="*/ 285750 w 285750"/>
                <a:gd name="connsiteY0" fmla="*/ 247650 h 381000"/>
                <a:gd name="connsiteX1" fmla="*/ 285750 w 285750"/>
                <a:gd name="connsiteY1" fmla="*/ 0 h 381000"/>
                <a:gd name="connsiteX2" fmla="*/ 0 w 285750"/>
                <a:gd name="connsiteY2" fmla="*/ 0 h 381000"/>
                <a:gd name="connsiteX3" fmla="*/ 0 w 285750"/>
                <a:gd name="connsiteY3" fmla="*/ 381000 h 381000"/>
                <a:gd name="connsiteX4" fmla="*/ 114300 w 285750"/>
                <a:gd name="connsiteY4" fmla="*/ 38100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381000">
                  <a:moveTo>
                    <a:pt x="285750" y="247650"/>
                  </a:moveTo>
                  <a:lnTo>
                    <a:pt x="285750" y="0"/>
                  </a:lnTo>
                  <a:lnTo>
                    <a:pt x="0" y="0"/>
                  </a:lnTo>
                  <a:lnTo>
                    <a:pt x="0" y="381000"/>
                  </a:lnTo>
                  <a:lnTo>
                    <a:pt x="114300" y="381000"/>
                  </a:lnTo>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grpSp>
      <p:grpSp>
        <p:nvGrpSpPr>
          <p:cNvPr id="1026" name="Gruppieren 1025">
            <a:extLst>
              <a:ext uri="{FF2B5EF4-FFF2-40B4-BE49-F238E27FC236}">
                <a16:creationId xmlns:a16="http://schemas.microsoft.com/office/drawing/2014/main" id="{163CBDD2-17C1-4201-A746-93ABC205CAC6}"/>
              </a:ext>
            </a:extLst>
          </p:cNvPr>
          <p:cNvGrpSpPr>
            <a:grpSpLocks noChangeAspect="1"/>
          </p:cNvGrpSpPr>
          <p:nvPr/>
        </p:nvGrpSpPr>
        <p:grpSpPr>
          <a:xfrm>
            <a:off x="3825392" y="3511450"/>
            <a:ext cx="465037" cy="375590"/>
            <a:chOff x="6529993" y="5451580"/>
            <a:chExt cx="571282" cy="571524"/>
          </a:xfrm>
        </p:grpSpPr>
        <p:sp>
          <p:nvSpPr>
            <p:cNvPr id="1027" name="Freihandform: Form 375">
              <a:extLst>
                <a:ext uri="{FF2B5EF4-FFF2-40B4-BE49-F238E27FC236}">
                  <a16:creationId xmlns:a16="http://schemas.microsoft.com/office/drawing/2014/main" id="{B2B72795-E7EB-4BA7-916A-AF3F79367A7C}"/>
                </a:ext>
              </a:extLst>
            </p:cNvPr>
            <p:cNvSpPr/>
            <p:nvPr/>
          </p:nvSpPr>
          <p:spPr>
            <a:xfrm>
              <a:off x="6529993" y="5546855"/>
              <a:ext cx="73124" cy="246697"/>
            </a:xfrm>
            <a:custGeom>
              <a:avLst/>
              <a:gdLst>
                <a:gd name="connsiteX0" fmla="*/ 73125 w 73124"/>
                <a:gd name="connsiteY0" fmla="*/ 0 h 246697"/>
                <a:gd name="connsiteX1" fmla="*/ 5497 w 73124"/>
                <a:gd name="connsiteY1" fmla="*/ 246698 h 246697"/>
              </a:gdLst>
              <a:ahLst/>
              <a:cxnLst>
                <a:cxn ang="0">
                  <a:pos x="connsiteX0" y="connsiteY0"/>
                </a:cxn>
                <a:cxn ang="0">
                  <a:pos x="connsiteX1" y="connsiteY1"/>
                </a:cxn>
              </a:cxnLst>
              <a:rect l="l" t="t" r="r" b="b"/>
              <a:pathLst>
                <a:path w="73124" h="246697">
                  <a:moveTo>
                    <a:pt x="73125" y="0"/>
                  </a:moveTo>
                  <a:cubicBezTo>
                    <a:pt x="15022" y="64770"/>
                    <a:pt x="-12600" y="155258"/>
                    <a:pt x="5497" y="246698"/>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28" name="Freihandform: Form 376">
              <a:extLst>
                <a:ext uri="{FF2B5EF4-FFF2-40B4-BE49-F238E27FC236}">
                  <a16:creationId xmlns:a16="http://schemas.microsoft.com/office/drawing/2014/main" id="{C21D3F94-2B76-4073-A55B-8A95B15E027B}"/>
                </a:ext>
              </a:extLst>
            </p:cNvPr>
            <p:cNvSpPr/>
            <p:nvPr/>
          </p:nvSpPr>
          <p:spPr>
            <a:xfrm>
              <a:off x="6644076" y="5451580"/>
              <a:ext cx="333375" cy="57174"/>
            </a:xfrm>
            <a:custGeom>
              <a:avLst/>
              <a:gdLst>
                <a:gd name="connsiteX0" fmla="*/ 333375 w 333375"/>
                <a:gd name="connsiteY0" fmla="*/ 50507 h 57174"/>
                <a:gd name="connsiteX1" fmla="*/ 115253 w 333375"/>
                <a:gd name="connsiteY1" fmla="*/ 5740 h 57174"/>
                <a:gd name="connsiteX2" fmla="*/ 0 w 333375"/>
                <a:gd name="connsiteY2" fmla="*/ 57175 h 57174"/>
              </a:gdLst>
              <a:ahLst/>
              <a:cxnLst>
                <a:cxn ang="0">
                  <a:pos x="connsiteX0" y="connsiteY0"/>
                </a:cxn>
                <a:cxn ang="0">
                  <a:pos x="connsiteX1" y="connsiteY1"/>
                </a:cxn>
                <a:cxn ang="0">
                  <a:pos x="connsiteX2" y="connsiteY2"/>
                </a:cxn>
              </a:cxnLst>
              <a:rect l="l" t="t" r="r" b="b"/>
              <a:pathLst>
                <a:path w="333375" h="57174">
                  <a:moveTo>
                    <a:pt x="333375" y="50507"/>
                  </a:moveTo>
                  <a:cubicBezTo>
                    <a:pt x="271463" y="8597"/>
                    <a:pt x="194310" y="-10453"/>
                    <a:pt x="115253" y="5740"/>
                  </a:cubicBezTo>
                  <a:cubicBezTo>
                    <a:pt x="71438" y="14312"/>
                    <a:pt x="33338" y="32410"/>
                    <a:pt x="0" y="57175"/>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29" name="Freihandform: Form 377">
              <a:extLst>
                <a:ext uri="{FF2B5EF4-FFF2-40B4-BE49-F238E27FC236}">
                  <a16:creationId xmlns:a16="http://schemas.microsoft.com/office/drawing/2014/main" id="{D6143933-F976-4D56-A015-8F3EEB6C2905}"/>
                </a:ext>
              </a:extLst>
            </p:cNvPr>
            <p:cNvSpPr/>
            <p:nvPr/>
          </p:nvSpPr>
          <p:spPr>
            <a:xfrm>
              <a:off x="7019361" y="5537330"/>
              <a:ext cx="76200" cy="143827"/>
            </a:xfrm>
            <a:custGeom>
              <a:avLst/>
              <a:gdLst>
                <a:gd name="connsiteX0" fmla="*/ 76200 w 76200"/>
                <a:gd name="connsiteY0" fmla="*/ 143828 h 143827"/>
                <a:gd name="connsiteX1" fmla="*/ 0 w 76200"/>
                <a:gd name="connsiteY1" fmla="*/ 0 h 143827"/>
              </a:gdLst>
              <a:ahLst/>
              <a:cxnLst>
                <a:cxn ang="0">
                  <a:pos x="connsiteX0" y="connsiteY0"/>
                </a:cxn>
                <a:cxn ang="0">
                  <a:pos x="connsiteX1" y="connsiteY1"/>
                </a:cxn>
              </a:cxnLst>
              <a:rect l="l" t="t" r="r" b="b"/>
              <a:pathLst>
                <a:path w="76200" h="143827">
                  <a:moveTo>
                    <a:pt x="76200" y="143828"/>
                  </a:moveTo>
                  <a:cubicBezTo>
                    <a:pt x="64770" y="87630"/>
                    <a:pt x="37147" y="38100"/>
                    <a:pt x="0" y="0"/>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0" name="Freihandform: Form 378">
              <a:extLst>
                <a:ext uri="{FF2B5EF4-FFF2-40B4-BE49-F238E27FC236}">
                  <a16:creationId xmlns:a16="http://schemas.microsoft.com/office/drawing/2014/main" id="{1AE34A8D-8505-402A-92D6-7DCB966793B5}"/>
                </a:ext>
              </a:extLst>
            </p:cNvPr>
            <p:cNvSpPr/>
            <p:nvPr/>
          </p:nvSpPr>
          <p:spPr>
            <a:xfrm>
              <a:off x="7095561" y="5681157"/>
              <a:ext cx="5714" cy="61912"/>
            </a:xfrm>
            <a:custGeom>
              <a:avLst/>
              <a:gdLst>
                <a:gd name="connsiteX0" fmla="*/ 5715 w 5714"/>
                <a:gd name="connsiteY0" fmla="*/ 61913 h 61912"/>
                <a:gd name="connsiteX1" fmla="*/ 0 w 5714"/>
                <a:gd name="connsiteY1" fmla="*/ 0 h 61912"/>
              </a:gdLst>
              <a:ahLst/>
              <a:cxnLst>
                <a:cxn ang="0">
                  <a:pos x="connsiteX0" y="connsiteY0"/>
                </a:cxn>
                <a:cxn ang="0">
                  <a:pos x="connsiteX1" y="connsiteY1"/>
                </a:cxn>
              </a:cxnLst>
              <a:rect l="l" t="t" r="r" b="b"/>
              <a:pathLst>
                <a:path w="5714" h="61912">
                  <a:moveTo>
                    <a:pt x="5715" y="61913"/>
                  </a:moveTo>
                  <a:cubicBezTo>
                    <a:pt x="5715" y="40957"/>
                    <a:pt x="4763" y="20955"/>
                    <a:pt x="0" y="0"/>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1" name="Freihandform: Form 379">
              <a:extLst>
                <a:ext uri="{FF2B5EF4-FFF2-40B4-BE49-F238E27FC236}">
                  <a16:creationId xmlns:a16="http://schemas.microsoft.com/office/drawing/2014/main" id="{0590E982-BF2C-4697-9085-2D485709BD5C}"/>
                </a:ext>
              </a:extLst>
            </p:cNvPr>
            <p:cNvSpPr/>
            <p:nvPr/>
          </p:nvSpPr>
          <p:spPr>
            <a:xfrm>
              <a:off x="6535491" y="5793552"/>
              <a:ext cx="2857" cy="12382"/>
            </a:xfrm>
            <a:custGeom>
              <a:avLst/>
              <a:gdLst>
                <a:gd name="connsiteX0" fmla="*/ 0 w 2857"/>
                <a:gd name="connsiteY0" fmla="*/ 0 h 12382"/>
                <a:gd name="connsiteX1" fmla="*/ 2857 w 2857"/>
                <a:gd name="connsiteY1" fmla="*/ 12382 h 12382"/>
              </a:gdLst>
              <a:ahLst/>
              <a:cxnLst>
                <a:cxn ang="0">
                  <a:pos x="connsiteX0" y="connsiteY0"/>
                </a:cxn>
                <a:cxn ang="0">
                  <a:pos x="connsiteX1" y="connsiteY1"/>
                </a:cxn>
              </a:cxnLst>
              <a:rect l="l" t="t" r="r" b="b"/>
              <a:pathLst>
                <a:path w="2857" h="12382">
                  <a:moveTo>
                    <a:pt x="0" y="0"/>
                  </a:moveTo>
                  <a:cubicBezTo>
                    <a:pt x="953" y="3810"/>
                    <a:pt x="1905" y="8572"/>
                    <a:pt x="2857" y="12382"/>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2" name="Freihandform: Form 380">
              <a:extLst>
                <a:ext uri="{FF2B5EF4-FFF2-40B4-BE49-F238E27FC236}">
                  <a16:creationId xmlns:a16="http://schemas.microsoft.com/office/drawing/2014/main" id="{87CA03A3-E47D-4DBC-B61C-D8BAAA615AAE}"/>
                </a:ext>
              </a:extLst>
            </p:cNvPr>
            <p:cNvSpPr/>
            <p:nvPr/>
          </p:nvSpPr>
          <p:spPr>
            <a:xfrm>
              <a:off x="6742183" y="5737355"/>
              <a:ext cx="79907" cy="276225"/>
            </a:xfrm>
            <a:custGeom>
              <a:avLst/>
              <a:gdLst>
                <a:gd name="connsiteX0" fmla="*/ 0 w 79907"/>
                <a:gd name="connsiteY0" fmla="*/ 276225 h 276225"/>
                <a:gd name="connsiteX1" fmla="*/ 73343 w 79907"/>
                <a:gd name="connsiteY1" fmla="*/ 0 h 276225"/>
              </a:gdLst>
              <a:ahLst/>
              <a:cxnLst>
                <a:cxn ang="0">
                  <a:pos x="connsiteX0" y="connsiteY0"/>
                </a:cxn>
                <a:cxn ang="0">
                  <a:pos x="connsiteX1" y="connsiteY1"/>
                </a:cxn>
              </a:cxnLst>
              <a:rect l="l" t="t" r="r" b="b"/>
              <a:pathLst>
                <a:path w="79907" h="276225">
                  <a:moveTo>
                    <a:pt x="0" y="276225"/>
                  </a:moveTo>
                  <a:cubicBezTo>
                    <a:pt x="63818" y="203835"/>
                    <a:pt x="94298" y="102870"/>
                    <a:pt x="73343" y="0"/>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3" name="Freihandform: Form 381">
              <a:extLst>
                <a:ext uri="{FF2B5EF4-FFF2-40B4-BE49-F238E27FC236}">
                  <a16:creationId xmlns:a16="http://schemas.microsoft.com/office/drawing/2014/main" id="{A28CA9AB-20A2-42B6-B982-9DDC10C90911}"/>
                </a:ext>
              </a:extLst>
            </p:cNvPr>
            <p:cNvSpPr/>
            <p:nvPr/>
          </p:nvSpPr>
          <p:spPr>
            <a:xfrm>
              <a:off x="6669793" y="5665494"/>
              <a:ext cx="220980" cy="318558"/>
            </a:xfrm>
            <a:custGeom>
              <a:avLst/>
              <a:gdLst>
                <a:gd name="connsiteX0" fmla="*/ 220980 w 220980"/>
                <a:gd name="connsiteY0" fmla="*/ 91863 h 318558"/>
                <a:gd name="connsiteX1" fmla="*/ 215265 w 220980"/>
                <a:gd name="connsiteY1" fmla="*/ 57573 h 318558"/>
                <a:gd name="connsiteX2" fmla="*/ 215265 w 220980"/>
                <a:gd name="connsiteY2" fmla="*/ 57573 h 318558"/>
                <a:gd name="connsiteX3" fmla="*/ 130493 w 220980"/>
                <a:gd name="connsiteY3" fmla="*/ 1376 h 318558"/>
                <a:gd name="connsiteX4" fmla="*/ 74295 w 220980"/>
                <a:gd name="connsiteY4" fmla="*/ 86148 h 318558"/>
                <a:gd name="connsiteX5" fmla="*/ 0 w 220980"/>
                <a:gd name="connsiteY5" fmla="*/ 318558 h 31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980" h="318558">
                  <a:moveTo>
                    <a:pt x="220980" y="91863"/>
                  </a:moveTo>
                  <a:cubicBezTo>
                    <a:pt x="220028" y="80433"/>
                    <a:pt x="218122" y="69003"/>
                    <a:pt x="215265" y="57573"/>
                  </a:cubicBezTo>
                  <a:lnTo>
                    <a:pt x="215265" y="57573"/>
                  </a:lnTo>
                  <a:cubicBezTo>
                    <a:pt x="207645" y="18521"/>
                    <a:pt x="169545" y="-6244"/>
                    <a:pt x="130493" y="1376"/>
                  </a:cubicBezTo>
                  <a:cubicBezTo>
                    <a:pt x="91440" y="8996"/>
                    <a:pt x="66675" y="47096"/>
                    <a:pt x="74295" y="86148"/>
                  </a:cubicBezTo>
                  <a:cubicBezTo>
                    <a:pt x="76200" y="103293"/>
                    <a:pt x="99060" y="226166"/>
                    <a:pt x="0" y="318558"/>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4" name="Freihandform: Form 382">
              <a:extLst>
                <a:ext uri="{FF2B5EF4-FFF2-40B4-BE49-F238E27FC236}">
                  <a16:creationId xmlns:a16="http://schemas.microsoft.com/office/drawing/2014/main" id="{D1C4E420-165A-42DF-AD43-7A9855644711}"/>
                </a:ext>
              </a:extLst>
            </p:cNvPr>
            <p:cNvSpPr/>
            <p:nvPr/>
          </p:nvSpPr>
          <p:spPr>
            <a:xfrm>
              <a:off x="6825051" y="5816412"/>
              <a:ext cx="68580" cy="206692"/>
            </a:xfrm>
            <a:custGeom>
              <a:avLst/>
              <a:gdLst>
                <a:gd name="connsiteX0" fmla="*/ 0 w 68580"/>
                <a:gd name="connsiteY0" fmla="*/ 206693 h 206692"/>
                <a:gd name="connsiteX1" fmla="*/ 68580 w 68580"/>
                <a:gd name="connsiteY1" fmla="*/ 0 h 206692"/>
              </a:gdLst>
              <a:ahLst/>
              <a:cxnLst>
                <a:cxn ang="0">
                  <a:pos x="connsiteX0" y="connsiteY0"/>
                </a:cxn>
                <a:cxn ang="0">
                  <a:pos x="connsiteX1" y="connsiteY1"/>
                </a:cxn>
              </a:cxnLst>
              <a:rect l="l" t="t" r="r" b="b"/>
              <a:pathLst>
                <a:path w="68580" h="206692">
                  <a:moveTo>
                    <a:pt x="0" y="206693"/>
                  </a:moveTo>
                  <a:cubicBezTo>
                    <a:pt x="40957" y="146685"/>
                    <a:pt x="65723" y="75248"/>
                    <a:pt x="68580" y="0"/>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5" name="Freihandform: Form 383">
              <a:extLst>
                <a:ext uri="{FF2B5EF4-FFF2-40B4-BE49-F238E27FC236}">
                  <a16:creationId xmlns:a16="http://schemas.microsoft.com/office/drawing/2014/main" id="{4A84CD6C-4729-4D13-8A6F-F580DEB4719B}"/>
                </a:ext>
              </a:extLst>
            </p:cNvPr>
            <p:cNvSpPr/>
            <p:nvPr/>
          </p:nvSpPr>
          <p:spPr>
            <a:xfrm>
              <a:off x="6613596" y="5699255"/>
              <a:ext cx="65407" cy="240030"/>
            </a:xfrm>
            <a:custGeom>
              <a:avLst/>
              <a:gdLst>
                <a:gd name="connsiteX0" fmla="*/ 63818 w 65407"/>
                <a:gd name="connsiteY0" fmla="*/ 0 h 240030"/>
                <a:gd name="connsiteX1" fmla="*/ 61912 w 65407"/>
                <a:gd name="connsiteY1" fmla="*/ 66675 h 240030"/>
                <a:gd name="connsiteX2" fmla="*/ 61912 w 65407"/>
                <a:gd name="connsiteY2" fmla="*/ 66675 h 240030"/>
                <a:gd name="connsiteX3" fmla="*/ 0 w 65407"/>
                <a:gd name="connsiteY3" fmla="*/ 240030 h 240030"/>
              </a:gdLst>
              <a:ahLst/>
              <a:cxnLst>
                <a:cxn ang="0">
                  <a:pos x="connsiteX0" y="connsiteY0"/>
                </a:cxn>
                <a:cxn ang="0">
                  <a:pos x="connsiteX1" y="connsiteY1"/>
                </a:cxn>
                <a:cxn ang="0">
                  <a:pos x="connsiteX2" y="connsiteY2"/>
                </a:cxn>
                <a:cxn ang="0">
                  <a:pos x="connsiteX3" y="connsiteY3"/>
                </a:cxn>
              </a:cxnLst>
              <a:rect l="l" t="t" r="r" b="b"/>
              <a:pathLst>
                <a:path w="65407" h="240030">
                  <a:moveTo>
                    <a:pt x="63818" y="0"/>
                  </a:moveTo>
                  <a:cubicBezTo>
                    <a:pt x="58102" y="20955"/>
                    <a:pt x="57150" y="43815"/>
                    <a:pt x="61912" y="66675"/>
                  </a:cubicBezTo>
                  <a:lnTo>
                    <a:pt x="61912" y="66675"/>
                  </a:lnTo>
                  <a:cubicBezTo>
                    <a:pt x="75248" y="134302"/>
                    <a:pt x="49530" y="200025"/>
                    <a:pt x="0" y="240030"/>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6" name="Freihandform: Form 384">
              <a:extLst>
                <a:ext uri="{FF2B5EF4-FFF2-40B4-BE49-F238E27FC236}">
                  <a16:creationId xmlns:a16="http://schemas.microsoft.com/office/drawing/2014/main" id="{04C42A59-8C70-49D8-B14B-3F23CEFBF40F}"/>
                </a:ext>
              </a:extLst>
            </p:cNvPr>
            <p:cNvSpPr/>
            <p:nvPr/>
          </p:nvSpPr>
          <p:spPr>
            <a:xfrm>
              <a:off x="6705988" y="5593770"/>
              <a:ext cx="258873" cy="410284"/>
            </a:xfrm>
            <a:custGeom>
              <a:avLst/>
              <a:gdLst>
                <a:gd name="connsiteX0" fmla="*/ 212408 w 258873"/>
                <a:gd name="connsiteY0" fmla="*/ 410284 h 410284"/>
                <a:gd name="connsiteX1" fmla="*/ 249555 w 258873"/>
                <a:gd name="connsiteY1" fmla="*/ 115009 h 410284"/>
                <a:gd name="connsiteX2" fmla="*/ 80963 w 258873"/>
                <a:gd name="connsiteY2" fmla="*/ 3567 h 410284"/>
                <a:gd name="connsiteX3" fmla="*/ 0 w 258873"/>
                <a:gd name="connsiteY3" fmla="*/ 52144 h 410284"/>
              </a:gdLst>
              <a:ahLst/>
              <a:cxnLst>
                <a:cxn ang="0">
                  <a:pos x="connsiteX0" y="connsiteY0"/>
                </a:cxn>
                <a:cxn ang="0">
                  <a:pos x="connsiteX1" y="connsiteY1"/>
                </a:cxn>
                <a:cxn ang="0">
                  <a:pos x="connsiteX2" y="connsiteY2"/>
                </a:cxn>
                <a:cxn ang="0">
                  <a:pos x="connsiteX3" y="connsiteY3"/>
                </a:cxn>
              </a:cxnLst>
              <a:rect l="l" t="t" r="r" b="b"/>
              <a:pathLst>
                <a:path w="258873" h="410284">
                  <a:moveTo>
                    <a:pt x="212408" y="410284"/>
                  </a:moveTo>
                  <a:cubicBezTo>
                    <a:pt x="255270" y="321702"/>
                    <a:pt x="270510" y="218832"/>
                    <a:pt x="249555" y="115009"/>
                  </a:cubicBezTo>
                  <a:cubicBezTo>
                    <a:pt x="244793" y="90244"/>
                    <a:pt x="202883" y="-21198"/>
                    <a:pt x="80963" y="3567"/>
                  </a:cubicBezTo>
                  <a:cubicBezTo>
                    <a:pt x="47625" y="10234"/>
                    <a:pt x="20003" y="28332"/>
                    <a:pt x="0" y="52144"/>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7" name="Freihandform: Form 385">
              <a:extLst>
                <a:ext uri="{FF2B5EF4-FFF2-40B4-BE49-F238E27FC236}">
                  <a16:creationId xmlns:a16="http://schemas.microsoft.com/office/drawing/2014/main" id="{416E100D-2138-4F73-8351-F2F9AAC4F459}"/>
                </a:ext>
              </a:extLst>
            </p:cNvPr>
            <p:cNvSpPr/>
            <p:nvPr/>
          </p:nvSpPr>
          <p:spPr>
            <a:xfrm>
              <a:off x="6568828" y="5528757"/>
              <a:ext cx="199072" cy="353377"/>
            </a:xfrm>
            <a:custGeom>
              <a:avLst/>
              <a:gdLst>
                <a:gd name="connsiteX0" fmla="*/ 199073 w 199072"/>
                <a:gd name="connsiteY0" fmla="*/ 0 h 353377"/>
                <a:gd name="connsiteX1" fmla="*/ 36195 w 199072"/>
                <a:gd name="connsiteY1" fmla="*/ 250508 h 353377"/>
                <a:gd name="connsiteX2" fmla="*/ 36195 w 199072"/>
                <a:gd name="connsiteY2" fmla="*/ 250508 h 353377"/>
                <a:gd name="connsiteX3" fmla="*/ 0 w 199072"/>
                <a:gd name="connsiteY3" fmla="*/ 353378 h 353377"/>
              </a:gdLst>
              <a:ahLst/>
              <a:cxnLst>
                <a:cxn ang="0">
                  <a:pos x="connsiteX0" y="connsiteY0"/>
                </a:cxn>
                <a:cxn ang="0">
                  <a:pos x="connsiteX1" y="connsiteY1"/>
                </a:cxn>
                <a:cxn ang="0">
                  <a:pos x="connsiteX2" y="connsiteY2"/>
                </a:cxn>
                <a:cxn ang="0">
                  <a:pos x="connsiteX3" y="connsiteY3"/>
                </a:cxn>
              </a:cxnLst>
              <a:rect l="l" t="t" r="r" b="b"/>
              <a:pathLst>
                <a:path w="199072" h="353377">
                  <a:moveTo>
                    <a:pt x="199073" y="0"/>
                  </a:moveTo>
                  <a:cubicBezTo>
                    <a:pt x="85725" y="25717"/>
                    <a:pt x="13335" y="136208"/>
                    <a:pt x="36195" y="250508"/>
                  </a:cubicBezTo>
                  <a:lnTo>
                    <a:pt x="36195" y="250508"/>
                  </a:lnTo>
                  <a:cubicBezTo>
                    <a:pt x="43815" y="290512"/>
                    <a:pt x="29528" y="329565"/>
                    <a:pt x="0" y="353378"/>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38" name="Freihandform: Form 386">
              <a:extLst>
                <a:ext uri="{FF2B5EF4-FFF2-40B4-BE49-F238E27FC236}">
                  <a16:creationId xmlns:a16="http://schemas.microsoft.com/office/drawing/2014/main" id="{C166071F-23EB-4F09-BD71-19E2881D90EB}"/>
                </a:ext>
              </a:extLst>
            </p:cNvPr>
            <p:cNvSpPr/>
            <p:nvPr/>
          </p:nvSpPr>
          <p:spPr>
            <a:xfrm>
              <a:off x="6825051" y="5523042"/>
              <a:ext cx="211374" cy="415289"/>
            </a:xfrm>
            <a:custGeom>
              <a:avLst/>
              <a:gdLst>
                <a:gd name="connsiteX0" fmla="*/ 193358 w 211374"/>
                <a:gd name="connsiteY0" fmla="*/ 415290 h 415289"/>
                <a:gd name="connsiteX1" fmla="*/ 200977 w 211374"/>
                <a:gd name="connsiteY1" fmla="*/ 171450 h 415289"/>
                <a:gd name="connsiteX2" fmla="*/ 200977 w 211374"/>
                <a:gd name="connsiteY2" fmla="*/ 171450 h 415289"/>
                <a:gd name="connsiteX3" fmla="*/ 0 w 211374"/>
                <a:gd name="connsiteY3" fmla="*/ 0 h 415289"/>
              </a:gdLst>
              <a:ahLst/>
              <a:cxnLst>
                <a:cxn ang="0">
                  <a:pos x="connsiteX0" y="connsiteY0"/>
                </a:cxn>
                <a:cxn ang="0">
                  <a:pos x="connsiteX1" y="connsiteY1"/>
                </a:cxn>
                <a:cxn ang="0">
                  <a:pos x="connsiteX2" y="connsiteY2"/>
                </a:cxn>
                <a:cxn ang="0">
                  <a:pos x="connsiteX3" y="connsiteY3"/>
                </a:cxn>
              </a:cxnLst>
              <a:rect l="l" t="t" r="r" b="b"/>
              <a:pathLst>
                <a:path w="211374" h="415289">
                  <a:moveTo>
                    <a:pt x="193358" y="415290"/>
                  </a:moveTo>
                  <a:cubicBezTo>
                    <a:pt x="214313" y="338138"/>
                    <a:pt x="217170" y="255270"/>
                    <a:pt x="200977" y="171450"/>
                  </a:cubicBezTo>
                  <a:lnTo>
                    <a:pt x="200977" y="171450"/>
                  </a:lnTo>
                  <a:cubicBezTo>
                    <a:pt x="180975" y="73343"/>
                    <a:pt x="96202" y="4763"/>
                    <a:pt x="0" y="0"/>
                  </a:cubicBezTo>
                </a:path>
              </a:pathLst>
            </a:custGeom>
            <a:noFill/>
            <a:ln w="19050" cap="flat">
              <a:solidFill>
                <a:schemeClr val="accent5"/>
              </a:solidFill>
              <a:prstDash val="solid"/>
              <a:miter/>
            </a:ln>
          </p:spPr>
          <p:txBody>
            <a:bodyPr lIns="36000" tIns="36000" rIns="36000" bIns="36000" rtlCol="0" anchor="ctr"/>
            <a:lstStyle/>
            <a:p>
              <a:endParaRPr lang="de-DE" sz="800" dirty="0"/>
            </a:p>
          </p:txBody>
        </p:sp>
      </p:grpSp>
      <p:grpSp>
        <p:nvGrpSpPr>
          <p:cNvPr id="1039" name="Grafik 35">
            <a:extLst>
              <a:ext uri="{FF2B5EF4-FFF2-40B4-BE49-F238E27FC236}">
                <a16:creationId xmlns:a16="http://schemas.microsoft.com/office/drawing/2014/main" id="{40B8C9E1-BFB7-466D-B488-3355AC9D942E}"/>
              </a:ext>
            </a:extLst>
          </p:cNvPr>
          <p:cNvGrpSpPr>
            <a:grpSpLocks noChangeAspect="1"/>
          </p:cNvGrpSpPr>
          <p:nvPr/>
        </p:nvGrpSpPr>
        <p:grpSpPr>
          <a:xfrm>
            <a:off x="6428840" y="4803192"/>
            <a:ext cx="521392" cy="420927"/>
            <a:chOff x="8210142" y="3810544"/>
            <a:chExt cx="571500" cy="571500"/>
          </a:xfrm>
          <a:noFill/>
        </p:grpSpPr>
        <p:sp>
          <p:nvSpPr>
            <p:cNvPr id="1040" name="Freihandform: Form 174">
              <a:extLst>
                <a:ext uri="{FF2B5EF4-FFF2-40B4-BE49-F238E27FC236}">
                  <a16:creationId xmlns:a16="http://schemas.microsoft.com/office/drawing/2014/main" id="{FAF96E30-4F30-4EF7-8507-20B23A44E5CE}"/>
                </a:ext>
              </a:extLst>
            </p:cNvPr>
            <p:cNvSpPr/>
            <p:nvPr/>
          </p:nvSpPr>
          <p:spPr>
            <a:xfrm>
              <a:off x="8210142" y="4001044"/>
              <a:ext cx="571500" cy="381000"/>
            </a:xfrm>
            <a:custGeom>
              <a:avLst/>
              <a:gdLst>
                <a:gd name="connsiteX0" fmla="*/ 95250 w 571500"/>
                <a:gd name="connsiteY0" fmla="*/ 0 h 381000"/>
                <a:gd name="connsiteX1" fmla="*/ 0 w 571500"/>
                <a:gd name="connsiteY1" fmla="*/ 55245 h 381000"/>
                <a:gd name="connsiteX2" fmla="*/ 0 w 571500"/>
                <a:gd name="connsiteY2" fmla="*/ 381000 h 381000"/>
                <a:gd name="connsiteX3" fmla="*/ 571500 w 571500"/>
                <a:gd name="connsiteY3" fmla="*/ 381000 h 381000"/>
                <a:gd name="connsiteX4" fmla="*/ 571500 w 571500"/>
                <a:gd name="connsiteY4" fmla="*/ 56197 h 381000"/>
                <a:gd name="connsiteX5" fmla="*/ 476250 w 5715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0" h="381000">
                  <a:moveTo>
                    <a:pt x="95250" y="0"/>
                  </a:moveTo>
                  <a:lnTo>
                    <a:pt x="0" y="55245"/>
                  </a:lnTo>
                  <a:lnTo>
                    <a:pt x="0" y="381000"/>
                  </a:lnTo>
                  <a:lnTo>
                    <a:pt x="571500" y="381000"/>
                  </a:lnTo>
                  <a:lnTo>
                    <a:pt x="571500" y="56197"/>
                  </a:lnTo>
                  <a:lnTo>
                    <a:pt x="476250" y="0"/>
                  </a:ln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41" name="Freihandform: Form 175">
              <a:extLst>
                <a:ext uri="{FF2B5EF4-FFF2-40B4-BE49-F238E27FC236}">
                  <a16:creationId xmlns:a16="http://schemas.microsoft.com/office/drawing/2014/main" id="{6C091DCC-E226-43EB-8FE3-E34665ACF171}"/>
                </a:ext>
              </a:extLst>
            </p:cNvPr>
            <p:cNvSpPr/>
            <p:nvPr/>
          </p:nvSpPr>
          <p:spPr>
            <a:xfrm>
              <a:off x="8305392" y="3810544"/>
              <a:ext cx="381000" cy="300037"/>
            </a:xfrm>
            <a:custGeom>
              <a:avLst/>
              <a:gdLst>
                <a:gd name="connsiteX0" fmla="*/ 0 w 381000"/>
                <a:gd name="connsiteY0" fmla="*/ 300038 h 300037"/>
                <a:gd name="connsiteX1" fmla="*/ 0 w 381000"/>
                <a:gd name="connsiteY1" fmla="*/ 0 h 300037"/>
                <a:gd name="connsiteX2" fmla="*/ 381000 w 381000"/>
                <a:gd name="connsiteY2" fmla="*/ 0 h 300037"/>
                <a:gd name="connsiteX3" fmla="*/ 381000 w 381000"/>
                <a:gd name="connsiteY3" fmla="*/ 297180 h 300037"/>
              </a:gdLst>
              <a:ahLst/>
              <a:cxnLst>
                <a:cxn ang="0">
                  <a:pos x="connsiteX0" y="connsiteY0"/>
                </a:cxn>
                <a:cxn ang="0">
                  <a:pos x="connsiteX1" y="connsiteY1"/>
                </a:cxn>
                <a:cxn ang="0">
                  <a:pos x="connsiteX2" y="connsiteY2"/>
                </a:cxn>
                <a:cxn ang="0">
                  <a:pos x="connsiteX3" y="connsiteY3"/>
                </a:cxn>
              </a:cxnLst>
              <a:rect l="l" t="t" r="r" b="b"/>
              <a:pathLst>
                <a:path w="381000" h="300037">
                  <a:moveTo>
                    <a:pt x="0" y="300038"/>
                  </a:moveTo>
                  <a:lnTo>
                    <a:pt x="0" y="0"/>
                  </a:lnTo>
                  <a:lnTo>
                    <a:pt x="381000" y="0"/>
                  </a:lnTo>
                  <a:lnTo>
                    <a:pt x="381000" y="297180"/>
                  </a:ln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42" name="Freihandform: Form 176">
              <a:extLst>
                <a:ext uri="{FF2B5EF4-FFF2-40B4-BE49-F238E27FC236}">
                  <a16:creationId xmlns:a16="http://schemas.microsoft.com/office/drawing/2014/main" id="{B5337CCD-959B-4CB6-90A1-4890A1869B8A}"/>
                </a:ext>
              </a:extLst>
            </p:cNvPr>
            <p:cNvSpPr/>
            <p:nvPr/>
          </p:nvSpPr>
          <p:spPr>
            <a:xfrm>
              <a:off x="8210142" y="4056289"/>
              <a:ext cx="571500" cy="325755"/>
            </a:xfrm>
            <a:custGeom>
              <a:avLst/>
              <a:gdLst>
                <a:gd name="connsiteX0" fmla="*/ 0 w 571500"/>
                <a:gd name="connsiteY0" fmla="*/ 0 h 325755"/>
                <a:gd name="connsiteX1" fmla="*/ 571500 w 571500"/>
                <a:gd name="connsiteY1" fmla="*/ 325755 h 325755"/>
              </a:gdLst>
              <a:ahLst/>
              <a:cxnLst>
                <a:cxn ang="0">
                  <a:pos x="connsiteX0" y="connsiteY0"/>
                </a:cxn>
                <a:cxn ang="0">
                  <a:pos x="connsiteX1" y="connsiteY1"/>
                </a:cxn>
              </a:cxnLst>
              <a:rect l="l" t="t" r="r" b="b"/>
              <a:pathLst>
                <a:path w="571500" h="325755">
                  <a:moveTo>
                    <a:pt x="0" y="0"/>
                  </a:moveTo>
                  <a:lnTo>
                    <a:pt x="571500" y="325755"/>
                  </a:lnTo>
                </a:path>
              </a:pathLst>
            </a:custGeom>
            <a:ln w="19050" cap="flat">
              <a:solidFill>
                <a:schemeClr val="accent5"/>
              </a:solidFill>
              <a:prstDash val="solid"/>
              <a:miter/>
            </a:ln>
          </p:spPr>
          <p:txBody>
            <a:bodyPr lIns="36000" tIns="36000" rIns="36000" bIns="36000" rtlCol="0" anchor="ctr"/>
            <a:lstStyle/>
            <a:p>
              <a:endParaRPr lang="de-DE" sz="800" dirty="0"/>
            </a:p>
          </p:txBody>
        </p:sp>
        <p:sp>
          <p:nvSpPr>
            <p:cNvPr id="1043" name="Freihandform: Form 177">
              <a:extLst>
                <a:ext uri="{FF2B5EF4-FFF2-40B4-BE49-F238E27FC236}">
                  <a16:creationId xmlns:a16="http://schemas.microsoft.com/office/drawing/2014/main" id="{C1DC16FA-B3E0-480E-A8A1-7D45A2AD8810}"/>
                </a:ext>
              </a:extLst>
            </p:cNvPr>
            <p:cNvSpPr/>
            <p:nvPr/>
          </p:nvSpPr>
          <p:spPr>
            <a:xfrm>
              <a:off x="8489224" y="4057241"/>
              <a:ext cx="292417" cy="158115"/>
            </a:xfrm>
            <a:custGeom>
              <a:avLst/>
              <a:gdLst>
                <a:gd name="connsiteX0" fmla="*/ 292418 w 292417"/>
                <a:gd name="connsiteY0" fmla="*/ 0 h 158115"/>
                <a:gd name="connsiteX1" fmla="*/ 0 w 292417"/>
                <a:gd name="connsiteY1" fmla="*/ 158115 h 158115"/>
              </a:gdLst>
              <a:ahLst/>
              <a:cxnLst>
                <a:cxn ang="0">
                  <a:pos x="connsiteX0" y="connsiteY0"/>
                </a:cxn>
                <a:cxn ang="0">
                  <a:pos x="connsiteX1" y="connsiteY1"/>
                </a:cxn>
              </a:cxnLst>
              <a:rect l="l" t="t" r="r" b="b"/>
              <a:pathLst>
                <a:path w="292417" h="158115">
                  <a:moveTo>
                    <a:pt x="292418" y="0"/>
                  </a:moveTo>
                  <a:lnTo>
                    <a:pt x="0" y="158115"/>
                  </a:lnTo>
                </a:path>
              </a:pathLst>
            </a:custGeom>
            <a:ln w="19050" cap="flat">
              <a:solidFill>
                <a:schemeClr val="accent5"/>
              </a:solidFill>
              <a:prstDash val="solid"/>
              <a:miter/>
            </a:ln>
          </p:spPr>
          <p:txBody>
            <a:bodyPr lIns="36000" tIns="36000" rIns="36000" bIns="36000" rtlCol="0" anchor="ctr"/>
            <a:lstStyle/>
            <a:p>
              <a:endParaRPr lang="de-DE" sz="800" dirty="0"/>
            </a:p>
          </p:txBody>
        </p:sp>
        <p:sp>
          <p:nvSpPr>
            <p:cNvPr id="1044" name="Freihandform: Form 178">
              <a:extLst>
                <a:ext uri="{FF2B5EF4-FFF2-40B4-BE49-F238E27FC236}">
                  <a16:creationId xmlns:a16="http://schemas.microsoft.com/office/drawing/2014/main" id="{37453D76-4D36-48B7-B748-D52017A5F06D}"/>
                </a:ext>
              </a:extLst>
            </p:cNvPr>
            <p:cNvSpPr/>
            <p:nvPr/>
          </p:nvSpPr>
          <p:spPr>
            <a:xfrm>
              <a:off x="8381592" y="3962944"/>
              <a:ext cx="38100" cy="76200"/>
            </a:xfrm>
            <a:custGeom>
              <a:avLst/>
              <a:gdLst>
                <a:gd name="connsiteX0" fmla="*/ 38100 w 38100"/>
                <a:gd name="connsiteY0" fmla="*/ 0 h 76200"/>
                <a:gd name="connsiteX1" fmla="*/ 0 w 38100"/>
                <a:gd name="connsiteY1" fmla="*/ 38100 h 76200"/>
                <a:gd name="connsiteX2" fmla="*/ 38100 w 38100"/>
                <a:gd name="connsiteY2" fmla="*/ 76200 h 76200"/>
              </a:gdLst>
              <a:ahLst/>
              <a:cxnLst>
                <a:cxn ang="0">
                  <a:pos x="connsiteX0" y="connsiteY0"/>
                </a:cxn>
                <a:cxn ang="0">
                  <a:pos x="connsiteX1" y="connsiteY1"/>
                </a:cxn>
                <a:cxn ang="0">
                  <a:pos x="connsiteX2" y="connsiteY2"/>
                </a:cxn>
              </a:cxnLst>
              <a:rect l="l" t="t" r="r" b="b"/>
              <a:pathLst>
                <a:path w="38100" h="76200">
                  <a:moveTo>
                    <a:pt x="38100" y="0"/>
                  </a:moveTo>
                  <a:lnTo>
                    <a:pt x="0" y="38100"/>
                  </a:lnTo>
                  <a:lnTo>
                    <a:pt x="38100" y="7620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45" name="Freihandform: Form 179">
              <a:extLst>
                <a:ext uri="{FF2B5EF4-FFF2-40B4-BE49-F238E27FC236}">
                  <a16:creationId xmlns:a16="http://schemas.microsoft.com/office/drawing/2014/main" id="{D7A79755-367E-41B0-AAD8-8891C319E1A0}"/>
                </a:ext>
              </a:extLst>
            </p:cNvPr>
            <p:cNvSpPr/>
            <p:nvPr/>
          </p:nvSpPr>
          <p:spPr>
            <a:xfrm>
              <a:off x="8572092" y="3962944"/>
              <a:ext cx="38100" cy="76200"/>
            </a:xfrm>
            <a:custGeom>
              <a:avLst/>
              <a:gdLst>
                <a:gd name="connsiteX0" fmla="*/ 0 w 38100"/>
                <a:gd name="connsiteY0" fmla="*/ 0 h 76200"/>
                <a:gd name="connsiteX1" fmla="*/ 38100 w 38100"/>
                <a:gd name="connsiteY1" fmla="*/ 38100 h 76200"/>
                <a:gd name="connsiteX2" fmla="*/ 0 w 38100"/>
                <a:gd name="connsiteY2" fmla="*/ 76200 h 76200"/>
              </a:gdLst>
              <a:ahLst/>
              <a:cxnLst>
                <a:cxn ang="0">
                  <a:pos x="connsiteX0" y="connsiteY0"/>
                </a:cxn>
                <a:cxn ang="0">
                  <a:pos x="connsiteX1" y="connsiteY1"/>
                </a:cxn>
                <a:cxn ang="0">
                  <a:pos x="connsiteX2" y="connsiteY2"/>
                </a:cxn>
              </a:cxnLst>
              <a:rect l="l" t="t" r="r" b="b"/>
              <a:pathLst>
                <a:path w="38100" h="76200">
                  <a:moveTo>
                    <a:pt x="0" y="0"/>
                  </a:moveTo>
                  <a:lnTo>
                    <a:pt x="38100" y="38100"/>
                  </a:lnTo>
                  <a:lnTo>
                    <a:pt x="0" y="7620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46" name="Freihandform: Form 180">
              <a:extLst>
                <a:ext uri="{FF2B5EF4-FFF2-40B4-BE49-F238E27FC236}">
                  <a16:creationId xmlns:a16="http://schemas.microsoft.com/office/drawing/2014/main" id="{DCC62216-0E39-4B11-AB36-253558DA0805}"/>
                </a:ext>
              </a:extLst>
            </p:cNvPr>
            <p:cNvSpPr/>
            <p:nvPr/>
          </p:nvSpPr>
          <p:spPr>
            <a:xfrm>
              <a:off x="8457792" y="3924844"/>
              <a:ext cx="76200" cy="152400"/>
            </a:xfrm>
            <a:custGeom>
              <a:avLst/>
              <a:gdLst>
                <a:gd name="connsiteX0" fmla="*/ 0 w 76200"/>
                <a:gd name="connsiteY0" fmla="*/ 152400 h 152400"/>
                <a:gd name="connsiteX1" fmla="*/ 76200 w 76200"/>
                <a:gd name="connsiteY1" fmla="*/ 0 h 152400"/>
              </a:gdLst>
              <a:ahLst/>
              <a:cxnLst>
                <a:cxn ang="0">
                  <a:pos x="connsiteX0" y="connsiteY0"/>
                </a:cxn>
                <a:cxn ang="0">
                  <a:pos x="connsiteX1" y="connsiteY1"/>
                </a:cxn>
              </a:cxnLst>
              <a:rect l="l" t="t" r="r" b="b"/>
              <a:pathLst>
                <a:path w="76200" h="152400">
                  <a:moveTo>
                    <a:pt x="0" y="152400"/>
                  </a:moveTo>
                  <a:lnTo>
                    <a:pt x="76200" y="0"/>
                  </a:lnTo>
                </a:path>
              </a:pathLst>
            </a:custGeom>
            <a:ln w="19050" cap="sq">
              <a:solidFill>
                <a:schemeClr val="accent5"/>
              </a:solidFill>
              <a:prstDash val="solid"/>
              <a:miter/>
            </a:ln>
          </p:spPr>
          <p:txBody>
            <a:bodyPr lIns="36000" tIns="36000" rIns="36000" bIns="36000" rtlCol="0" anchor="ctr"/>
            <a:lstStyle/>
            <a:p>
              <a:endParaRPr lang="de-DE" sz="800" dirty="0"/>
            </a:p>
          </p:txBody>
        </p:sp>
      </p:grpSp>
      <p:sp>
        <p:nvSpPr>
          <p:cNvPr id="1047" name="Textfeld 1046">
            <a:extLst>
              <a:ext uri="{FF2B5EF4-FFF2-40B4-BE49-F238E27FC236}">
                <a16:creationId xmlns:a16="http://schemas.microsoft.com/office/drawing/2014/main" id="{EC07F89E-9675-42B0-8E37-F4C76F66C795}"/>
              </a:ext>
            </a:extLst>
          </p:cNvPr>
          <p:cNvSpPr txBox="1">
            <a:spLocks/>
          </p:cNvSpPr>
          <p:nvPr/>
        </p:nvSpPr>
        <p:spPr>
          <a:xfrm>
            <a:off x="6281389"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t>Online </a:t>
            </a:r>
          </a:p>
          <a:p>
            <a:pPr algn="ctr" fontAlgn="base">
              <a:spcBef>
                <a:spcPct val="0"/>
              </a:spcBef>
              <a:spcAft>
                <a:spcPct val="0"/>
              </a:spcAft>
            </a:pPr>
            <a:r>
              <a:rPr lang="de-DE" sz="800" dirty="0"/>
              <a:t>absenden</a:t>
            </a:r>
          </a:p>
        </p:txBody>
      </p:sp>
      <p:grpSp>
        <p:nvGrpSpPr>
          <p:cNvPr id="1048" name="Grafik 88">
            <a:extLst>
              <a:ext uri="{FF2B5EF4-FFF2-40B4-BE49-F238E27FC236}">
                <a16:creationId xmlns:a16="http://schemas.microsoft.com/office/drawing/2014/main" id="{4B3F4908-6C58-469A-9B45-44243300EF10}"/>
              </a:ext>
            </a:extLst>
          </p:cNvPr>
          <p:cNvGrpSpPr>
            <a:grpSpLocks noChangeAspect="1"/>
          </p:cNvGrpSpPr>
          <p:nvPr/>
        </p:nvGrpSpPr>
        <p:grpSpPr>
          <a:xfrm>
            <a:off x="1739810" y="4021920"/>
            <a:ext cx="224694" cy="194383"/>
            <a:chOff x="5536629" y="3865615"/>
            <a:chExt cx="548434" cy="587686"/>
          </a:xfrm>
          <a:solidFill>
            <a:schemeClr val="accent1"/>
          </a:solidFill>
        </p:grpSpPr>
        <p:sp>
          <p:nvSpPr>
            <p:cNvPr id="1049" name="Freihandform: Form 337">
              <a:extLst>
                <a:ext uri="{FF2B5EF4-FFF2-40B4-BE49-F238E27FC236}">
                  <a16:creationId xmlns:a16="http://schemas.microsoft.com/office/drawing/2014/main" id="{862600AA-545F-4712-9F88-47289DB93F06}"/>
                </a:ext>
              </a:extLst>
            </p:cNvPr>
            <p:cNvSpPr/>
            <p:nvPr/>
          </p:nvSpPr>
          <p:spPr>
            <a:xfrm>
              <a:off x="5928853" y="4297091"/>
              <a:ext cx="156210" cy="156210"/>
            </a:xfrm>
            <a:custGeom>
              <a:avLst/>
              <a:gdLst>
                <a:gd name="connsiteX0" fmla="*/ 153353 w 156210"/>
                <a:gd name="connsiteY0" fmla="*/ 113348 h 156210"/>
                <a:gd name="connsiteX1" fmla="*/ 40005 w 156210"/>
                <a:gd name="connsiteY1" fmla="*/ 0 h 156210"/>
                <a:gd name="connsiteX2" fmla="*/ 0 w 156210"/>
                <a:gd name="connsiteY2" fmla="*/ 40005 h 156210"/>
                <a:gd name="connsiteX3" fmla="*/ 113348 w 156210"/>
                <a:gd name="connsiteY3" fmla="*/ 153353 h 156210"/>
                <a:gd name="connsiteX4" fmla="*/ 126682 w 156210"/>
                <a:gd name="connsiteY4" fmla="*/ 153353 h 156210"/>
                <a:gd name="connsiteX5" fmla="*/ 153353 w 156210"/>
                <a:gd name="connsiteY5" fmla="*/ 126682 h 156210"/>
                <a:gd name="connsiteX6" fmla="*/ 153353 w 156210"/>
                <a:gd name="connsiteY6" fmla="*/ 113348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10" h="156210">
                  <a:moveTo>
                    <a:pt x="153353" y="113348"/>
                  </a:moveTo>
                  <a:lnTo>
                    <a:pt x="40005" y="0"/>
                  </a:lnTo>
                  <a:cubicBezTo>
                    <a:pt x="27623" y="15240"/>
                    <a:pt x="14288" y="28575"/>
                    <a:pt x="0" y="40005"/>
                  </a:cubicBezTo>
                  <a:lnTo>
                    <a:pt x="113348" y="153353"/>
                  </a:lnTo>
                  <a:cubicBezTo>
                    <a:pt x="117157" y="157163"/>
                    <a:pt x="122873" y="157163"/>
                    <a:pt x="126682" y="153353"/>
                  </a:cubicBezTo>
                  <a:lnTo>
                    <a:pt x="153353" y="126682"/>
                  </a:lnTo>
                  <a:cubicBezTo>
                    <a:pt x="157163" y="122873"/>
                    <a:pt x="157163" y="117157"/>
                    <a:pt x="153353" y="113348"/>
                  </a:cubicBezTo>
                  <a:close/>
                </a:path>
              </a:pathLst>
            </a:custGeom>
            <a:solidFill>
              <a:schemeClr val="tx2"/>
            </a:solidFill>
            <a:ln w="9525" cap="flat">
              <a:solidFill>
                <a:schemeClr val="accent5"/>
              </a:solidFill>
              <a:prstDash val="solid"/>
              <a:miter/>
            </a:ln>
          </p:spPr>
          <p:txBody>
            <a:bodyPr lIns="36000" tIns="36000" rIns="36000" bIns="36000" rtlCol="0" anchor="ctr"/>
            <a:lstStyle/>
            <a:p>
              <a:endParaRPr lang="de-DE" sz="800" dirty="0"/>
            </a:p>
          </p:txBody>
        </p:sp>
        <p:sp>
          <p:nvSpPr>
            <p:cNvPr id="1050" name="Freihandform: Form 338">
              <a:extLst>
                <a:ext uri="{FF2B5EF4-FFF2-40B4-BE49-F238E27FC236}">
                  <a16:creationId xmlns:a16="http://schemas.microsoft.com/office/drawing/2014/main" id="{A40361CC-5ED3-4ACA-8D28-F7C120EF0292}"/>
                </a:ext>
              </a:extLst>
            </p:cNvPr>
            <p:cNvSpPr/>
            <p:nvPr/>
          </p:nvSpPr>
          <p:spPr>
            <a:xfrm>
              <a:off x="5536629" y="3865615"/>
              <a:ext cx="381577" cy="468014"/>
            </a:xfrm>
            <a:custGeom>
              <a:avLst/>
              <a:gdLst>
                <a:gd name="connsiteX0" fmla="*/ 514350 w 514350"/>
                <a:gd name="connsiteY0" fmla="*/ 257175 h 514350"/>
                <a:gd name="connsiteX1" fmla="*/ 257175 w 514350"/>
                <a:gd name="connsiteY1" fmla="*/ 0 h 514350"/>
                <a:gd name="connsiteX2" fmla="*/ 0 w 514350"/>
                <a:gd name="connsiteY2" fmla="*/ 257175 h 514350"/>
                <a:gd name="connsiteX3" fmla="*/ 257175 w 514350"/>
                <a:gd name="connsiteY3" fmla="*/ 514350 h 514350"/>
                <a:gd name="connsiteX4" fmla="*/ 514350 w 514350"/>
                <a:gd name="connsiteY4" fmla="*/ 257175 h 514350"/>
                <a:gd name="connsiteX5" fmla="*/ 257175 w 514350"/>
                <a:gd name="connsiteY5" fmla="*/ 495300 h 514350"/>
                <a:gd name="connsiteX6" fmla="*/ 19050 w 514350"/>
                <a:gd name="connsiteY6" fmla="*/ 257175 h 514350"/>
                <a:gd name="connsiteX7" fmla="*/ 257175 w 514350"/>
                <a:gd name="connsiteY7" fmla="*/ 19050 h 514350"/>
                <a:gd name="connsiteX8" fmla="*/ 495300 w 514350"/>
                <a:gd name="connsiteY8" fmla="*/ 257175 h 514350"/>
                <a:gd name="connsiteX9" fmla="*/ 257175 w 514350"/>
                <a:gd name="connsiteY9" fmla="*/ 49530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350" h="514350">
                  <a:moveTo>
                    <a:pt x="514350" y="257175"/>
                  </a:moveTo>
                  <a:cubicBezTo>
                    <a:pt x="514350" y="115253"/>
                    <a:pt x="399098" y="0"/>
                    <a:pt x="257175" y="0"/>
                  </a:cubicBezTo>
                  <a:cubicBezTo>
                    <a:pt x="115253" y="0"/>
                    <a:pt x="0" y="115253"/>
                    <a:pt x="0" y="257175"/>
                  </a:cubicBezTo>
                  <a:cubicBezTo>
                    <a:pt x="0" y="399098"/>
                    <a:pt x="115253" y="514350"/>
                    <a:pt x="257175" y="514350"/>
                  </a:cubicBezTo>
                  <a:cubicBezTo>
                    <a:pt x="399098" y="514350"/>
                    <a:pt x="514350" y="399098"/>
                    <a:pt x="514350" y="257175"/>
                  </a:cubicBezTo>
                  <a:close/>
                  <a:moveTo>
                    <a:pt x="257175" y="495300"/>
                  </a:moveTo>
                  <a:cubicBezTo>
                    <a:pt x="125730" y="495300"/>
                    <a:pt x="19050" y="388620"/>
                    <a:pt x="19050" y="257175"/>
                  </a:cubicBezTo>
                  <a:cubicBezTo>
                    <a:pt x="19050" y="125730"/>
                    <a:pt x="125730" y="19050"/>
                    <a:pt x="257175" y="19050"/>
                  </a:cubicBezTo>
                  <a:cubicBezTo>
                    <a:pt x="388620" y="19050"/>
                    <a:pt x="495300" y="125730"/>
                    <a:pt x="495300" y="257175"/>
                  </a:cubicBezTo>
                  <a:cubicBezTo>
                    <a:pt x="495300" y="388620"/>
                    <a:pt x="388620" y="495300"/>
                    <a:pt x="257175" y="495300"/>
                  </a:cubicBezTo>
                  <a:close/>
                </a:path>
              </a:pathLst>
            </a:custGeom>
            <a:grpFill/>
            <a:ln w="9525" cap="flat">
              <a:solidFill>
                <a:schemeClr val="accent5"/>
              </a:solidFill>
              <a:prstDash val="solid"/>
              <a:miter/>
            </a:ln>
          </p:spPr>
          <p:txBody>
            <a:bodyPr lIns="36000" tIns="36000" rIns="36000" bIns="36000" rtlCol="0" anchor="ctr"/>
            <a:lstStyle/>
            <a:p>
              <a:endParaRPr lang="de-DE" sz="800" dirty="0"/>
            </a:p>
          </p:txBody>
        </p:sp>
      </p:grpSp>
      <p:sp>
        <p:nvSpPr>
          <p:cNvPr id="1051" name="Textfeld 1050">
            <a:extLst>
              <a:ext uri="{FF2B5EF4-FFF2-40B4-BE49-F238E27FC236}">
                <a16:creationId xmlns:a16="http://schemas.microsoft.com/office/drawing/2014/main" id="{3CAA9E4F-8F00-44C6-8B45-832AA7A0E966}"/>
              </a:ext>
            </a:extLst>
          </p:cNvPr>
          <p:cNvSpPr txBox="1"/>
          <p:nvPr/>
        </p:nvSpPr>
        <p:spPr>
          <a:xfrm>
            <a:off x="1952083" y="4128272"/>
            <a:ext cx="1152000" cy="442035"/>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Suchen &amp; Finden anhand Leistungsindikator und Ortsindikator (</a:t>
            </a:r>
            <a:r>
              <a:rPr lang="de-DE" dirty="0" err="1"/>
              <a:t>XZuFi</a:t>
            </a:r>
            <a:r>
              <a:rPr lang="de-DE" dirty="0"/>
              <a:t>)</a:t>
            </a:r>
          </a:p>
        </p:txBody>
      </p:sp>
      <p:grpSp>
        <p:nvGrpSpPr>
          <p:cNvPr id="1052" name="Gruppieren 1051">
            <a:extLst>
              <a:ext uri="{FF2B5EF4-FFF2-40B4-BE49-F238E27FC236}">
                <a16:creationId xmlns:a16="http://schemas.microsoft.com/office/drawing/2014/main" id="{C0FD68D6-668D-4775-8766-4E9041F27059}"/>
              </a:ext>
            </a:extLst>
          </p:cNvPr>
          <p:cNvGrpSpPr>
            <a:grpSpLocks noChangeAspect="1"/>
          </p:cNvGrpSpPr>
          <p:nvPr/>
        </p:nvGrpSpPr>
        <p:grpSpPr>
          <a:xfrm>
            <a:off x="4388947" y="4219683"/>
            <a:ext cx="291784" cy="243684"/>
            <a:chOff x="6669305" y="468830"/>
            <a:chExt cx="552450" cy="571500"/>
          </a:xfrm>
        </p:grpSpPr>
        <p:sp>
          <p:nvSpPr>
            <p:cNvPr id="1053" name="Freihandform: Form 377">
              <a:extLst>
                <a:ext uri="{FF2B5EF4-FFF2-40B4-BE49-F238E27FC236}">
                  <a16:creationId xmlns:a16="http://schemas.microsoft.com/office/drawing/2014/main" id="{8641B591-73B0-4BB2-B259-12C866C1DACF}"/>
                </a:ext>
              </a:extLst>
            </p:cNvPr>
            <p:cNvSpPr/>
            <p:nvPr/>
          </p:nvSpPr>
          <p:spPr>
            <a:xfrm>
              <a:off x="6669305" y="916505"/>
              <a:ext cx="352425" cy="9525"/>
            </a:xfrm>
            <a:custGeom>
              <a:avLst/>
              <a:gdLst>
                <a:gd name="connsiteX0" fmla="*/ 0 w 352425"/>
                <a:gd name="connsiteY0" fmla="*/ 0 h 9525"/>
                <a:gd name="connsiteX1" fmla="*/ 352425 w 352425"/>
                <a:gd name="connsiteY1" fmla="*/ 0 h 9525"/>
              </a:gdLst>
              <a:ahLst/>
              <a:cxnLst>
                <a:cxn ang="0">
                  <a:pos x="connsiteX0" y="connsiteY0"/>
                </a:cxn>
                <a:cxn ang="0">
                  <a:pos x="connsiteX1" y="connsiteY1"/>
                </a:cxn>
              </a:cxnLst>
              <a:rect l="l" t="t" r="r" b="b"/>
              <a:pathLst>
                <a:path w="352425" h="9525">
                  <a:moveTo>
                    <a:pt x="0" y="0"/>
                  </a:moveTo>
                  <a:lnTo>
                    <a:pt x="35242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54" name="Freihandform: Form 378">
              <a:extLst>
                <a:ext uri="{FF2B5EF4-FFF2-40B4-BE49-F238E27FC236}">
                  <a16:creationId xmlns:a16="http://schemas.microsoft.com/office/drawing/2014/main" id="{46E7DDB8-516C-4557-8CDA-494524D5C481}"/>
                </a:ext>
              </a:extLst>
            </p:cNvPr>
            <p:cNvSpPr/>
            <p:nvPr/>
          </p:nvSpPr>
          <p:spPr>
            <a:xfrm>
              <a:off x="6669305" y="602180"/>
              <a:ext cx="209550" cy="9525"/>
            </a:xfrm>
            <a:custGeom>
              <a:avLst/>
              <a:gdLst>
                <a:gd name="connsiteX0" fmla="*/ 0 w 209550"/>
                <a:gd name="connsiteY0" fmla="*/ 0 h 9525"/>
                <a:gd name="connsiteX1" fmla="*/ 209550 w 209550"/>
                <a:gd name="connsiteY1" fmla="*/ 0 h 9525"/>
              </a:gdLst>
              <a:ahLst/>
              <a:cxnLst>
                <a:cxn ang="0">
                  <a:pos x="connsiteX0" y="connsiteY0"/>
                </a:cxn>
                <a:cxn ang="0">
                  <a:pos x="connsiteX1" y="connsiteY1"/>
                </a:cxn>
              </a:cxnLst>
              <a:rect l="l" t="t" r="r" b="b"/>
              <a:pathLst>
                <a:path w="209550" h="9525">
                  <a:moveTo>
                    <a:pt x="0" y="0"/>
                  </a:moveTo>
                  <a:lnTo>
                    <a:pt x="20955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55" name="Freihandform: Form 379">
              <a:extLst>
                <a:ext uri="{FF2B5EF4-FFF2-40B4-BE49-F238E27FC236}">
                  <a16:creationId xmlns:a16="http://schemas.microsoft.com/office/drawing/2014/main" id="{2AD6AC5D-9E3F-4AC9-B6F8-CB6C2586C1BC}"/>
                </a:ext>
              </a:extLst>
            </p:cNvPr>
            <p:cNvSpPr/>
            <p:nvPr/>
          </p:nvSpPr>
          <p:spPr>
            <a:xfrm>
              <a:off x="6669305" y="506930"/>
              <a:ext cx="352425" cy="533400"/>
            </a:xfrm>
            <a:custGeom>
              <a:avLst/>
              <a:gdLst>
                <a:gd name="connsiteX0" fmla="*/ 352425 w 352425"/>
                <a:gd name="connsiteY0" fmla="*/ 266700 h 533400"/>
                <a:gd name="connsiteX1" fmla="*/ 352425 w 352425"/>
                <a:gd name="connsiteY1" fmla="*/ 495300 h 533400"/>
                <a:gd name="connsiteX2" fmla="*/ 314325 w 352425"/>
                <a:gd name="connsiteY2" fmla="*/ 533400 h 533400"/>
                <a:gd name="connsiteX3" fmla="*/ 38100 w 352425"/>
                <a:gd name="connsiteY3" fmla="*/ 533400 h 533400"/>
                <a:gd name="connsiteX4" fmla="*/ 0 w 352425"/>
                <a:gd name="connsiteY4" fmla="*/ 495300 h 533400"/>
                <a:gd name="connsiteX5" fmla="*/ 0 w 352425"/>
                <a:gd name="connsiteY5" fmla="*/ 38100 h 533400"/>
                <a:gd name="connsiteX6" fmla="*/ 38100 w 352425"/>
                <a:gd name="connsiteY6" fmla="*/ 0 h 533400"/>
                <a:gd name="connsiteX7" fmla="*/ 209550 w 352425"/>
                <a:gd name="connsiteY7"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533400">
                  <a:moveTo>
                    <a:pt x="352425" y="266700"/>
                  </a:moveTo>
                  <a:lnTo>
                    <a:pt x="352425" y="495300"/>
                  </a:lnTo>
                  <a:cubicBezTo>
                    <a:pt x="352425" y="516255"/>
                    <a:pt x="335280" y="533400"/>
                    <a:pt x="314325" y="533400"/>
                  </a:cubicBezTo>
                  <a:lnTo>
                    <a:pt x="38100" y="533400"/>
                  </a:lnTo>
                  <a:cubicBezTo>
                    <a:pt x="17145" y="533400"/>
                    <a:pt x="0" y="516255"/>
                    <a:pt x="0" y="495300"/>
                  </a:cubicBezTo>
                  <a:lnTo>
                    <a:pt x="0" y="38100"/>
                  </a:lnTo>
                  <a:cubicBezTo>
                    <a:pt x="0" y="17145"/>
                    <a:pt x="17145" y="0"/>
                    <a:pt x="38100" y="0"/>
                  </a:cubicBezTo>
                  <a:lnTo>
                    <a:pt x="209550" y="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56" name="Freihandform: Form 380">
              <a:extLst>
                <a:ext uri="{FF2B5EF4-FFF2-40B4-BE49-F238E27FC236}">
                  <a16:creationId xmlns:a16="http://schemas.microsoft.com/office/drawing/2014/main" id="{4EDDA181-6216-4843-8CEE-F867C5DBE94C}"/>
                </a:ext>
              </a:extLst>
            </p:cNvPr>
            <p:cNvSpPr/>
            <p:nvPr/>
          </p:nvSpPr>
          <p:spPr>
            <a:xfrm>
              <a:off x="6878855" y="468830"/>
              <a:ext cx="342900" cy="238125"/>
            </a:xfrm>
            <a:custGeom>
              <a:avLst/>
              <a:gdLst>
                <a:gd name="connsiteX0" fmla="*/ 0 w 342900"/>
                <a:gd name="connsiteY0" fmla="*/ 0 h 238125"/>
                <a:gd name="connsiteX1" fmla="*/ 342900 w 342900"/>
                <a:gd name="connsiteY1" fmla="*/ 0 h 238125"/>
                <a:gd name="connsiteX2" fmla="*/ 342900 w 342900"/>
                <a:gd name="connsiteY2" fmla="*/ 238125 h 238125"/>
                <a:gd name="connsiteX3" fmla="*/ 0 w 342900"/>
                <a:gd name="connsiteY3" fmla="*/ 238125 h 238125"/>
              </a:gdLst>
              <a:ahLst/>
              <a:cxnLst>
                <a:cxn ang="0">
                  <a:pos x="connsiteX0" y="connsiteY0"/>
                </a:cxn>
                <a:cxn ang="0">
                  <a:pos x="connsiteX1" y="connsiteY1"/>
                </a:cxn>
                <a:cxn ang="0">
                  <a:pos x="connsiteX2" y="connsiteY2"/>
                </a:cxn>
                <a:cxn ang="0">
                  <a:pos x="connsiteX3" y="connsiteY3"/>
                </a:cxn>
              </a:cxnLst>
              <a:rect l="l" t="t" r="r" b="b"/>
              <a:pathLst>
                <a:path w="342900" h="238125">
                  <a:moveTo>
                    <a:pt x="0" y="0"/>
                  </a:moveTo>
                  <a:lnTo>
                    <a:pt x="342900" y="0"/>
                  </a:lnTo>
                  <a:lnTo>
                    <a:pt x="342900" y="238125"/>
                  </a:lnTo>
                  <a:lnTo>
                    <a:pt x="0" y="238125"/>
                  </a:ln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57" name="Freihandform: Form 381">
              <a:extLst>
                <a:ext uri="{FF2B5EF4-FFF2-40B4-BE49-F238E27FC236}">
                  <a16:creationId xmlns:a16="http://schemas.microsoft.com/office/drawing/2014/main" id="{53783627-31D5-46FE-86C2-E33734D63945}"/>
                </a:ext>
              </a:extLst>
            </p:cNvPr>
            <p:cNvSpPr/>
            <p:nvPr/>
          </p:nvSpPr>
          <p:spPr>
            <a:xfrm>
              <a:off x="6878855" y="545030"/>
              <a:ext cx="342900" cy="9525"/>
            </a:xfrm>
            <a:custGeom>
              <a:avLst/>
              <a:gdLst>
                <a:gd name="connsiteX0" fmla="*/ 0 w 342900"/>
                <a:gd name="connsiteY0" fmla="*/ 0 h 9525"/>
                <a:gd name="connsiteX1" fmla="*/ 342900 w 342900"/>
                <a:gd name="connsiteY1" fmla="*/ 0 h 9525"/>
              </a:gdLst>
              <a:ahLst/>
              <a:cxnLst>
                <a:cxn ang="0">
                  <a:pos x="connsiteX0" y="connsiteY0"/>
                </a:cxn>
                <a:cxn ang="0">
                  <a:pos x="connsiteX1" y="connsiteY1"/>
                </a:cxn>
              </a:cxnLst>
              <a:rect l="l" t="t" r="r" b="b"/>
              <a:pathLst>
                <a:path w="342900" h="9525">
                  <a:moveTo>
                    <a:pt x="0" y="0"/>
                  </a:moveTo>
                  <a:lnTo>
                    <a:pt x="3429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58" name="Freihandform: Form 382">
              <a:extLst>
                <a:ext uri="{FF2B5EF4-FFF2-40B4-BE49-F238E27FC236}">
                  <a16:creationId xmlns:a16="http://schemas.microsoft.com/office/drawing/2014/main" id="{7EA48659-163E-4947-A0C1-9EA61983A901}"/>
                </a:ext>
              </a:extLst>
            </p:cNvPr>
            <p:cNvSpPr/>
            <p:nvPr/>
          </p:nvSpPr>
          <p:spPr>
            <a:xfrm>
              <a:off x="6936005" y="630755"/>
              <a:ext cx="66675" cy="9525"/>
            </a:xfrm>
            <a:custGeom>
              <a:avLst/>
              <a:gdLst>
                <a:gd name="connsiteX0" fmla="*/ 66675 w 66675"/>
                <a:gd name="connsiteY0" fmla="*/ 0 h 9525"/>
                <a:gd name="connsiteX1" fmla="*/ 0 w 66675"/>
                <a:gd name="connsiteY1" fmla="*/ 0 h 9525"/>
              </a:gdLst>
              <a:ahLst/>
              <a:cxnLst>
                <a:cxn ang="0">
                  <a:pos x="connsiteX0" y="connsiteY0"/>
                </a:cxn>
                <a:cxn ang="0">
                  <a:pos x="connsiteX1" y="connsiteY1"/>
                </a:cxn>
              </a:cxnLst>
              <a:rect l="l" t="t" r="r" b="b"/>
              <a:pathLst>
                <a:path w="66675" h="9525">
                  <a:moveTo>
                    <a:pt x="66675" y="0"/>
                  </a:moveTo>
                  <a:lnTo>
                    <a:pt x="0" y="0"/>
                  </a:lnTo>
                </a:path>
              </a:pathLst>
            </a:custGeom>
            <a:ln w="19050" cap="sq">
              <a:solidFill>
                <a:schemeClr val="accent5"/>
              </a:solidFill>
              <a:prstDash val="solid"/>
              <a:miter/>
            </a:ln>
          </p:spPr>
          <p:txBody>
            <a:bodyPr lIns="36000" tIns="36000" rIns="36000" bIns="36000" rtlCol="0" anchor="ctr"/>
            <a:lstStyle/>
            <a:p>
              <a:endParaRPr lang="de-DE" sz="800" dirty="0"/>
            </a:p>
          </p:txBody>
        </p:sp>
      </p:grpSp>
      <p:cxnSp>
        <p:nvCxnSpPr>
          <p:cNvPr id="1059" name="Gerade Verbindung mit Pfeil 1058">
            <a:extLst>
              <a:ext uri="{FF2B5EF4-FFF2-40B4-BE49-F238E27FC236}">
                <a16:creationId xmlns:a16="http://schemas.microsoft.com/office/drawing/2014/main" id="{47B174BC-7BE6-415A-BAAB-629B2F3CE842}"/>
              </a:ext>
            </a:extLst>
          </p:cNvPr>
          <p:cNvCxnSpPr>
            <a:cxnSpLocks/>
          </p:cNvCxnSpPr>
          <p:nvPr/>
        </p:nvCxnSpPr>
        <p:spPr>
          <a:xfrm>
            <a:off x="7295497" y="5119198"/>
            <a:ext cx="1117273"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060" name="Gruppieren 1059">
            <a:extLst>
              <a:ext uri="{FF2B5EF4-FFF2-40B4-BE49-F238E27FC236}">
                <a16:creationId xmlns:a16="http://schemas.microsoft.com/office/drawing/2014/main" id="{2E12F230-A2F4-45A5-8C2A-19B8E04748C9}"/>
              </a:ext>
            </a:extLst>
          </p:cNvPr>
          <p:cNvGrpSpPr>
            <a:grpSpLocks noChangeAspect="1"/>
          </p:cNvGrpSpPr>
          <p:nvPr/>
        </p:nvGrpSpPr>
        <p:grpSpPr>
          <a:xfrm>
            <a:off x="7936907" y="5631034"/>
            <a:ext cx="413101" cy="333503"/>
            <a:chOff x="5554840" y="4629504"/>
            <a:chExt cx="571500" cy="571500"/>
          </a:xfrm>
        </p:grpSpPr>
        <p:sp>
          <p:nvSpPr>
            <p:cNvPr id="1061" name="Freihandform: Form 353">
              <a:extLst>
                <a:ext uri="{FF2B5EF4-FFF2-40B4-BE49-F238E27FC236}">
                  <a16:creationId xmlns:a16="http://schemas.microsoft.com/office/drawing/2014/main" id="{9D12CC40-2ACE-4A51-972B-EFA91B18F692}"/>
                </a:ext>
              </a:extLst>
            </p:cNvPr>
            <p:cNvSpPr/>
            <p:nvPr/>
          </p:nvSpPr>
          <p:spPr>
            <a:xfrm>
              <a:off x="5554840" y="4629504"/>
              <a:ext cx="571500" cy="419100"/>
            </a:xfrm>
            <a:custGeom>
              <a:avLst/>
              <a:gdLst>
                <a:gd name="connsiteX0" fmla="*/ 285750 w 571500"/>
                <a:gd name="connsiteY0" fmla="*/ 419100 h 419100"/>
                <a:gd name="connsiteX1" fmla="*/ 0 w 571500"/>
                <a:gd name="connsiteY1" fmla="*/ 419100 h 419100"/>
                <a:gd name="connsiteX2" fmla="*/ 0 w 571500"/>
                <a:gd name="connsiteY2" fmla="*/ 0 h 419100"/>
                <a:gd name="connsiteX3" fmla="*/ 571500 w 571500"/>
                <a:gd name="connsiteY3" fmla="*/ 0 h 419100"/>
                <a:gd name="connsiteX4" fmla="*/ 571500 w 571500"/>
                <a:gd name="connsiteY4" fmla="*/ 266700 h 419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0" h="419100">
                  <a:moveTo>
                    <a:pt x="285750" y="419100"/>
                  </a:moveTo>
                  <a:lnTo>
                    <a:pt x="0" y="419100"/>
                  </a:lnTo>
                  <a:lnTo>
                    <a:pt x="0" y="0"/>
                  </a:lnTo>
                  <a:lnTo>
                    <a:pt x="571500" y="0"/>
                  </a:lnTo>
                  <a:lnTo>
                    <a:pt x="571500" y="26670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62" name="Freihandform: Form 354">
              <a:extLst>
                <a:ext uri="{FF2B5EF4-FFF2-40B4-BE49-F238E27FC236}">
                  <a16:creationId xmlns:a16="http://schemas.microsoft.com/office/drawing/2014/main" id="{731C1982-A1C7-4B50-A2D6-41E73F1874B4}"/>
                </a:ext>
              </a:extLst>
            </p:cNvPr>
            <p:cNvSpPr/>
            <p:nvPr/>
          </p:nvSpPr>
          <p:spPr>
            <a:xfrm>
              <a:off x="5783440" y="4781904"/>
              <a:ext cx="114300" cy="114300"/>
            </a:xfrm>
            <a:custGeom>
              <a:avLst/>
              <a:gdLst>
                <a:gd name="connsiteX0" fmla="*/ 114300 w 114300"/>
                <a:gd name="connsiteY0" fmla="*/ 57150 h 114300"/>
                <a:gd name="connsiteX1" fmla="*/ 57150 w 114300"/>
                <a:gd name="connsiteY1" fmla="*/ 114300 h 114300"/>
                <a:gd name="connsiteX2" fmla="*/ 0 w 114300"/>
                <a:gd name="connsiteY2" fmla="*/ 57150 h 114300"/>
                <a:gd name="connsiteX3" fmla="*/ 57150 w 114300"/>
                <a:gd name="connsiteY3" fmla="*/ 0 h 114300"/>
                <a:gd name="connsiteX4" fmla="*/ 114300 w 1143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114300">
                  <a:moveTo>
                    <a:pt x="114300" y="57150"/>
                  </a:moveTo>
                  <a:cubicBezTo>
                    <a:pt x="114300" y="88713"/>
                    <a:pt x="88713" y="114300"/>
                    <a:pt x="57150" y="114300"/>
                  </a:cubicBezTo>
                  <a:cubicBezTo>
                    <a:pt x="25587" y="114300"/>
                    <a:pt x="0" y="88713"/>
                    <a:pt x="0" y="57150"/>
                  </a:cubicBezTo>
                  <a:cubicBezTo>
                    <a:pt x="0" y="25587"/>
                    <a:pt x="25587" y="0"/>
                    <a:pt x="57150" y="0"/>
                  </a:cubicBezTo>
                  <a:cubicBezTo>
                    <a:pt x="88713" y="0"/>
                    <a:pt x="114300" y="25587"/>
                    <a:pt x="114300" y="57150"/>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63" name="Freihandform: Form 355">
              <a:extLst>
                <a:ext uri="{FF2B5EF4-FFF2-40B4-BE49-F238E27FC236}">
                  <a16:creationId xmlns:a16="http://schemas.microsoft.com/office/drawing/2014/main" id="{E45F5302-02EF-413D-B0A6-67D1C2B80F36}"/>
                </a:ext>
              </a:extLst>
            </p:cNvPr>
            <p:cNvSpPr/>
            <p:nvPr/>
          </p:nvSpPr>
          <p:spPr>
            <a:xfrm>
              <a:off x="5631040" y="4705704"/>
              <a:ext cx="419100" cy="266700"/>
            </a:xfrm>
            <a:custGeom>
              <a:avLst/>
              <a:gdLst>
                <a:gd name="connsiteX0" fmla="*/ 419100 w 419100"/>
                <a:gd name="connsiteY0" fmla="*/ 171450 h 266700"/>
                <a:gd name="connsiteX1" fmla="*/ 419100 w 419100"/>
                <a:gd name="connsiteY1" fmla="*/ 76200 h 266700"/>
                <a:gd name="connsiteX2" fmla="*/ 342900 w 419100"/>
                <a:gd name="connsiteY2" fmla="*/ 0 h 266700"/>
                <a:gd name="connsiteX3" fmla="*/ 76200 w 419100"/>
                <a:gd name="connsiteY3" fmla="*/ 0 h 266700"/>
                <a:gd name="connsiteX4" fmla="*/ 0 w 419100"/>
                <a:gd name="connsiteY4" fmla="*/ 76200 h 266700"/>
                <a:gd name="connsiteX5" fmla="*/ 0 w 419100"/>
                <a:gd name="connsiteY5" fmla="*/ 190500 h 266700"/>
                <a:gd name="connsiteX6" fmla="*/ 76200 w 419100"/>
                <a:gd name="connsiteY6" fmla="*/ 266700 h 266700"/>
                <a:gd name="connsiteX7" fmla="*/ 209550 w 419100"/>
                <a:gd name="connsiteY7"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100" h="266700">
                  <a:moveTo>
                    <a:pt x="419100" y="171450"/>
                  </a:moveTo>
                  <a:lnTo>
                    <a:pt x="419100" y="76200"/>
                  </a:lnTo>
                  <a:cubicBezTo>
                    <a:pt x="376238" y="76200"/>
                    <a:pt x="342900" y="42863"/>
                    <a:pt x="342900" y="0"/>
                  </a:cubicBezTo>
                  <a:lnTo>
                    <a:pt x="76200" y="0"/>
                  </a:lnTo>
                  <a:cubicBezTo>
                    <a:pt x="76200" y="42863"/>
                    <a:pt x="42863" y="76200"/>
                    <a:pt x="0" y="76200"/>
                  </a:cubicBezTo>
                  <a:lnTo>
                    <a:pt x="0" y="190500"/>
                  </a:lnTo>
                  <a:cubicBezTo>
                    <a:pt x="42863" y="190500"/>
                    <a:pt x="76200" y="223838"/>
                    <a:pt x="76200" y="266700"/>
                  </a:cubicBezTo>
                  <a:lnTo>
                    <a:pt x="209550" y="26670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64" name="Freihandform: Form 356">
              <a:extLst>
                <a:ext uri="{FF2B5EF4-FFF2-40B4-BE49-F238E27FC236}">
                  <a16:creationId xmlns:a16="http://schemas.microsoft.com/office/drawing/2014/main" id="{DDB3BA05-1518-4728-8514-6695857DF505}"/>
                </a:ext>
              </a:extLst>
            </p:cNvPr>
            <p:cNvSpPr/>
            <p:nvPr/>
          </p:nvSpPr>
          <p:spPr>
            <a:xfrm>
              <a:off x="5897740" y="4991454"/>
              <a:ext cx="228600" cy="133350"/>
            </a:xfrm>
            <a:custGeom>
              <a:avLst/>
              <a:gdLst>
                <a:gd name="connsiteX0" fmla="*/ 0 w 228600"/>
                <a:gd name="connsiteY0" fmla="*/ 0 h 133350"/>
                <a:gd name="connsiteX1" fmla="*/ 0 w 228600"/>
                <a:gd name="connsiteY1" fmla="*/ 76200 h 133350"/>
                <a:gd name="connsiteX2" fmla="*/ 114300 w 228600"/>
                <a:gd name="connsiteY2" fmla="*/ 133350 h 133350"/>
                <a:gd name="connsiteX3" fmla="*/ 228600 w 228600"/>
                <a:gd name="connsiteY3" fmla="*/ 76200 h 133350"/>
                <a:gd name="connsiteX4" fmla="*/ 228600 w 228600"/>
                <a:gd name="connsiteY4" fmla="*/ 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0" y="0"/>
                  </a:moveTo>
                  <a:lnTo>
                    <a:pt x="0" y="76200"/>
                  </a:lnTo>
                  <a:cubicBezTo>
                    <a:pt x="0" y="107632"/>
                    <a:pt x="51435" y="133350"/>
                    <a:pt x="114300" y="133350"/>
                  </a:cubicBezTo>
                  <a:cubicBezTo>
                    <a:pt x="177165" y="133350"/>
                    <a:pt x="228600" y="107632"/>
                    <a:pt x="228600" y="76200"/>
                  </a:cubicBezTo>
                  <a:lnTo>
                    <a:pt x="228600" y="0"/>
                  </a:ln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65" name="Freihandform: Form 357">
              <a:extLst>
                <a:ext uri="{FF2B5EF4-FFF2-40B4-BE49-F238E27FC236}">
                  <a16:creationId xmlns:a16="http://schemas.microsoft.com/office/drawing/2014/main" id="{12FD9C29-1FBC-4E45-A7E3-4A9B8AB12814}"/>
                </a:ext>
              </a:extLst>
            </p:cNvPr>
            <p:cNvSpPr/>
            <p:nvPr/>
          </p:nvSpPr>
          <p:spPr>
            <a:xfrm>
              <a:off x="5897740" y="5067654"/>
              <a:ext cx="228600" cy="133350"/>
            </a:xfrm>
            <a:custGeom>
              <a:avLst/>
              <a:gdLst>
                <a:gd name="connsiteX0" fmla="*/ 0 w 228600"/>
                <a:gd name="connsiteY0" fmla="*/ 0 h 133350"/>
                <a:gd name="connsiteX1" fmla="*/ 0 w 228600"/>
                <a:gd name="connsiteY1" fmla="*/ 76200 h 133350"/>
                <a:gd name="connsiteX2" fmla="*/ 114300 w 228600"/>
                <a:gd name="connsiteY2" fmla="*/ 133350 h 133350"/>
                <a:gd name="connsiteX3" fmla="*/ 228600 w 228600"/>
                <a:gd name="connsiteY3" fmla="*/ 76200 h 133350"/>
                <a:gd name="connsiteX4" fmla="*/ 228600 w 228600"/>
                <a:gd name="connsiteY4" fmla="*/ 0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33350">
                  <a:moveTo>
                    <a:pt x="0" y="0"/>
                  </a:moveTo>
                  <a:lnTo>
                    <a:pt x="0" y="76200"/>
                  </a:lnTo>
                  <a:cubicBezTo>
                    <a:pt x="0" y="107632"/>
                    <a:pt x="51435" y="133350"/>
                    <a:pt x="114300" y="133350"/>
                  </a:cubicBezTo>
                  <a:cubicBezTo>
                    <a:pt x="177165" y="133350"/>
                    <a:pt x="228600" y="107632"/>
                    <a:pt x="228600" y="76200"/>
                  </a:cubicBezTo>
                  <a:lnTo>
                    <a:pt x="228600" y="0"/>
                  </a:ln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066" name="Freihandform: Form 358">
              <a:extLst>
                <a:ext uri="{FF2B5EF4-FFF2-40B4-BE49-F238E27FC236}">
                  <a16:creationId xmlns:a16="http://schemas.microsoft.com/office/drawing/2014/main" id="{1464398E-EB1C-4BA7-895F-FE89C949D0D5}"/>
                </a:ext>
              </a:extLst>
            </p:cNvPr>
            <p:cNvSpPr/>
            <p:nvPr/>
          </p:nvSpPr>
          <p:spPr>
            <a:xfrm>
              <a:off x="5897740" y="4934304"/>
              <a:ext cx="228600" cy="114300"/>
            </a:xfrm>
            <a:custGeom>
              <a:avLst/>
              <a:gdLst>
                <a:gd name="connsiteX0" fmla="*/ 228600 w 228600"/>
                <a:gd name="connsiteY0" fmla="*/ 57150 h 114300"/>
                <a:gd name="connsiteX1" fmla="*/ 114300 w 228600"/>
                <a:gd name="connsiteY1" fmla="*/ 114300 h 114300"/>
                <a:gd name="connsiteX2" fmla="*/ 0 w 228600"/>
                <a:gd name="connsiteY2" fmla="*/ 57150 h 114300"/>
                <a:gd name="connsiteX3" fmla="*/ 114300 w 228600"/>
                <a:gd name="connsiteY3" fmla="*/ 0 h 114300"/>
                <a:gd name="connsiteX4" fmla="*/ 228600 w 228600"/>
                <a:gd name="connsiteY4" fmla="*/ 57150 h 114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14300">
                  <a:moveTo>
                    <a:pt x="228600" y="57150"/>
                  </a:moveTo>
                  <a:cubicBezTo>
                    <a:pt x="228600" y="88713"/>
                    <a:pt x="177426" y="114300"/>
                    <a:pt x="114300" y="114300"/>
                  </a:cubicBezTo>
                  <a:cubicBezTo>
                    <a:pt x="51174" y="114300"/>
                    <a:pt x="0" y="88713"/>
                    <a:pt x="0" y="57150"/>
                  </a:cubicBezTo>
                  <a:cubicBezTo>
                    <a:pt x="0" y="25587"/>
                    <a:pt x="51174" y="0"/>
                    <a:pt x="114300" y="0"/>
                  </a:cubicBezTo>
                  <a:cubicBezTo>
                    <a:pt x="177426" y="0"/>
                    <a:pt x="228600" y="25587"/>
                    <a:pt x="228600" y="57150"/>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grpSp>
      <p:sp>
        <p:nvSpPr>
          <p:cNvPr id="1067" name="Textfeld 1066">
            <a:extLst>
              <a:ext uri="{FF2B5EF4-FFF2-40B4-BE49-F238E27FC236}">
                <a16:creationId xmlns:a16="http://schemas.microsoft.com/office/drawing/2014/main" id="{EDD5B42F-C415-4EED-9E1A-51D793E84FCE}"/>
              </a:ext>
            </a:extLst>
          </p:cNvPr>
          <p:cNvSpPr txBox="1">
            <a:spLocks/>
          </p:cNvSpPr>
          <p:nvPr/>
        </p:nvSpPr>
        <p:spPr>
          <a:xfrm>
            <a:off x="7712093" y="5969956"/>
            <a:ext cx="864000" cy="180000"/>
          </a:xfrm>
          <a:prstGeom prst="rect">
            <a:avLst/>
          </a:prstGeom>
          <a:noFill/>
        </p:spPr>
        <p:txBody>
          <a:bodyPr wrap="square" lIns="0" tIns="0" rIns="0" bIns="0" rtlCol="0">
            <a:noAutofit/>
          </a:bodyPr>
          <a:lstStyle/>
          <a:p>
            <a:pPr algn="ctr" fontAlgn="base">
              <a:spcBef>
                <a:spcPct val="0"/>
              </a:spcBef>
              <a:spcAft>
                <a:spcPct val="0"/>
              </a:spcAft>
            </a:pPr>
            <a:r>
              <a:rPr lang="de-DE" sz="800" dirty="0"/>
              <a:t>Rechnungswesen</a:t>
            </a:r>
          </a:p>
        </p:txBody>
      </p:sp>
      <p:cxnSp>
        <p:nvCxnSpPr>
          <p:cNvPr id="1068" name="Gerade Verbindung mit Pfeil 96">
            <a:extLst>
              <a:ext uri="{FF2B5EF4-FFF2-40B4-BE49-F238E27FC236}">
                <a16:creationId xmlns:a16="http://schemas.microsoft.com/office/drawing/2014/main" id="{504A81C5-49CE-43F0-9329-C9714AFE0C5E}"/>
              </a:ext>
            </a:extLst>
          </p:cNvPr>
          <p:cNvCxnSpPr/>
          <p:nvPr/>
        </p:nvCxnSpPr>
        <p:spPr>
          <a:xfrm>
            <a:off x="6665715" y="5594216"/>
            <a:ext cx="1154520" cy="199654"/>
          </a:xfrm>
          <a:prstGeom prst="bentConnector3">
            <a:avLst>
              <a:gd name="adj1" fmla="val 1081"/>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69" name="Grafik 73">
            <a:extLst>
              <a:ext uri="{FF2B5EF4-FFF2-40B4-BE49-F238E27FC236}">
                <a16:creationId xmlns:a16="http://schemas.microsoft.com/office/drawing/2014/main" id="{EAF85E08-86DD-4318-AC02-C45CC072410D}"/>
              </a:ext>
            </a:extLst>
          </p:cNvPr>
          <p:cNvSpPr>
            <a:spLocks noChangeAspect="1"/>
          </p:cNvSpPr>
          <p:nvPr/>
        </p:nvSpPr>
        <p:spPr>
          <a:xfrm>
            <a:off x="678600" y="1633826"/>
            <a:ext cx="1236829" cy="1069657"/>
          </a:xfrm>
          <a:custGeom>
            <a:avLst/>
            <a:gdLst>
              <a:gd name="connsiteX0" fmla="*/ 478155 w 533400"/>
              <a:gd name="connsiteY0" fmla="*/ 431390 h 571407"/>
              <a:gd name="connsiteX1" fmla="*/ 358140 w 533400"/>
              <a:gd name="connsiteY1" fmla="*/ 397100 h 571407"/>
              <a:gd name="connsiteX2" fmla="*/ 333375 w 533400"/>
              <a:gd name="connsiteY2" fmla="*/ 363762 h 571407"/>
              <a:gd name="connsiteX3" fmla="*/ 358140 w 533400"/>
              <a:gd name="connsiteY3" fmla="*/ 345665 h 571407"/>
              <a:gd name="connsiteX4" fmla="*/ 428625 w 533400"/>
              <a:gd name="connsiteY4" fmla="*/ 351380 h 571407"/>
              <a:gd name="connsiteX5" fmla="*/ 427673 w 533400"/>
              <a:gd name="connsiteY5" fmla="*/ 181835 h 571407"/>
              <a:gd name="connsiteX6" fmla="*/ 322898 w 533400"/>
              <a:gd name="connsiteY6" fmla="*/ 24672 h 571407"/>
              <a:gd name="connsiteX7" fmla="*/ 161925 w 533400"/>
              <a:gd name="connsiteY7" fmla="*/ 36102 h 571407"/>
              <a:gd name="connsiteX8" fmla="*/ 107633 w 533400"/>
              <a:gd name="connsiteY8" fmla="*/ 189455 h 571407"/>
              <a:gd name="connsiteX9" fmla="*/ 85725 w 533400"/>
              <a:gd name="connsiteY9" fmla="*/ 332330 h 571407"/>
              <a:gd name="connsiteX10" fmla="*/ 175260 w 533400"/>
              <a:gd name="connsiteY10" fmla="*/ 344712 h 571407"/>
              <a:gd name="connsiteX11" fmla="*/ 200025 w 533400"/>
              <a:gd name="connsiteY11" fmla="*/ 362810 h 571407"/>
              <a:gd name="connsiteX12" fmla="*/ 175260 w 533400"/>
              <a:gd name="connsiteY12" fmla="*/ 396147 h 571407"/>
              <a:gd name="connsiteX13" fmla="*/ 55245 w 533400"/>
              <a:gd name="connsiteY13" fmla="*/ 431390 h 571407"/>
              <a:gd name="connsiteX14" fmla="*/ 0 w 533400"/>
              <a:gd name="connsiteY14" fmla="*/ 504732 h 571407"/>
              <a:gd name="connsiteX15" fmla="*/ 0 w 533400"/>
              <a:gd name="connsiteY15" fmla="*/ 571407 h 571407"/>
              <a:gd name="connsiteX16" fmla="*/ 533400 w 533400"/>
              <a:gd name="connsiteY16" fmla="*/ 571407 h 571407"/>
              <a:gd name="connsiteX17" fmla="*/ 533400 w 533400"/>
              <a:gd name="connsiteY17" fmla="*/ 504732 h 571407"/>
              <a:gd name="connsiteX18" fmla="*/ 478155 w 533400"/>
              <a:gd name="connsiteY18" fmla="*/ 431390 h 571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3400" h="571407">
                <a:moveTo>
                  <a:pt x="478155" y="431390"/>
                </a:moveTo>
                <a:lnTo>
                  <a:pt x="358140" y="397100"/>
                </a:lnTo>
                <a:cubicBezTo>
                  <a:pt x="342900" y="393290"/>
                  <a:pt x="333375" y="379002"/>
                  <a:pt x="333375" y="363762"/>
                </a:cubicBezTo>
                <a:cubicBezTo>
                  <a:pt x="333375" y="351380"/>
                  <a:pt x="345758" y="341855"/>
                  <a:pt x="358140" y="345665"/>
                </a:cubicBezTo>
                <a:cubicBezTo>
                  <a:pt x="375285" y="351380"/>
                  <a:pt x="398145" y="353285"/>
                  <a:pt x="428625" y="351380"/>
                </a:cubicBezTo>
                <a:cubicBezTo>
                  <a:pt x="388620" y="300897"/>
                  <a:pt x="423863" y="263750"/>
                  <a:pt x="427673" y="181835"/>
                </a:cubicBezTo>
                <a:cubicBezTo>
                  <a:pt x="430530" y="98967"/>
                  <a:pt x="401003" y="13242"/>
                  <a:pt x="322898" y="24672"/>
                </a:cubicBezTo>
                <a:cubicBezTo>
                  <a:pt x="295275" y="-1998"/>
                  <a:pt x="219075" y="-18190"/>
                  <a:pt x="161925" y="36102"/>
                </a:cubicBezTo>
                <a:cubicBezTo>
                  <a:pt x="127635" y="68487"/>
                  <a:pt x="103823" y="124685"/>
                  <a:pt x="107633" y="189455"/>
                </a:cubicBezTo>
                <a:cubicBezTo>
                  <a:pt x="109538" y="231365"/>
                  <a:pt x="120015" y="268512"/>
                  <a:pt x="85725" y="332330"/>
                </a:cubicBezTo>
                <a:cubicBezTo>
                  <a:pt x="113348" y="349475"/>
                  <a:pt x="144780" y="355190"/>
                  <a:pt x="175260" y="344712"/>
                </a:cubicBezTo>
                <a:cubicBezTo>
                  <a:pt x="186690" y="340902"/>
                  <a:pt x="200025" y="348522"/>
                  <a:pt x="200025" y="362810"/>
                </a:cubicBezTo>
                <a:cubicBezTo>
                  <a:pt x="200025" y="378050"/>
                  <a:pt x="189548" y="391385"/>
                  <a:pt x="175260" y="396147"/>
                </a:cubicBezTo>
                <a:lnTo>
                  <a:pt x="55245" y="431390"/>
                </a:lnTo>
                <a:cubicBezTo>
                  <a:pt x="22860" y="440915"/>
                  <a:pt x="0" y="470442"/>
                  <a:pt x="0" y="504732"/>
                </a:cubicBezTo>
                <a:lnTo>
                  <a:pt x="0" y="571407"/>
                </a:lnTo>
                <a:lnTo>
                  <a:pt x="533400" y="571407"/>
                </a:lnTo>
                <a:lnTo>
                  <a:pt x="533400" y="504732"/>
                </a:lnTo>
                <a:cubicBezTo>
                  <a:pt x="533400" y="470442"/>
                  <a:pt x="510540" y="440915"/>
                  <a:pt x="478155" y="431390"/>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70" name="Textfeld 1069">
            <a:extLst>
              <a:ext uri="{FF2B5EF4-FFF2-40B4-BE49-F238E27FC236}">
                <a16:creationId xmlns:a16="http://schemas.microsoft.com/office/drawing/2014/main" id="{75D8C930-7CDE-485E-BD9B-E204507CA509}"/>
              </a:ext>
            </a:extLst>
          </p:cNvPr>
          <p:cNvSpPr txBox="1">
            <a:spLocks noChangeAspect="1"/>
          </p:cNvSpPr>
          <p:nvPr/>
        </p:nvSpPr>
        <p:spPr>
          <a:xfrm>
            <a:off x="3546399" y="3854452"/>
            <a:ext cx="1429081" cy="195814"/>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t>Authentifizierung</a:t>
            </a:r>
          </a:p>
        </p:txBody>
      </p:sp>
      <p:cxnSp>
        <p:nvCxnSpPr>
          <p:cNvPr id="1071" name="Gerade Verbindung mit Pfeil 1070">
            <a:extLst>
              <a:ext uri="{FF2B5EF4-FFF2-40B4-BE49-F238E27FC236}">
                <a16:creationId xmlns:a16="http://schemas.microsoft.com/office/drawing/2014/main" id="{710EB45E-75ED-40E9-8A0F-F14A9A53FCD8}"/>
              </a:ext>
            </a:extLst>
          </p:cNvPr>
          <p:cNvCxnSpPr>
            <a:cxnSpLocks/>
          </p:cNvCxnSpPr>
          <p:nvPr/>
        </p:nvCxnSpPr>
        <p:spPr>
          <a:xfrm flipH="1">
            <a:off x="3613661" y="4085525"/>
            <a:ext cx="423985" cy="583945"/>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2" name="Gerade Verbindung mit Pfeil 1071">
            <a:extLst>
              <a:ext uri="{FF2B5EF4-FFF2-40B4-BE49-F238E27FC236}">
                <a16:creationId xmlns:a16="http://schemas.microsoft.com/office/drawing/2014/main" id="{C808B711-A99B-43FB-9EE2-545D450DD8E0}"/>
              </a:ext>
            </a:extLst>
          </p:cNvPr>
          <p:cNvCxnSpPr/>
          <p:nvPr/>
        </p:nvCxnSpPr>
        <p:spPr>
          <a:xfrm>
            <a:off x="4058851" y="3209948"/>
            <a:ext cx="0" cy="28800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73" name="Textfeld 1072">
            <a:extLst>
              <a:ext uri="{FF2B5EF4-FFF2-40B4-BE49-F238E27FC236}">
                <a16:creationId xmlns:a16="http://schemas.microsoft.com/office/drawing/2014/main" id="{98C6D478-8C70-4FE1-8559-02C9474470B7}"/>
              </a:ext>
            </a:extLst>
          </p:cNvPr>
          <p:cNvSpPr txBox="1"/>
          <p:nvPr/>
        </p:nvSpPr>
        <p:spPr>
          <a:xfrm>
            <a:off x="6642307" y="5836266"/>
            <a:ext cx="604900"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err="1"/>
              <a:t>ePayment</a:t>
            </a:r>
            <a:endParaRPr lang="de-DE" dirty="0"/>
          </a:p>
          <a:p>
            <a:r>
              <a:rPr lang="de-DE" dirty="0"/>
              <a:t>(vorgelagert)</a:t>
            </a:r>
          </a:p>
        </p:txBody>
      </p:sp>
      <p:sp>
        <p:nvSpPr>
          <p:cNvPr id="1074" name="Textfeld 1073">
            <a:extLst>
              <a:ext uri="{FF2B5EF4-FFF2-40B4-BE49-F238E27FC236}">
                <a16:creationId xmlns:a16="http://schemas.microsoft.com/office/drawing/2014/main" id="{427776AE-4D96-4539-B66D-4CB132A5AAE5}"/>
              </a:ext>
            </a:extLst>
          </p:cNvPr>
          <p:cNvSpPr txBox="1"/>
          <p:nvPr/>
        </p:nvSpPr>
        <p:spPr>
          <a:xfrm>
            <a:off x="4779377" y="4021038"/>
            <a:ext cx="1805550" cy="565146"/>
          </a:xfrm>
          <a:prstGeom prst="rect">
            <a:avLst/>
          </a:prstGeom>
          <a:noFill/>
        </p:spPr>
        <p:txBody>
          <a:bodyPr wrap="square" lIns="0" tIns="0" rIns="0" bIns="0" rtlCol="0">
            <a:noAutofit/>
          </a:bodyPr>
          <a:lstStyle>
            <a:defPPr>
              <a:defRPr lang="en-US"/>
            </a:defPPr>
            <a:lvl1pPr algn="ctr">
              <a:defRPr sz="800">
                <a:latin typeface="+mn-lt"/>
              </a:defRPr>
            </a:lvl1pPr>
          </a:lstStyle>
          <a:p>
            <a:pPr algn="l"/>
            <a:r>
              <a:rPr lang="de-DE" dirty="0"/>
              <a:t>VN hoch: </a:t>
            </a:r>
            <a:r>
              <a:rPr lang="de-DE" dirty="0" err="1"/>
              <a:t>nPA</a:t>
            </a:r>
            <a:r>
              <a:rPr lang="de-DE" dirty="0"/>
              <a:t> / Smart </a:t>
            </a:r>
            <a:r>
              <a:rPr lang="de-DE" dirty="0" err="1"/>
              <a:t>eID</a:t>
            </a:r>
            <a:r>
              <a:rPr lang="de-DE" dirty="0"/>
              <a:t> </a:t>
            </a:r>
          </a:p>
          <a:p>
            <a:pPr algn="l"/>
            <a:r>
              <a:rPr lang="de-DE" dirty="0"/>
              <a:t>VN substantiell: ELSTER</a:t>
            </a:r>
          </a:p>
          <a:p>
            <a:pPr algn="l"/>
            <a:r>
              <a:rPr lang="de-DE" dirty="0"/>
              <a:t>VN niedrig: NICHT DEFINIERT</a:t>
            </a:r>
          </a:p>
          <a:p>
            <a:pPr algn="l"/>
            <a:r>
              <a:rPr lang="de-DE" dirty="0"/>
              <a:t>Basisregistrierung: Nutzername/Passwort</a:t>
            </a:r>
          </a:p>
        </p:txBody>
      </p:sp>
      <p:grpSp>
        <p:nvGrpSpPr>
          <p:cNvPr id="1075" name="Grafik 21">
            <a:extLst>
              <a:ext uri="{FF2B5EF4-FFF2-40B4-BE49-F238E27FC236}">
                <a16:creationId xmlns:a16="http://schemas.microsoft.com/office/drawing/2014/main" id="{0270550E-E032-4847-A7FC-A369C1581567}"/>
              </a:ext>
            </a:extLst>
          </p:cNvPr>
          <p:cNvGrpSpPr>
            <a:grpSpLocks noChangeAspect="1"/>
          </p:cNvGrpSpPr>
          <p:nvPr/>
        </p:nvGrpSpPr>
        <p:grpSpPr>
          <a:xfrm>
            <a:off x="7683577" y="4776695"/>
            <a:ext cx="341112" cy="222085"/>
            <a:chOff x="11250030" y="1161729"/>
            <a:chExt cx="590550" cy="476250"/>
          </a:xfrm>
          <a:solidFill>
            <a:schemeClr val="accent5"/>
          </a:solidFill>
        </p:grpSpPr>
        <p:sp>
          <p:nvSpPr>
            <p:cNvPr id="1076" name="Freihandform: Form 155">
              <a:extLst>
                <a:ext uri="{FF2B5EF4-FFF2-40B4-BE49-F238E27FC236}">
                  <a16:creationId xmlns:a16="http://schemas.microsoft.com/office/drawing/2014/main" id="{C7C349D9-947A-40D6-8C37-8A49FC014883}"/>
                </a:ext>
              </a:extLst>
            </p:cNvPr>
            <p:cNvSpPr/>
            <p:nvPr/>
          </p:nvSpPr>
          <p:spPr>
            <a:xfrm>
              <a:off x="11250030" y="1161729"/>
              <a:ext cx="352425" cy="409575"/>
            </a:xfrm>
            <a:custGeom>
              <a:avLst/>
              <a:gdLst>
                <a:gd name="connsiteX0" fmla="*/ 333375 w 352425"/>
                <a:gd name="connsiteY0" fmla="*/ 0 h 409575"/>
                <a:gd name="connsiteX1" fmla="*/ 19050 w 352425"/>
                <a:gd name="connsiteY1" fmla="*/ 0 h 409575"/>
                <a:gd name="connsiteX2" fmla="*/ 0 w 352425"/>
                <a:gd name="connsiteY2" fmla="*/ 19050 h 409575"/>
                <a:gd name="connsiteX3" fmla="*/ 0 w 352425"/>
                <a:gd name="connsiteY3" fmla="*/ 390525 h 409575"/>
                <a:gd name="connsiteX4" fmla="*/ 19050 w 352425"/>
                <a:gd name="connsiteY4" fmla="*/ 409575 h 409575"/>
                <a:gd name="connsiteX5" fmla="*/ 57150 w 352425"/>
                <a:gd name="connsiteY5" fmla="*/ 409575 h 409575"/>
                <a:gd name="connsiteX6" fmla="*/ 142875 w 352425"/>
                <a:gd name="connsiteY6" fmla="*/ 323850 h 409575"/>
                <a:gd name="connsiteX7" fmla="*/ 228600 w 352425"/>
                <a:gd name="connsiteY7" fmla="*/ 409575 h 409575"/>
                <a:gd name="connsiteX8" fmla="*/ 342900 w 352425"/>
                <a:gd name="connsiteY8" fmla="*/ 409575 h 409575"/>
                <a:gd name="connsiteX9" fmla="*/ 352425 w 352425"/>
                <a:gd name="connsiteY9" fmla="*/ 400050 h 409575"/>
                <a:gd name="connsiteX10" fmla="*/ 352425 w 352425"/>
                <a:gd name="connsiteY10" fmla="*/ 19050 h 409575"/>
                <a:gd name="connsiteX11" fmla="*/ 333375 w 352425"/>
                <a:gd name="connsiteY11"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425" h="409575">
                  <a:moveTo>
                    <a:pt x="333375" y="0"/>
                  </a:moveTo>
                  <a:lnTo>
                    <a:pt x="19050" y="0"/>
                  </a:lnTo>
                  <a:cubicBezTo>
                    <a:pt x="8573" y="0"/>
                    <a:pt x="0" y="8573"/>
                    <a:pt x="0" y="19050"/>
                  </a:cubicBezTo>
                  <a:lnTo>
                    <a:pt x="0" y="390525"/>
                  </a:lnTo>
                  <a:cubicBezTo>
                    <a:pt x="0" y="401003"/>
                    <a:pt x="8573" y="409575"/>
                    <a:pt x="19050" y="409575"/>
                  </a:cubicBezTo>
                  <a:lnTo>
                    <a:pt x="57150" y="409575"/>
                  </a:lnTo>
                  <a:cubicBezTo>
                    <a:pt x="57150" y="361950"/>
                    <a:pt x="95250" y="323850"/>
                    <a:pt x="142875" y="323850"/>
                  </a:cubicBezTo>
                  <a:cubicBezTo>
                    <a:pt x="190500" y="323850"/>
                    <a:pt x="228600" y="361950"/>
                    <a:pt x="228600" y="409575"/>
                  </a:cubicBezTo>
                  <a:lnTo>
                    <a:pt x="342900" y="409575"/>
                  </a:lnTo>
                  <a:cubicBezTo>
                    <a:pt x="348615" y="409575"/>
                    <a:pt x="352425" y="405765"/>
                    <a:pt x="352425" y="400050"/>
                  </a:cubicBezTo>
                  <a:lnTo>
                    <a:pt x="352425" y="19050"/>
                  </a:lnTo>
                  <a:cubicBezTo>
                    <a:pt x="352425" y="8573"/>
                    <a:pt x="343853" y="0"/>
                    <a:pt x="333375" y="0"/>
                  </a:cubicBezTo>
                  <a:close/>
                </a:path>
              </a:pathLst>
            </a:custGeom>
            <a:grpFill/>
            <a:ln w="9525" cap="flat">
              <a:solidFill>
                <a:schemeClr val="bg1"/>
              </a:solidFill>
              <a:prstDash val="solid"/>
              <a:miter/>
            </a:ln>
          </p:spPr>
          <p:txBody>
            <a:bodyPr lIns="36000" tIns="36000" rIns="36000" bIns="36000" rtlCol="0" anchor="ctr"/>
            <a:lstStyle/>
            <a:p>
              <a:endParaRPr lang="de-DE" sz="800" dirty="0"/>
            </a:p>
          </p:txBody>
        </p:sp>
        <p:sp>
          <p:nvSpPr>
            <p:cNvPr id="1077" name="Freihandform: Form 156">
              <a:extLst>
                <a:ext uri="{FF2B5EF4-FFF2-40B4-BE49-F238E27FC236}">
                  <a16:creationId xmlns:a16="http://schemas.microsoft.com/office/drawing/2014/main" id="{91E455BF-B3A2-4237-AFD1-4655175994A8}"/>
                </a:ext>
              </a:extLst>
            </p:cNvPr>
            <p:cNvSpPr/>
            <p:nvPr/>
          </p:nvSpPr>
          <p:spPr>
            <a:xfrm>
              <a:off x="11326230" y="1504629"/>
              <a:ext cx="133350" cy="133350"/>
            </a:xfrm>
            <a:custGeom>
              <a:avLst/>
              <a:gdLst>
                <a:gd name="connsiteX0" fmla="*/ 66675 w 133350"/>
                <a:gd name="connsiteY0" fmla="*/ 133350 h 133350"/>
                <a:gd name="connsiteX1" fmla="*/ 0 w 133350"/>
                <a:gd name="connsiteY1" fmla="*/ 66675 h 133350"/>
                <a:gd name="connsiteX2" fmla="*/ 66675 w 133350"/>
                <a:gd name="connsiteY2" fmla="*/ 0 h 133350"/>
                <a:gd name="connsiteX3" fmla="*/ 133350 w 133350"/>
                <a:gd name="connsiteY3" fmla="*/ 66675 h 133350"/>
                <a:gd name="connsiteX4" fmla="*/ 66675 w 133350"/>
                <a:gd name="connsiteY4" fmla="*/ 133350 h 133350"/>
                <a:gd name="connsiteX5" fmla="*/ 66675 w 133350"/>
                <a:gd name="connsiteY5" fmla="*/ 38100 h 133350"/>
                <a:gd name="connsiteX6" fmla="*/ 38100 w 133350"/>
                <a:gd name="connsiteY6" fmla="*/ 66675 h 133350"/>
                <a:gd name="connsiteX7" fmla="*/ 66675 w 133350"/>
                <a:gd name="connsiteY7" fmla="*/ 95250 h 133350"/>
                <a:gd name="connsiteX8" fmla="*/ 95250 w 133350"/>
                <a:gd name="connsiteY8" fmla="*/ 66675 h 133350"/>
                <a:gd name="connsiteX9" fmla="*/ 66675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133350"/>
                  </a:moveTo>
                  <a:cubicBezTo>
                    <a:pt x="29528" y="133350"/>
                    <a:pt x="0" y="103823"/>
                    <a:pt x="0" y="66675"/>
                  </a:cubicBezTo>
                  <a:cubicBezTo>
                    <a:pt x="0" y="29527"/>
                    <a:pt x="29528" y="0"/>
                    <a:pt x="66675" y="0"/>
                  </a:cubicBezTo>
                  <a:cubicBezTo>
                    <a:pt x="103823" y="0"/>
                    <a:pt x="133350" y="29527"/>
                    <a:pt x="133350" y="66675"/>
                  </a:cubicBezTo>
                  <a:cubicBezTo>
                    <a:pt x="133350" y="103823"/>
                    <a:pt x="103823" y="133350"/>
                    <a:pt x="66675" y="133350"/>
                  </a:cubicBezTo>
                  <a:close/>
                  <a:moveTo>
                    <a:pt x="66675" y="38100"/>
                  </a:moveTo>
                  <a:cubicBezTo>
                    <a:pt x="50483" y="38100"/>
                    <a:pt x="38100" y="50482"/>
                    <a:pt x="38100" y="66675"/>
                  </a:cubicBezTo>
                  <a:cubicBezTo>
                    <a:pt x="38100" y="82868"/>
                    <a:pt x="50483" y="95250"/>
                    <a:pt x="66675" y="95250"/>
                  </a:cubicBezTo>
                  <a:cubicBezTo>
                    <a:pt x="82868" y="95250"/>
                    <a:pt x="95250" y="82868"/>
                    <a:pt x="95250" y="66675"/>
                  </a:cubicBezTo>
                  <a:cubicBezTo>
                    <a:pt x="95250" y="50482"/>
                    <a:pt x="82868" y="38100"/>
                    <a:pt x="66675" y="38100"/>
                  </a:cubicBezTo>
                  <a:close/>
                </a:path>
              </a:pathLst>
            </a:custGeom>
            <a:grpFill/>
            <a:ln w="9525" cap="flat">
              <a:solidFill>
                <a:schemeClr val="bg1"/>
              </a:solidFill>
              <a:prstDash val="solid"/>
              <a:miter/>
            </a:ln>
          </p:spPr>
          <p:txBody>
            <a:bodyPr lIns="36000" tIns="36000" rIns="36000" bIns="36000" rtlCol="0" anchor="ctr"/>
            <a:lstStyle/>
            <a:p>
              <a:endParaRPr lang="de-DE" sz="800" dirty="0"/>
            </a:p>
          </p:txBody>
        </p:sp>
        <p:sp>
          <p:nvSpPr>
            <p:cNvPr id="1078" name="Freihandform: Form 157">
              <a:extLst>
                <a:ext uri="{FF2B5EF4-FFF2-40B4-BE49-F238E27FC236}">
                  <a16:creationId xmlns:a16="http://schemas.microsoft.com/office/drawing/2014/main" id="{FEE4B478-15DC-4CC0-9B4B-38EC6034F3D7}"/>
                </a:ext>
              </a:extLst>
            </p:cNvPr>
            <p:cNvSpPr/>
            <p:nvPr/>
          </p:nvSpPr>
          <p:spPr>
            <a:xfrm>
              <a:off x="11631030" y="1504629"/>
              <a:ext cx="133350" cy="133350"/>
            </a:xfrm>
            <a:custGeom>
              <a:avLst/>
              <a:gdLst>
                <a:gd name="connsiteX0" fmla="*/ 66675 w 133350"/>
                <a:gd name="connsiteY0" fmla="*/ 133350 h 133350"/>
                <a:gd name="connsiteX1" fmla="*/ 0 w 133350"/>
                <a:gd name="connsiteY1" fmla="*/ 66675 h 133350"/>
                <a:gd name="connsiteX2" fmla="*/ 66675 w 133350"/>
                <a:gd name="connsiteY2" fmla="*/ 0 h 133350"/>
                <a:gd name="connsiteX3" fmla="*/ 133350 w 133350"/>
                <a:gd name="connsiteY3" fmla="*/ 66675 h 133350"/>
                <a:gd name="connsiteX4" fmla="*/ 66675 w 133350"/>
                <a:gd name="connsiteY4" fmla="*/ 133350 h 133350"/>
                <a:gd name="connsiteX5" fmla="*/ 66675 w 133350"/>
                <a:gd name="connsiteY5" fmla="*/ 38100 h 133350"/>
                <a:gd name="connsiteX6" fmla="*/ 38100 w 133350"/>
                <a:gd name="connsiteY6" fmla="*/ 66675 h 133350"/>
                <a:gd name="connsiteX7" fmla="*/ 66675 w 133350"/>
                <a:gd name="connsiteY7" fmla="*/ 95250 h 133350"/>
                <a:gd name="connsiteX8" fmla="*/ 95250 w 133350"/>
                <a:gd name="connsiteY8" fmla="*/ 66675 h 133350"/>
                <a:gd name="connsiteX9" fmla="*/ 66675 w 133350"/>
                <a:gd name="connsiteY9" fmla="*/ 381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350" h="133350">
                  <a:moveTo>
                    <a:pt x="66675" y="133350"/>
                  </a:moveTo>
                  <a:cubicBezTo>
                    <a:pt x="29527" y="133350"/>
                    <a:pt x="0" y="103823"/>
                    <a:pt x="0" y="66675"/>
                  </a:cubicBezTo>
                  <a:cubicBezTo>
                    <a:pt x="0" y="29527"/>
                    <a:pt x="29527" y="0"/>
                    <a:pt x="66675" y="0"/>
                  </a:cubicBezTo>
                  <a:cubicBezTo>
                    <a:pt x="103823" y="0"/>
                    <a:pt x="133350" y="29527"/>
                    <a:pt x="133350" y="66675"/>
                  </a:cubicBezTo>
                  <a:cubicBezTo>
                    <a:pt x="133350" y="103823"/>
                    <a:pt x="103823" y="133350"/>
                    <a:pt x="66675" y="133350"/>
                  </a:cubicBezTo>
                  <a:close/>
                  <a:moveTo>
                    <a:pt x="66675" y="38100"/>
                  </a:moveTo>
                  <a:cubicBezTo>
                    <a:pt x="50482" y="38100"/>
                    <a:pt x="38100" y="50482"/>
                    <a:pt x="38100" y="66675"/>
                  </a:cubicBezTo>
                  <a:cubicBezTo>
                    <a:pt x="38100" y="82868"/>
                    <a:pt x="50482" y="95250"/>
                    <a:pt x="66675" y="95250"/>
                  </a:cubicBezTo>
                  <a:cubicBezTo>
                    <a:pt x="82868" y="95250"/>
                    <a:pt x="95250" y="82868"/>
                    <a:pt x="95250" y="66675"/>
                  </a:cubicBezTo>
                  <a:cubicBezTo>
                    <a:pt x="95250" y="50482"/>
                    <a:pt x="82868" y="38100"/>
                    <a:pt x="66675" y="38100"/>
                  </a:cubicBezTo>
                  <a:close/>
                </a:path>
              </a:pathLst>
            </a:custGeom>
            <a:grpFill/>
            <a:ln w="9525" cap="flat">
              <a:solidFill>
                <a:schemeClr val="bg1"/>
              </a:solidFill>
              <a:prstDash val="solid"/>
              <a:miter/>
            </a:ln>
          </p:spPr>
          <p:txBody>
            <a:bodyPr lIns="36000" tIns="36000" rIns="36000" bIns="36000" rtlCol="0" anchor="ctr"/>
            <a:lstStyle/>
            <a:p>
              <a:endParaRPr lang="de-DE" sz="800" dirty="0"/>
            </a:p>
          </p:txBody>
        </p:sp>
        <p:sp>
          <p:nvSpPr>
            <p:cNvPr id="1079" name="Freihandform: Form 158">
              <a:extLst>
                <a:ext uri="{FF2B5EF4-FFF2-40B4-BE49-F238E27FC236}">
                  <a16:creationId xmlns:a16="http://schemas.microsoft.com/office/drawing/2014/main" id="{31274FE4-5E8C-44BB-9355-E5C37EE831F5}"/>
                </a:ext>
              </a:extLst>
            </p:cNvPr>
            <p:cNvSpPr/>
            <p:nvPr/>
          </p:nvSpPr>
          <p:spPr>
            <a:xfrm>
              <a:off x="11621505" y="1256979"/>
              <a:ext cx="219075" cy="314325"/>
            </a:xfrm>
            <a:custGeom>
              <a:avLst/>
              <a:gdLst>
                <a:gd name="connsiteX0" fmla="*/ 218123 w 219075"/>
                <a:gd name="connsiteY0" fmla="*/ 139065 h 314325"/>
                <a:gd name="connsiteX1" fmla="*/ 151448 w 219075"/>
                <a:gd name="connsiteY1" fmla="*/ 5715 h 314325"/>
                <a:gd name="connsiteX2" fmla="*/ 142875 w 219075"/>
                <a:gd name="connsiteY2" fmla="*/ 0 h 314325"/>
                <a:gd name="connsiteX3" fmla="*/ 9525 w 219075"/>
                <a:gd name="connsiteY3" fmla="*/ 0 h 314325"/>
                <a:gd name="connsiteX4" fmla="*/ 0 w 219075"/>
                <a:gd name="connsiteY4" fmla="*/ 9525 h 314325"/>
                <a:gd name="connsiteX5" fmla="*/ 0 w 219075"/>
                <a:gd name="connsiteY5" fmla="*/ 275273 h 314325"/>
                <a:gd name="connsiteX6" fmla="*/ 115252 w 219075"/>
                <a:gd name="connsiteY6" fmla="*/ 238125 h 314325"/>
                <a:gd name="connsiteX7" fmla="*/ 161925 w 219075"/>
                <a:gd name="connsiteY7" fmla="*/ 314325 h 314325"/>
                <a:gd name="connsiteX8" fmla="*/ 209550 w 219075"/>
                <a:gd name="connsiteY8" fmla="*/ 314325 h 314325"/>
                <a:gd name="connsiteX9" fmla="*/ 219075 w 219075"/>
                <a:gd name="connsiteY9" fmla="*/ 304800 h 314325"/>
                <a:gd name="connsiteX10" fmla="*/ 219075 w 219075"/>
                <a:gd name="connsiteY10" fmla="*/ 142875 h 314325"/>
                <a:gd name="connsiteX11" fmla="*/ 218123 w 219075"/>
                <a:gd name="connsiteY11" fmla="*/ 139065 h 314325"/>
                <a:gd name="connsiteX12" fmla="*/ 28575 w 219075"/>
                <a:gd name="connsiteY12" fmla="*/ 133350 h 314325"/>
                <a:gd name="connsiteX13" fmla="*/ 28575 w 219075"/>
                <a:gd name="connsiteY13" fmla="*/ 28575 h 314325"/>
                <a:gd name="connsiteX14" fmla="*/ 131445 w 219075"/>
                <a:gd name="connsiteY14" fmla="*/ 28575 h 314325"/>
                <a:gd name="connsiteX15" fmla="*/ 183833 w 219075"/>
                <a:gd name="connsiteY15" fmla="*/ 133350 h 314325"/>
                <a:gd name="connsiteX16" fmla="*/ 28575 w 219075"/>
                <a:gd name="connsiteY16" fmla="*/ 13335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075" h="314325">
                  <a:moveTo>
                    <a:pt x="218123" y="139065"/>
                  </a:moveTo>
                  <a:lnTo>
                    <a:pt x="151448" y="5715"/>
                  </a:lnTo>
                  <a:cubicBezTo>
                    <a:pt x="149543" y="1905"/>
                    <a:pt x="146685" y="0"/>
                    <a:pt x="142875" y="0"/>
                  </a:cubicBezTo>
                  <a:lnTo>
                    <a:pt x="9525" y="0"/>
                  </a:lnTo>
                  <a:cubicBezTo>
                    <a:pt x="3810" y="0"/>
                    <a:pt x="0" y="3810"/>
                    <a:pt x="0" y="9525"/>
                  </a:cubicBezTo>
                  <a:lnTo>
                    <a:pt x="0" y="275273"/>
                  </a:lnTo>
                  <a:cubicBezTo>
                    <a:pt x="21907" y="233363"/>
                    <a:pt x="73343" y="216218"/>
                    <a:pt x="115252" y="238125"/>
                  </a:cubicBezTo>
                  <a:cubicBezTo>
                    <a:pt x="143827" y="252413"/>
                    <a:pt x="161925" y="281940"/>
                    <a:pt x="161925" y="314325"/>
                  </a:cubicBezTo>
                  <a:lnTo>
                    <a:pt x="209550" y="314325"/>
                  </a:lnTo>
                  <a:cubicBezTo>
                    <a:pt x="215265" y="314325"/>
                    <a:pt x="219075" y="310515"/>
                    <a:pt x="219075" y="304800"/>
                  </a:cubicBezTo>
                  <a:lnTo>
                    <a:pt x="219075" y="142875"/>
                  </a:lnTo>
                  <a:cubicBezTo>
                    <a:pt x="219075" y="140970"/>
                    <a:pt x="219075" y="140018"/>
                    <a:pt x="218123" y="139065"/>
                  </a:cubicBezTo>
                  <a:close/>
                  <a:moveTo>
                    <a:pt x="28575" y="133350"/>
                  </a:moveTo>
                  <a:lnTo>
                    <a:pt x="28575" y="28575"/>
                  </a:lnTo>
                  <a:lnTo>
                    <a:pt x="131445" y="28575"/>
                  </a:lnTo>
                  <a:lnTo>
                    <a:pt x="183833" y="133350"/>
                  </a:lnTo>
                  <a:lnTo>
                    <a:pt x="28575" y="133350"/>
                  </a:lnTo>
                  <a:close/>
                </a:path>
              </a:pathLst>
            </a:custGeom>
            <a:grpFill/>
            <a:ln w="9525" cap="flat">
              <a:solidFill>
                <a:schemeClr val="bg1"/>
              </a:solidFill>
              <a:prstDash val="solid"/>
              <a:miter/>
            </a:ln>
          </p:spPr>
          <p:txBody>
            <a:bodyPr lIns="36000" tIns="36000" rIns="36000" bIns="36000" rtlCol="0" anchor="ctr"/>
            <a:lstStyle/>
            <a:p>
              <a:endParaRPr lang="de-DE" sz="800" dirty="0"/>
            </a:p>
          </p:txBody>
        </p:sp>
      </p:grpSp>
      <p:sp>
        <p:nvSpPr>
          <p:cNvPr id="1080" name="Textfeld 1079">
            <a:extLst>
              <a:ext uri="{FF2B5EF4-FFF2-40B4-BE49-F238E27FC236}">
                <a16:creationId xmlns:a16="http://schemas.microsoft.com/office/drawing/2014/main" id="{A3DCF999-D2F3-404C-B4FC-3839D1A943F7}"/>
              </a:ext>
            </a:extLst>
          </p:cNvPr>
          <p:cNvSpPr txBox="1"/>
          <p:nvPr/>
        </p:nvSpPr>
        <p:spPr>
          <a:xfrm>
            <a:off x="7350133" y="4138109"/>
            <a:ext cx="1008000" cy="565146"/>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Routing und</a:t>
            </a:r>
            <a:br>
              <a:rPr lang="de-DE" dirty="0"/>
            </a:br>
            <a:r>
              <a:rPr lang="de-DE" dirty="0"/>
              <a:t>Datenübermittlung via Datencontainer</a:t>
            </a:r>
          </a:p>
          <a:p>
            <a:r>
              <a:rPr lang="de-DE" dirty="0"/>
              <a:t>(bspw. </a:t>
            </a:r>
            <a:r>
              <a:rPr lang="de-DE" dirty="0" err="1"/>
              <a:t>XFall</a:t>
            </a:r>
            <a:r>
              <a:rPr lang="de-DE" dirty="0"/>
              <a:t>)**</a:t>
            </a:r>
          </a:p>
        </p:txBody>
      </p:sp>
      <p:grpSp>
        <p:nvGrpSpPr>
          <p:cNvPr id="1081" name="Grafik 10">
            <a:extLst>
              <a:ext uri="{FF2B5EF4-FFF2-40B4-BE49-F238E27FC236}">
                <a16:creationId xmlns:a16="http://schemas.microsoft.com/office/drawing/2014/main" id="{E3765D48-462A-4A21-BE29-BC776B0B8C0F}"/>
              </a:ext>
            </a:extLst>
          </p:cNvPr>
          <p:cNvGrpSpPr>
            <a:grpSpLocks noChangeAspect="1"/>
          </p:cNvGrpSpPr>
          <p:nvPr/>
        </p:nvGrpSpPr>
        <p:grpSpPr>
          <a:xfrm>
            <a:off x="6425449" y="2213386"/>
            <a:ext cx="465030" cy="401387"/>
            <a:chOff x="8036729" y="550242"/>
            <a:chExt cx="516720" cy="552450"/>
          </a:xfrm>
          <a:noFill/>
        </p:grpSpPr>
        <p:sp>
          <p:nvSpPr>
            <p:cNvPr id="1082" name="Freihandform: Form 96">
              <a:extLst>
                <a:ext uri="{FF2B5EF4-FFF2-40B4-BE49-F238E27FC236}">
                  <a16:creationId xmlns:a16="http://schemas.microsoft.com/office/drawing/2014/main" id="{B0FD1F3D-7785-45D6-B47C-58DB34A6117A}"/>
                </a:ext>
              </a:extLst>
            </p:cNvPr>
            <p:cNvSpPr/>
            <p:nvPr/>
          </p:nvSpPr>
          <p:spPr>
            <a:xfrm>
              <a:off x="8295089" y="797892"/>
              <a:ext cx="8612" cy="304800"/>
            </a:xfrm>
            <a:custGeom>
              <a:avLst/>
              <a:gdLst>
                <a:gd name="connsiteX0" fmla="*/ 0 w 8612"/>
                <a:gd name="connsiteY0" fmla="*/ 0 h 304800"/>
                <a:gd name="connsiteX1" fmla="*/ 0 w 8612"/>
                <a:gd name="connsiteY1" fmla="*/ 304800 h 304800"/>
              </a:gdLst>
              <a:ahLst/>
              <a:cxnLst>
                <a:cxn ang="0">
                  <a:pos x="connsiteX0" y="connsiteY0"/>
                </a:cxn>
                <a:cxn ang="0">
                  <a:pos x="connsiteX1" y="connsiteY1"/>
                </a:cxn>
              </a:cxnLst>
              <a:rect l="l" t="t" r="r" b="b"/>
              <a:pathLst>
                <a:path w="8612" h="304800">
                  <a:moveTo>
                    <a:pt x="0" y="0"/>
                  </a:moveTo>
                  <a:lnTo>
                    <a:pt x="0" y="304800"/>
                  </a:lnTo>
                </a:path>
              </a:pathLst>
            </a:custGeom>
            <a:ln w="19050" cap="flat">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83" name="Freihandform: Form 97">
              <a:extLst>
                <a:ext uri="{FF2B5EF4-FFF2-40B4-BE49-F238E27FC236}">
                  <a16:creationId xmlns:a16="http://schemas.microsoft.com/office/drawing/2014/main" id="{E545BF21-F762-4224-8F71-36EB9CE0508E}"/>
                </a:ext>
              </a:extLst>
            </p:cNvPr>
            <p:cNvSpPr/>
            <p:nvPr/>
          </p:nvSpPr>
          <p:spPr>
            <a:xfrm>
              <a:off x="8208969" y="1007442"/>
              <a:ext cx="172240" cy="95250"/>
            </a:xfrm>
            <a:custGeom>
              <a:avLst/>
              <a:gdLst>
                <a:gd name="connsiteX0" fmla="*/ 172240 w 172240"/>
                <a:gd name="connsiteY0" fmla="*/ 0 h 95250"/>
                <a:gd name="connsiteX1" fmla="*/ 86120 w 172240"/>
                <a:gd name="connsiteY1" fmla="*/ 95250 h 95250"/>
                <a:gd name="connsiteX2" fmla="*/ 0 w 172240"/>
                <a:gd name="connsiteY2" fmla="*/ 0 h 95250"/>
              </a:gdLst>
              <a:ahLst/>
              <a:cxnLst>
                <a:cxn ang="0">
                  <a:pos x="connsiteX0" y="connsiteY0"/>
                </a:cxn>
                <a:cxn ang="0">
                  <a:pos x="connsiteX1" y="connsiteY1"/>
                </a:cxn>
                <a:cxn ang="0">
                  <a:pos x="connsiteX2" y="connsiteY2"/>
                </a:cxn>
              </a:cxnLst>
              <a:rect l="l" t="t" r="r" b="b"/>
              <a:pathLst>
                <a:path w="172240" h="95250">
                  <a:moveTo>
                    <a:pt x="172240" y="0"/>
                  </a:moveTo>
                  <a:lnTo>
                    <a:pt x="86120" y="95250"/>
                  </a:lnTo>
                  <a:lnTo>
                    <a:pt x="0" y="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sp>
          <p:nvSpPr>
            <p:cNvPr id="1084" name="Freihandform: Form 98">
              <a:extLst>
                <a:ext uri="{FF2B5EF4-FFF2-40B4-BE49-F238E27FC236}">
                  <a16:creationId xmlns:a16="http://schemas.microsoft.com/office/drawing/2014/main" id="{4B92F4DE-2387-4F9F-8727-AECD524E9384}"/>
                </a:ext>
              </a:extLst>
            </p:cNvPr>
            <p:cNvSpPr/>
            <p:nvPr/>
          </p:nvSpPr>
          <p:spPr>
            <a:xfrm>
              <a:off x="8036729" y="550242"/>
              <a:ext cx="516720" cy="381000"/>
            </a:xfrm>
            <a:custGeom>
              <a:avLst/>
              <a:gdLst>
                <a:gd name="connsiteX0" fmla="*/ 327256 w 516720"/>
                <a:gd name="connsiteY0" fmla="*/ 381000 h 381000"/>
                <a:gd name="connsiteX1" fmla="*/ 430600 w 516720"/>
                <a:gd name="connsiteY1" fmla="*/ 381000 h 381000"/>
                <a:gd name="connsiteX2" fmla="*/ 516720 w 516720"/>
                <a:gd name="connsiteY2" fmla="*/ 276225 h 381000"/>
                <a:gd name="connsiteX3" fmla="*/ 429739 w 516720"/>
                <a:gd name="connsiteY3" fmla="*/ 171450 h 381000"/>
                <a:gd name="connsiteX4" fmla="*/ 258360 w 516720"/>
                <a:gd name="connsiteY4" fmla="*/ 0 h 381000"/>
                <a:gd name="connsiteX5" fmla="*/ 93871 w 516720"/>
                <a:gd name="connsiteY5" fmla="*/ 135255 h 381000"/>
                <a:gd name="connsiteX6" fmla="*/ 0 w 516720"/>
                <a:gd name="connsiteY6" fmla="*/ 257175 h 381000"/>
                <a:gd name="connsiteX7" fmla="*/ 103344 w 516720"/>
                <a:gd name="connsiteY7" fmla="*/ 381000 h 381000"/>
                <a:gd name="connsiteX8" fmla="*/ 189464 w 516720"/>
                <a:gd name="connsiteY8" fmla="*/ 38100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720" h="381000">
                  <a:moveTo>
                    <a:pt x="327256" y="381000"/>
                  </a:moveTo>
                  <a:lnTo>
                    <a:pt x="430600" y="381000"/>
                  </a:lnTo>
                  <a:cubicBezTo>
                    <a:pt x="478827" y="376238"/>
                    <a:pt x="516720" y="330518"/>
                    <a:pt x="516720" y="276225"/>
                  </a:cubicBezTo>
                  <a:cubicBezTo>
                    <a:pt x="516720" y="220980"/>
                    <a:pt x="478827" y="176213"/>
                    <a:pt x="429739" y="171450"/>
                  </a:cubicBezTo>
                  <a:cubicBezTo>
                    <a:pt x="421127" y="75248"/>
                    <a:pt x="347925" y="0"/>
                    <a:pt x="258360" y="0"/>
                  </a:cubicBezTo>
                  <a:cubicBezTo>
                    <a:pt x="180852" y="0"/>
                    <a:pt x="115401" y="57150"/>
                    <a:pt x="93871" y="135255"/>
                  </a:cubicBezTo>
                  <a:cubicBezTo>
                    <a:pt x="40476" y="144780"/>
                    <a:pt x="0" y="195263"/>
                    <a:pt x="0" y="257175"/>
                  </a:cubicBezTo>
                  <a:cubicBezTo>
                    <a:pt x="0" y="321945"/>
                    <a:pt x="45644" y="376238"/>
                    <a:pt x="103344" y="381000"/>
                  </a:cubicBezTo>
                  <a:lnTo>
                    <a:pt x="189464" y="381000"/>
                  </a:lnTo>
                </a:path>
              </a:pathLst>
            </a:custGeom>
            <a:noFill/>
            <a:ln w="19050" cap="sq">
              <a:solidFill>
                <a:schemeClr val="accent5"/>
              </a:solidFill>
              <a:prstDash val="solid"/>
              <a:miter/>
            </a:ln>
          </p:spPr>
          <p:txBody>
            <a:bodyPr lIns="36000" tIns="36000" rIns="36000" bIns="36000" rtlCol="0" anchor="ctr"/>
            <a:lstStyle/>
            <a:p>
              <a:pPr fontAlgn="base">
                <a:spcBef>
                  <a:spcPct val="0"/>
                </a:spcBef>
                <a:spcAft>
                  <a:spcPct val="0"/>
                </a:spcAft>
                <a:defRPr/>
              </a:pPr>
              <a:endParaRPr lang="de-DE" sz="800" b="1" kern="0" dirty="0"/>
            </a:p>
          </p:txBody>
        </p:sp>
      </p:grpSp>
      <p:sp>
        <p:nvSpPr>
          <p:cNvPr id="1085" name="Textfeld 1084">
            <a:extLst>
              <a:ext uri="{FF2B5EF4-FFF2-40B4-BE49-F238E27FC236}">
                <a16:creationId xmlns:a16="http://schemas.microsoft.com/office/drawing/2014/main" id="{251707DE-DC5F-46F1-BAE4-CB915F21A32D}"/>
              </a:ext>
            </a:extLst>
          </p:cNvPr>
          <p:cNvSpPr txBox="1">
            <a:spLocks/>
          </p:cNvSpPr>
          <p:nvPr/>
        </p:nvSpPr>
        <p:spPr>
          <a:xfrm>
            <a:off x="6330217" y="2623062"/>
            <a:ext cx="648000" cy="144000"/>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Cloud-Speicher</a:t>
            </a:r>
          </a:p>
        </p:txBody>
      </p:sp>
      <p:sp>
        <p:nvSpPr>
          <p:cNvPr id="1086" name="Textfeld 1085">
            <a:extLst>
              <a:ext uri="{FF2B5EF4-FFF2-40B4-BE49-F238E27FC236}">
                <a16:creationId xmlns:a16="http://schemas.microsoft.com/office/drawing/2014/main" id="{3148FA43-120B-46D2-BA5B-E43F941D1434}"/>
              </a:ext>
            </a:extLst>
          </p:cNvPr>
          <p:cNvSpPr txBox="1"/>
          <p:nvPr/>
        </p:nvSpPr>
        <p:spPr>
          <a:xfrm>
            <a:off x="7426576" y="2619997"/>
            <a:ext cx="1234880" cy="422158"/>
          </a:xfrm>
          <a:prstGeom prst="rect">
            <a:avLst/>
          </a:prstGeom>
          <a:noFill/>
        </p:spPr>
        <p:txBody>
          <a:bodyPr wrap="none" lIns="36000" tIns="36000" rIns="36000" bIns="36000" rtlCol="0">
            <a:spAutoFit/>
          </a:bodyPr>
          <a:lstStyle>
            <a:defPPr>
              <a:defRPr lang="en-US"/>
            </a:defPPr>
            <a:lvl1pPr algn="ctr">
              <a:lnSpc>
                <a:spcPct val="150000"/>
              </a:lnSpc>
              <a:defRPr sz="800">
                <a:latin typeface="+mn-lt"/>
                <a:cs typeface="Arial" panose="020B0604020202020204" pitchFamily="34" charset="0"/>
              </a:defRPr>
            </a:lvl1pPr>
          </a:lstStyle>
          <a:p>
            <a:r>
              <a:rPr lang="de-DE" dirty="0"/>
              <a:t>Digitale </a:t>
            </a:r>
            <a:r>
              <a:rPr lang="de-DE" dirty="0" err="1"/>
              <a:t>Bescheidzustellung</a:t>
            </a:r>
            <a:r>
              <a:rPr lang="de-DE" dirty="0"/>
              <a:t> </a:t>
            </a:r>
          </a:p>
          <a:p>
            <a:r>
              <a:rPr lang="de-DE" dirty="0"/>
              <a:t>mit </a:t>
            </a:r>
            <a:r>
              <a:rPr lang="de-DE" dirty="0">
                <a:cs typeface="+mn-cs"/>
              </a:rPr>
              <a:t>Nutzerkonto (</a:t>
            </a:r>
            <a:r>
              <a:rPr lang="de-DE" dirty="0"/>
              <a:t>§</a:t>
            </a:r>
            <a:r>
              <a:rPr lang="de-DE" dirty="0">
                <a:cs typeface="+mn-cs"/>
              </a:rPr>
              <a:t> 9 </a:t>
            </a:r>
            <a:r>
              <a:rPr lang="de-DE" dirty="0"/>
              <a:t>OZG)</a:t>
            </a:r>
          </a:p>
        </p:txBody>
      </p:sp>
      <p:sp>
        <p:nvSpPr>
          <p:cNvPr id="1087" name="Textfeld 1086">
            <a:extLst>
              <a:ext uri="{FF2B5EF4-FFF2-40B4-BE49-F238E27FC236}">
                <a16:creationId xmlns:a16="http://schemas.microsoft.com/office/drawing/2014/main" id="{7785ADD1-51AA-4E52-AE66-DA9E7C30A9E6}"/>
              </a:ext>
            </a:extLst>
          </p:cNvPr>
          <p:cNvSpPr txBox="1"/>
          <p:nvPr/>
        </p:nvSpPr>
        <p:spPr>
          <a:xfrm>
            <a:off x="7180516" y="2185844"/>
            <a:ext cx="1727002" cy="422992"/>
          </a:xfrm>
          <a:prstGeom prst="rect">
            <a:avLst/>
          </a:prstGeom>
          <a:noFill/>
        </p:spPr>
        <p:txBody>
          <a:bodyPr wrap="none" lIns="36000" tIns="36000" rIns="36000" bIns="36000" rtlCol="0">
            <a:spAutoFit/>
          </a:bodyPr>
          <a:lstStyle/>
          <a:p>
            <a:pPr algn="ctr">
              <a:lnSpc>
                <a:spcPct val="150000"/>
              </a:lnSpc>
            </a:pPr>
            <a:r>
              <a:rPr lang="de-DE" sz="800" dirty="0">
                <a:cs typeface="Arial" panose="020B0604020202020204" pitchFamily="34" charset="0"/>
              </a:rPr>
              <a:t>Digitale </a:t>
            </a:r>
            <a:r>
              <a:rPr lang="de-DE" sz="800" dirty="0" err="1">
                <a:cs typeface="Arial" panose="020B0604020202020204" pitchFamily="34" charset="0"/>
              </a:rPr>
              <a:t>Bescheidzustellung</a:t>
            </a:r>
            <a:r>
              <a:rPr lang="de-DE" sz="800" dirty="0">
                <a:cs typeface="Arial" panose="020B0604020202020204" pitchFamily="34" charset="0"/>
              </a:rPr>
              <a:t> </a:t>
            </a:r>
          </a:p>
          <a:p>
            <a:pPr algn="ctr">
              <a:lnSpc>
                <a:spcPct val="150000"/>
              </a:lnSpc>
            </a:pPr>
            <a:r>
              <a:rPr lang="de-DE" sz="800" dirty="0">
                <a:cs typeface="Arial" panose="020B0604020202020204" pitchFamily="34" charset="0"/>
              </a:rPr>
              <a:t>ohne </a:t>
            </a:r>
            <a:r>
              <a:rPr lang="de-DE" sz="800" dirty="0"/>
              <a:t>Nutzerkonto (§ 41 Abs. 2a VwVfG</a:t>
            </a:r>
            <a:r>
              <a:rPr lang="de-DE" sz="800" dirty="0">
                <a:cs typeface="Arial" panose="020B0604020202020204" pitchFamily="34" charset="0"/>
              </a:rPr>
              <a:t>)</a:t>
            </a:r>
          </a:p>
        </p:txBody>
      </p:sp>
      <p:sp>
        <p:nvSpPr>
          <p:cNvPr id="1088" name="Textfeld 1087">
            <a:extLst>
              <a:ext uri="{FF2B5EF4-FFF2-40B4-BE49-F238E27FC236}">
                <a16:creationId xmlns:a16="http://schemas.microsoft.com/office/drawing/2014/main" id="{25534C80-FF68-4093-93C9-9A91456750FD}"/>
              </a:ext>
            </a:extLst>
          </p:cNvPr>
          <p:cNvSpPr txBox="1"/>
          <p:nvPr/>
        </p:nvSpPr>
        <p:spPr>
          <a:xfrm>
            <a:off x="2613175" y="1943732"/>
            <a:ext cx="6494894"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Bescheidzustellung per Post (falls keine Zustimmung zur elektronischen Bescheidung oder digitale Bescheidung über § 41 Abs. 2a VwVfG nicht erfolgreich)</a:t>
            </a:r>
          </a:p>
        </p:txBody>
      </p:sp>
      <p:sp>
        <p:nvSpPr>
          <p:cNvPr id="1089" name="Textfeld 1088">
            <a:extLst>
              <a:ext uri="{FF2B5EF4-FFF2-40B4-BE49-F238E27FC236}">
                <a16:creationId xmlns:a16="http://schemas.microsoft.com/office/drawing/2014/main" id="{DCA6CD1C-E641-4F7C-94CD-1024EAD2F57F}"/>
              </a:ext>
            </a:extLst>
          </p:cNvPr>
          <p:cNvSpPr txBox="1">
            <a:spLocks/>
          </p:cNvSpPr>
          <p:nvPr/>
        </p:nvSpPr>
        <p:spPr>
          <a:xfrm>
            <a:off x="3044445"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t>Nutzer-</a:t>
            </a:r>
          </a:p>
          <a:p>
            <a:pPr algn="ctr" fontAlgn="base">
              <a:spcBef>
                <a:spcPct val="0"/>
              </a:spcBef>
              <a:spcAft>
                <a:spcPct val="0"/>
              </a:spcAft>
            </a:pPr>
            <a:r>
              <a:rPr lang="de-DE" sz="800" dirty="0" err="1"/>
              <a:t>identifikation</a:t>
            </a:r>
            <a:endParaRPr lang="de-DE" sz="800" dirty="0"/>
          </a:p>
        </p:txBody>
      </p:sp>
      <p:grpSp>
        <p:nvGrpSpPr>
          <p:cNvPr id="1090" name="Gruppieren 1089">
            <a:extLst>
              <a:ext uri="{FF2B5EF4-FFF2-40B4-BE49-F238E27FC236}">
                <a16:creationId xmlns:a16="http://schemas.microsoft.com/office/drawing/2014/main" id="{3560F711-E81B-4260-AEB5-B6737D288442}"/>
              </a:ext>
            </a:extLst>
          </p:cNvPr>
          <p:cNvGrpSpPr/>
          <p:nvPr/>
        </p:nvGrpSpPr>
        <p:grpSpPr>
          <a:xfrm>
            <a:off x="3224486" y="4794795"/>
            <a:ext cx="509529" cy="409822"/>
            <a:chOff x="2306443" y="3955392"/>
            <a:chExt cx="582407" cy="580244"/>
          </a:xfrm>
        </p:grpSpPr>
        <p:grpSp>
          <p:nvGrpSpPr>
            <p:cNvPr id="1091" name="Gruppieren 1090">
              <a:extLst>
                <a:ext uri="{FF2B5EF4-FFF2-40B4-BE49-F238E27FC236}">
                  <a16:creationId xmlns:a16="http://schemas.microsoft.com/office/drawing/2014/main" id="{4924D4F0-487A-42F0-AD2F-79122091A5BD}"/>
                </a:ext>
              </a:extLst>
            </p:cNvPr>
            <p:cNvGrpSpPr>
              <a:grpSpLocks noChangeAspect="1"/>
            </p:cNvGrpSpPr>
            <p:nvPr/>
          </p:nvGrpSpPr>
          <p:grpSpPr>
            <a:xfrm>
              <a:off x="2306443" y="3955392"/>
              <a:ext cx="457445" cy="571806"/>
              <a:chOff x="1384220" y="4721915"/>
              <a:chExt cx="457200" cy="571500"/>
            </a:xfrm>
          </p:grpSpPr>
          <p:sp>
            <p:nvSpPr>
              <p:cNvPr id="1095" name="Freihandform: Form 538">
                <a:extLst>
                  <a:ext uri="{FF2B5EF4-FFF2-40B4-BE49-F238E27FC236}">
                    <a16:creationId xmlns:a16="http://schemas.microsoft.com/office/drawing/2014/main" id="{1F486ABD-79DD-43E8-BB01-07A7C62FCC59}"/>
                  </a:ext>
                </a:extLst>
              </p:cNvPr>
              <p:cNvSpPr/>
              <p:nvPr/>
            </p:nvSpPr>
            <p:spPr>
              <a:xfrm>
                <a:off x="1384220" y="4721915"/>
                <a:ext cx="457200" cy="571500"/>
              </a:xfrm>
              <a:custGeom>
                <a:avLst/>
                <a:gdLst>
                  <a:gd name="connsiteX0" fmla="*/ 266700 w 457200"/>
                  <a:gd name="connsiteY0" fmla="*/ 571500 h 571500"/>
                  <a:gd name="connsiteX1" fmla="*/ 0 w 457200"/>
                  <a:gd name="connsiteY1" fmla="*/ 571500 h 571500"/>
                  <a:gd name="connsiteX2" fmla="*/ 0 w 457200"/>
                  <a:gd name="connsiteY2" fmla="*/ 0 h 571500"/>
                  <a:gd name="connsiteX3" fmla="*/ 457200 w 457200"/>
                  <a:gd name="connsiteY3" fmla="*/ 0 h 571500"/>
                  <a:gd name="connsiteX4" fmla="*/ 457200 w 457200"/>
                  <a:gd name="connsiteY4" fmla="*/ 28575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571500">
                    <a:moveTo>
                      <a:pt x="266700" y="571500"/>
                    </a:moveTo>
                    <a:lnTo>
                      <a:pt x="0" y="571500"/>
                    </a:lnTo>
                    <a:lnTo>
                      <a:pt x="0" y="0"/>
                    </a:lnTo>
                    <a:lnTo>
                      <a:pt x="457200" y="0"/>
                    </a:lnTo>
                    <a:lnTo>
                      <a:pt x="457200" y="28575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096" name="Freihandform: Form 539">
                <a:extLst>
                  <a:ext uri="{FF2B5EF4-FFF2-40B4-BE49-F238E27FC236}">
                    <a16:creationId xmlns:a16="http://schemas.microsoft.com/office/drawing/2014/main" id="{870C4CBD-00DE-456B-9051-CF401065AF4F}"/>
                  </a:ext>
                </a:extLst>
              </p:cNvPr>
              <p:cNvSpPr/>
              <p:nvPr/>
            </p:nvSpPr>
            <p:spPr>
              <a:xfrm>
                <a:off x="1584245" y="485526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97" name="Freihandform: Form 540">
                <a:extLst>
                  <a:ext uri="{FF2B5EF4-FFF2-40B4-BE49-F238E27FC236}">
                    <a16:creationId xmlns:a16="http://schemas.microsoft.com/office/drawing/2014/main" id="{8268318C-AD14-4F80-8C09-4D00066B833F}"/>
                  </a:ext>
                </a:extLst>
              </p:cNvPr>
              <p:cNvSpPr/>
              <p:nvPr/>
            </p:nvSpPr>
            <p:spPr>
              <a:xfrm>
                <a:off x="1488995" y="5141015"/>
                <a:ext cx="123825" cy="9525"/>
              </a:xfrm>
              <a:custGeom>
                <a:avLst/>
                <a:gdLst>
                  <a:gd name="connsiteX0" fmla="*/ 0 w 123825"/>
                  <a:gd name="connsiteY0" fmla="*/ 0 h 9525"/>
                  <a:gd name="connsiteX1" fmla="*/ 123825 w 123825"/>
                  <a:gd name="connsiteY1" fmla="*/ 0 h 9525"/>
                </a:gdLst>
                <a:ahLst/>
                <a:cxnLst>
                  <a:cxn ang="0">
                    <a:pos x="connsiteX0" y="connsiteY0"/>
                  </a:cxn>
                  <a:cxn ang="0">
                    <a:pos x="connsiteX1" y="connsiteY1"/>
                  </a:cxn>
                </a:cxnLst>
                <a:rect l="l" t="t" r="r" b="b"/>
                <a:pathLst>
                  <a:path w="123825" h="9525">
                    <a:moveTo>
                      <a:pt x="0" y="0"/>
                    </a:moveTo>
                    <a:lnTo>
                      <a:pt x="12382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98" name="Freihandform: Form 541">
                <a:extLst>
                  <a:ext uri="{FF2B5EF4-FFF2-40B4-BE49-F238E27FC236}">
                    <a16:creationId xmlns:a16="http://schemas.microsoft.com/office/drawing/2014/main" id="{5E1E6A81-0C0F-4AFF-9001-4629EFA52C66}"/>
                  </a:ext>
                </a:extLst>
              </p:cNvPr>
              <p:cNvSpPr/>
              <p:nvPr/>
            </p:nvSpPr>
            <p:spPr>
              <a:xfrm>
                <a:off x="1488995" y="48552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099" name="Freihandform: Form 542">
                <a:extLst>
                  <a:ext uri="{FF2B5EF4-FFF2-40B4-BE49-F238E27FC236}">
                    <a16:creationId xmlns:a16="http://schemas.microsoft.com/office/drawing/2014/main" id="{A0F88BB5-C5D1-42F3-BED2-8DFFF3C7FD74}"/>
                  </a:ext>
                </a:extLst>
              </p:cNvPr>
              <p:cNvSpPr/>
              <p:nvPr/>
            </p:nvSpPr>
            <p:spPr>
              <a:xfrm>
                <a:off x="1584245" y="4950515"/>
                <a:ext cx="152400" cy="9525"/>
              </a:xfrm>
              <a:custGeom>
                <a:avLst/>
                <a:gdLst>
                  <a:gd name="connsiteX0" fmla="*/ 0 w 152400"/>
                  <a:gd name="connsiteY0" fmla="*/ 0 h 9525"/>
                  <a:gd name="connsiteX1" fmla="*/ 152400 w 152400"/>
                  <a:gd name="connsiteY1" fmla="*/ 0 h 9525"/>
                </a:gdLst>
                <a:ahLst/>
                <a:cxnLst>
                  <a:cxn ang="0">
                    <a:pos x="connsiteX0" y="connsiteY0"/>
                  </a:cxn>
                  <a:cxn ang="0">
                    <a:pos x="connsiteX1" y="connsiteY1"/>
                  </a:cxn>
                </a:cxnLst>
                <a:rect l="l" t="t" r="r" b="b"/>
                <a:pathLst>
                  <a:path w="152400" h="9525">
                    <a:moveTo>
                      <a:pt x="0" y="0"/>
                    </a:moveTo>
                    <a:lnTo>
                      <a:pt x="1524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100" name="Freihandform: Form 543">
                <a:extLst>
                  <a:ext uri="{FF2B5EF4-FFF2-40B4-BE49-F238E27FC236}">
                    <a16:creationId xmlns:a16="http://schemas.microsoft.com/office/drawing/2014/main" id="{DDE95113-FC85-44B7-A041-7C7DAD661A76}"/>
                  </a:ext>
                </a:extLst>
              </p:cNvPr>
              <p:cNvSpPr/>
              <p:nvPr/>
            </p:nvSpPr>
            <p:spPr>
              <a:xfrm>
                <a:off x="1488995" y="495051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101" name="Freihandform: Form 544">
                <a:extLst>
                  <a:ext uri="{FF2B5EF4-FFF2-40B4-BE49-F238E27FC236}">
                    <a16:creationId xmlns:a16="http://schemas.microsoft.com/office/drawing/2014/main" id="{C3E698E0-2440-4D47-8733-00914D0D8EF6}"/>
                  </a:ext>
                </a:extLst>
              </p:cNvPr>
              <p:cNvSpPr/>
              <p:nvPr/>
            </p:nvSpPr>
            <p:spPr>
              <a:xfrm>
                <a:off x="1584245" y="5045765"/>
                <a:ext cx="85725" cy="9525"/>
              </a:xfrm>
              <a:custGeom>
                <a:avLst/>
                <a:gdLst>
                  <a:gd name="connsiteX0" fmla="*/ 0 w 85725"/>
                  <a:gd name="connsiteY0" fmla="*/ 0 h 9525"/>
                  <a:gd name="connsiteX1" fmla="*/ 85725 w 85725"/>
                  <a:gd name="connsiteY1" fmla="*/ 0 h 9525"/>
                </a:gdLst>
                <a:ahLst/>
                <a:cxnLst>
                  <a:cxn ang="0">
                    <a:pos x="connsiteX0" y="connsiteY0"/>
                  </a:cxn>
                  <a:cxn ang="0">
                    <a:pos x="connsiteX1" y="connsiteY1"/>
                  </a:cxn>
                </a:cxnLst>
                <a:rect l="l" t="t" r="r" b="b"/>
                <a:pathLst>
                  <a:path w="85725" h="9525">
                    <a:moveTo>
                      <a:pt x="0" y="0"/>
                    </a:moveTo>
                    <a:lnTo>
                      <a:pt x="85725"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102" name="Freihandform: Form 545">
                <a:extLst>
                  <a:ext uri="{FF2B5EF4-FFF2-40B4-BE49-F238E27FC236}">
                    <a16:creationId xmlns:a16="http://schemas.microsoft.com/office/drawing/2014/main" id="{641B51CE-7126-4C52-84B2-C9C94F7DD795}"/>
                  </a:ext>
                </a:extLst>
              </p:cNvPr>
              <p:cNvSpPr/>
              <p:nvPr/>
            </p:nvSpPr>
            <p:spPr>
              <a:xfrm>
                <a:off x="1488995" y="5045765"/>
                <a:ext cx="28575" cy="9525"/>
              </a:xfrm>
              <a:custGeom>
                <a:avLst/>
                <a:gdLst>
                  <a:gd name="connsiteX0" fmla="*/ 0 w 28575"/>
                  <a:gd name="connsiteY0" fmla="*/ 0 h 9525"/>
                  <a:gd name="connsiteX1" fmla="*/ 28575 w 28575"/>
                  <a:gd name="connsiteY1" fmla="*/ 0 h 9525"/>
                </a:gdLst>
                <a:ahLst/>
                <a:cxnLst>
                  <a:cxn ang="0">
                    <a:pos x="connsiteX0" y="connsiteY0"/>
                  </a:cxn>
                  <a:cxn ang="0">
                    <a:pos x="connsiteX1" y="connsiteY1"/>
                  </a:cxn>
                </a:cxnLst>
                <a:rect l="l" t="t" r="r" b="b"/>
                <a:pathLst>
                  <a:path w="28575" h="9525">
                    <a:moveTo>
                      <a:pt x="0" y="0"/>
                    </a:moveTo>
                    <a:lnTo>
                      <a:pt x="28575" y="0"/>
                    </a:lnTo>
                  </a:path>
                </a:pathLst>
              </a:custGeom>
              <a:ln w="19050" cap="sq">
                <a:solidFill>
                  <a:schemeClr val="accent5"/>
                </a:solidFill>
                <a:prstDash val="solid"/>
                <a:miter/>
              </a:ln>
            </p:spPr>
            <p:txBody>
              <a:bodyPr lIns="36000" tIns="36000" rIns="36000" bIns="36000" rtlCol="0" anchor="ctr"/>
              <a:lstStyle/>
              <a:p>
                <a:endParaRPr lang="de-DE" sz="800" dirty="0"/>
              </a:p>
            </p:txBody>
          </p:sp>
        </p:grpSp>
        <p:grpSp>
          <p:nvGrpSpPr>
            <p:cNvPr id="1092" name="Grafik 43">
              <a:extLst>
                <a:ext uri="{FF2B5EF4-FFF2-40B4-BE49-F238E27FC236}">
                  <a16:creationId xmlns:a16="http://schemas.microsoft.com/office/drawing/2014/main" id="{0C7DAF4B-09A3-4A85-BCA8-F1CE391DF6A3}"/>
                </a:ext>
              </a:extLst>
            </p:cNvPr>
            <p:cNvGrpSpPr>
              <a:grpSpLocks noChangeAspect="1"/>
            </p:cNvGrpSpPr>
            <p:nvPr/>
          </p:nvGrpSpPr>
          <p:grpSpPr>
            <a:xfrm>
              <a:off x="2606957" y="4316339"/>
              <a:ext cx="281893" cy="219297"/>
              <a:chOff x="11059342" y="398073"/>
              <a:chExt cx="419100" cy="362293"/>
            </a:xfrm>
            <a:noFill/>
          </p:grpSpPr>
          <p:sp>
            <p:nvSpPr>
              <p:cNvPr id="1093" name="Freihandform: Form 223">
                <a:extLst>
                  <a:ext uri="{FF2B5EF4-FFF2-40B4-BE49-F238E27FC236}">
                    <a16:creationId xmlns:a16="http://schemas.microsoft.com/office/drawing/2014/main" id="{CDC3531C-18A0-4C9D-A82F-1B5D50B00CAE}"/>
                  </a:ext>
                </a:extLst>
              </p:cNvPr>
              <p:cNvSpPr/>
              <p:nvPr/>
            </p:nvSpPr>
            <p:spPr>
              <a:xfrm>
                <a:off x="11059342" y="445861"/>
                <a:ext cx="266700" cy="314505"/>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9050" cap="sq">
                <a:solidFill>
                  <a:schemeClr val="accent5"/>
                </a:solidFill>
                <a:prstDash val="solid"/>
                <a:miter/>
              </a:ln>
            </p:spPr>
            <p:txBody>
              <a:bodyPr lIns="36000" tIns="36000" rIns="36000" bIns="36000" rtlCol="0" anchor="ctr"/>
              <a:lstStyle/>
              <a:p>
                <a:pPr>
                  <a:defRPr/>
                </a:pPr>
                <a:endParaRPr lang="de-DE" sz="800" kern="0" dirty="0"/>
              </a:p>
            </p:txBody>
          </p:sp>
          <p:sp>
            <p:nvSpPr>
              <p:cNvPr id="1094" name="Freihandform: Form 224">
                <a:extLst>
                  <a:ext uri="{FF2B5EF4-FFF2-40B4-BE49-F238E27FC236}">
                    <a16:creationId xmlns:a16="http://schemas.microsoft.com/office/drawing/2014/main" id="{F7050A8A-3C4E-41A7-A600-B3B601B75A89}"/>
                  </a:ext>
                </a:extLst>
              </p:cNvPr>
              <p:cNvSpPr/>
              <p:nvPr/>
            </p:nvSpPr>
            <p:spPr>
              <a:xfrm>
                <a:off x="11282226" y="398073"/>
                <a:ext cx="196215" cy="362293"/>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9050" cap="sq">
                <a:solidFill>
                  <a:schemeClr val="accent5"/>
                </a:solidFill>
                <a:prstDash val="solid"/>
                <a:miter/>
              </a:ln>
            </p:spPr>
            <p:txBody>
              <a:bodyPr lIns="36000" tIns="36000" rIns="36000" bIns="36000" rtlCol="0" anchor="ctr"/>
              <a:lstStyle/>
              <a:p>
                <a:pPr>
                  <a:defRPr/>
                </a:pPr>
                <a:endParaRPr lang="de-DE" sz="800" kern="0" dirty="0"/>
              </a:p>
            </p:txBody>
          </p:sp>
        </p:grpSp>
      </p:grpSp>
      <p:cxnSp>
        <p:nvCxnSpPr>
          <p:cNvPr id="1103" name="Gerade Verbindung mit Pfeil 1102">
            <a:extLst>
              <a:ext uri="{FF2B5EF4-FFF2-40B4-BE49-F238E27FC236}">
                <a16:creationId xmlns:a16="http://schemas.microsoft.com/office/drawing/2014/main" id="{7B108AA7-CF10-422B-900A-8F8AD1C0D66B}"/>
              </a:ext>
            </a:extLst>
          </p:cNvPr>
          <p:cNvCxnSpPr/>
          <p:nvPr/>
        </p:nvCxnSpPr>
        <p:spPr>
          <a:xfrm>
            <a:off x="2010069" y="5119198"/>
            <a:ext cx="900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04" name="Gerade Verbindung mit Pfeil 1103">
            <a:extLst>
              <a:ext uri="{FF2B5EF4-FFF2-40B4-BE49-F238E27FC236}">
                <a16:creationId xmlns:a16="http://schemas.microsoft.com/office/drawing/2014/main" id="{B2324294-942D-4C26-A53C-FF6E7C932AA7}"/>
              </a:ext>
            </a:extLst>
          </p:cNvPr>
          <p:cNvCxnSpPr/>
          <p:nvPr/>
        </p:nvCxnSpPr>
        <p:spPr>
          <a:xfrm>
            <a:off x="5978417" y="5119198"/>
            <a:ext cx="360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05" name="Gewinkelter Verbinder 70">
            <a:extLst>
              <a:ext uri="{FF2B5EF4-FFF2-40B4-BE49-F238E27FC236}">
                <a16:creationId xmlns:a16="http://schemas.microsoft.com/office/drawing/2014/main" id="{3C56AF19-DBD9-4DBF-AF69-7A8CD0CC1CF6}"/>
              </a:ext>
            </a:extLst>
          </p:cNvPr>
          <p:cNvCxnSpPr>
            <a:cxnSpLocks/>
          </p:cNvCxnSpPr>
          <p:nvPr/>
        </p:nvCxnSpPr>
        <p:spPr>
          <a:xfrm rot="5400000" flipH="1" flipV="1">
            <a:off x="2452702" y="3635585"/>
            <a:ext cx="1789524" cy="212519"/>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1106" name="Grafik 34">
            <a:extLst>
              <a:ext uri="{FF2B5EF4-FFF2-40B4-BE49-F238E27FC236}">
                <a16:creationId xmlns:a16="http://schemas.microsoft.com/office/drawing/2014/main" id="{0AA03E89-9DBA-4015-BB14-0EE8CB96EF18}"/>
              </a:ext>
            </a:extLst>
          </p:cNvPr>
          <p:cNvGrpSpPr>
            <a:grpSpLocks noChangeAspect="1"/>
          </p:cNvGrpSpPr>
          <p:nvPr/>
        </p:nvGrpSpPr>
        <p:grpSpPr>
          <a:xfrm>
            <a:off x="8822134" y="4952245"/>
            <a:ext cx="487004" cy="364656"/>
            <a:chOff x="9429212" y="2483439"/>
            <a:chExt cx="564832" cy="523875"/>
          </a:xfrm>
          <a:noFill/>
        </p:grpSpPr>
        <p:sp>
          <p:nvSpPr>
            <p:cNvPr id="1107" name="Freihandform: Form 204">
              <a:extLst>
                <a:ext uri="{FF2B5EF4-FFF2-40B4-BE49-F238E27FC236}">
                  <a16:creationId xmlns:a16="http://schemas.microsoft.com/office/drawing/2014/main" id="{5A75CC14-20D9-4CA7-AF8B-361278D778B0}"/>
                </a:ext>
              </a:extLst>
            </p:cNvPr>
            <p:cNvSpPr/>
            <p:nvPr/>
          </p:nvSpPr>
          <p:spPr>
            <a:xfrm>
              <a:off x="9486362" y="2483439"/>
              <a:ext cx="457200" cy="304800"/>
            </a:xfrm>
            <a:custGeom>
              <a:avLst/>
              <a:gdLst>
                <a:gd name="connsiteX0" fmla="*/ 0 w 457200"/>
                <a:gd name="connsiteY0" fmla="*/ 304800 h 304800"/>
                <a:gd name="connsiteX1" fmla="*/ 0 w 457200"/>
                <a:gd name="connsiteY1" fmla="*/ 38100 h 304800"/>
                <a:gd name="connsiteX2" fmla="*/ 38100 w 457200"/>
                <a:gd name="connsiteY2" fmla="*/ 0 h 304800"/>
                <a:gd name="connsiteX3" fmla="*/ 419100 w 457200"/>
                <a:gd name="connsiteY3" fmla="*/ 0 h 304800"/>
                <a:gd name="connsiteX4" fmla="*/ 457200 w 457200"/>
                <a:gd name="connsiteY4" fmla="*/ 38100 h 304800"/>
                <a:gd name="connsiteX5" fmla="*/ 457200 w 457200"/>
                <a:gd name="connsiteY5" fmla="*/ 2190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200" h="304800">
                  <a:moveTo>
                    <a:pt x="0" y="304800"/>
                  </a:moveTo>
                  <a:lnTo>
                    <a:pt x="0" y="38100"/>
                  </a:lnTo>
                  <a:cubicBezTo>
                    <a:pt x="0" y="17145"/>
                    <a:pt x="17145" y="0"/>
                    <a:pt x="38100" y="0"/>
                  </a:cubicBezTo>
                  <a:lnTo>
                    <a:pt x="419100" y="0"/>
                  </a:lnTo>
                  <a:cubicBezTo>
                    <a:pt x="440055" y="0"/>
                    <a:pt x="457200" y="17145"/>
                    <a:pt x="457200" y="38100"/>
                  </a:cubicBezTo>
                  <a:lnTo>
                    <a:pt x="457200" y="219075"/>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108" name="Freihandform: Form 205">
              <a:extLst>
                <a:ext uri="{FF2B5EF4-FFF2-40B4-BE49-F238E27FC236}">
                  <a16:creationId xmlns:a16="http://schemas.microsoft.com/office/drawing/2014/main" id="{461F4F3B-3DD3-46A1-9975-5747D1361449}"/>
                </a:ext>
              </a:extLst>
            </p:cNvPr>
            <p:cNvSpPr/>
            <p:nvPr/>
          </p:nvSpPr>
          <p:spPr>
            <a:xfrm>
              <a:off x="9695912" y="2540589"/>
              <a:ext cx="38100" cy="9525"/>
            </a:xfrm>
            <a:custGeom>
              <a:avLst/>
              <a:gdLst>
                <a:gd name="connsiteX0" fmla="*/ 0 w 38100"/>
                <a:gd name="connsiteY0" fmla="*/ 0 h 9525"/>
                <a:gd name="connsiteX1" fmla="*/ 38100 w 38100"/>
                <a:gd name="connsiteY1" fmla="*/ 0 h 9525"/>
              </a:gdLst>
              <a:ahLst/>
              <a:cxnLst>
                <a:cxn ang="0">
                  <a:pos x="connsiteX0" y="connsiteY0"/>
                </a:cxn>
                <a:cxn ang="0">
                  <a:pos x="connsiteX1" y="connsiteY1"/>
                </a:cxn>
              </a:cxnLst>
              <a:rect l="l" t="t" r="r" b="b"/>
              <a:pathLst>
                <a:path w="38100" h="9525">
                  <a:moveTo>
                    <a:pt x="0" y="0"/>
                  </a:moveTo>
                  <a:lnTo>
                    <a:pt x="3810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109" name="Freihandform: Form 206">
              <a:extLst>
                <a:ext uri="{FF2B5EF4-FFF2-40B4-BE49-F238E27FC236}">
                  <a16:creationId xmlns:a16="http://schemas.microsoft.com/office/drawing/2014/main" id="{DF70A71F-5A3C-4F8D-BB11-AE9CD1CB0FDF}"/>
                </a:ext>
              </a:extLst>
            </p:cNvPr>
            <p:cNvSpPr/>
            <p:nvPr/>
          </p:nvSpPr>
          <p:spPr>
            <a:xfrm>
              <a:off x="9429212" y="2845389"/>
              <a:ext cx="266700" cy="76200"/>
            </a:xfrm>
            <a:custGeom>
              <a:avLst/>
              <a:gdLst>
                <a:gd name="connsiteX0" fmla="*/ 266700 w 266700"/>
                <a:gd name="connsiteY0" fmla="*/ 0 h 76200"/>
                <a:gd name="connsiteX1" fmla="*/ 0 w 266700"/>
                <a:gd name="connsiteY1" fmla="*/ 0 h 76200"/>
                <a:gd name="connsiteX2" fmla="*/ 76200 w 266700"/>
                <a:gd name="connsiteY2" fmla="*/ 76200 h 76200"/>
                <a:gd name="connsiteX3" fmla="*/ 266700 w 266700"/>
                <a:gd name="connsiteY3" fmla="*/ 76200 h 76200"/>
              </a:gdLst>
              <a:ahLst/>
              <a:cxnLst>
                <a:cxn ang="0">
                  <a:pos x="connsiteX0" y="connsiteY0"/>
                </a:cxn>
                <a:cxn ang="0">
                  <a:pos x="connsiteX1" y="connsiteY1"/>
                </a:cxn>
                <a:cxn ang="0">
                  <a:pos x="connsiteX2" y="connsiteY2"/>
                </a:cxn>
                <a:cxn ang="0">
                  <a:pos x="connsiteX3" y="connsiteY3"/>
                </a:cxn>
              </a:cxnLst>
              <a:rect l="l" t="t" r="r" b="b"/>
              <a:pathLst>
                <a:path w="266700" h="76200">
                  <a:moveTo>
                    <a:pt x="266700" y="0"/>
                  </a:moveTo>
                  <a:lnTo>
                    <a:pt x="0" y="0"/>
                  </a:lnTo>
                  <a:cubicBezTo>
                    <a:pt x="0" y="41910"/>
                    <a:pt x="34290" y="76200"/>
                    <a:pt x="76200" y="76200"/>
                  </a:cubicBezTo>
                  <a:lnTo>
                    <a:pt x="266700" y="76200"/>
                  </a:lnTo>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110" name="Freihandform: Form 207">
              <a:extLst>
                <a:ext uri="{FF2B5EF4-FFF2-40B4-BE49-F238E27FC236}">
                  <a16:creationId xmlns:a16="http://schemas.microsoft.com/office/drawing/2014/main" id="{67FE174E-EF1B-41F8-80E4-2602E8A30543}"/>
                </a:ext>
              </a:extLst>
            </p:cNvPr>
            <p:cNvSpPr/>
            <p:nvPr/>
          </p:nvSpPr>
          <p:spPr>
            <a:xfrm>
              <a:off x="9848312" y="2854914"/>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111" name="Freihandform: Form 208">
              <a:extLst>
                <a:ext uri="{FF2B5EF4-FFF2-40B4-BE49-F238E27FC236}">
                  <a16:creationId xmlns:a16="http://schemas.microsoft.com/office/drawing/2014/main" id="{19764318-DF6B-4595-AC7A-104C8FF02F23}"/>
                </a:ext>
              </a:extLst>
            </p:cNvPr>
            <p:cNvSpPr/>
            <p:nvPr/>
          </p:nvSpPr>
          <p:spPr>
            <a:xfrm>
              <a:off x="9759729" y="2759664"/>
              <a:ext cx="234314" cy="247650"/>
            </a:xfrm>
            <a:custGeom>
              <a:avLst/>
              <a:gdLst>
                <a:gd name="connsiteX0" fmla="*/ 202883 w 234314"/>
                <a:gd name="connsiteY0" fmla="*/ 123825 h 247650"/>
                <a:gd name="connsiteX1" fmla="*/ 201930 w 234314"/>
                <a:gd name="connsiteY1" fmla="*/ 111443 h 247650"/>
                <a:gd name="connsiteX2" fmla="*/ 234315 w 234314"/>
                <a:gd name="connsiteY2" fmla="*/ 78105 h 247650"/>
                <a:gd name="connsiteX3" fmla="*/ 215265 w 234314"/>
                <a:gd name="connsiteY3" fmla="*/ 44768 h 247650"/>
                <a:gd name="connsiteX4" fmla="*/ 170497 w 234314"/>
                <a:gd name="connsiteY4" fmla="*/ 56198 h 247650"/>
                <a:gd name="connsiteX5" fmla="*/ 149543 w 234314"/>
                <a:gd name="connsiteY5" fmla="*/ 43815 h 247650"/>
                <a:gd name="connsiteX6" fmla="*/ 136208 w 234314"/>
                <a:gd name="connsiteY6" fmla="*/ 0 h 247650"/>
                <a:gd name="connsiteX7" fmla="*/ 98107 w 234314"/>
                <a:gd name="connsiteY7" fmla="*/ 0 h 247650"/>
                <a:gd name="connsiteX8" fmla="*/ 85725 w 234314"/>
                <a:gd name="connsiteY8" fmla="*/ 43815 h 247650"/>
                <a:gd name="connsiteX9" fmla="*/ 64770 w 234314"/>
                <a:gd name="connsiteY9" fmla="*/ 56198 h 247650"/>
                <a:gd name="connsiteX10" fmla="*/ 20002 w 234314"/>
                <a:gd name="connsiteY10" fmla="*/ 44768 h 247650"/>
                <a:gd name="connsiteX11" fmla="*/ 952 w 234314"/>
                <a:gd name="connsiteY11" fmla="*/ 78105 h 247650"/>
                <a:gd name="connsiteX12" fmla="*/ 33338 w 234314"/>
                <a:gd name="connsiteY12" fmla="*/ 111443 h 247650"/>
                <a:gd name="connsiteX13" fmla="*/ 31432 w 234314"/>
                <a:gd name="connsiteY13" fmla="*/ 123825 h 247650"/>
                <a:gd name="connsiteX14" fmla="*/ 32385 w 234314"/>
                <a:gd name="connsiteY14" fmla="*/ 136208 h 247650"/>
                <a:gd name="connsiteX15" fmla="*/ 0 w 234314"/>
                <a:gd name="connsiteY15" fmla="*/ 169545 h 247650"/>
                <a:gd name="connsiteX16" fmla="*/ 19050 w 234314"/>
                <a:gd name="connsiteY16" fmla="*/ 202883 h 247650"/>
                <a:gd name="connsiteX17" fmla="*/ 63818 w 234314"/>
                <a:gd name="connsiteY17" fmla="*/ 191452 h 247650"/>
                <a:gd name="connsiteX18" fmla="*/ 84772 w 234314"/>
                <a:gd name="connsiteY18" fmla="*/ 203835 h 247650"/>
                <a:gd name="connsiteX19" fmla="*/ 98107 w 234314"/>
                <a:gd name="connsiteY19" fmla="*/ 247650 h 247650"/>
                <a:gd name="connsiteX20" fmla="*/ 136208 w 234314"/>
                <a:gd name="connsiteY20" fmla="*/ 247650 h 247650"/>
                <a:gd name="connsiteX21" fmla="*/ 148590 w 234314"/>
                <a:gd name="connsiteY21" fmla="*/ 203835 h 247650"/>
                <a:gd name="connsiteX22" fmla="*/ 169545 w 234314"/>
                <a:gd name="connsiteY22" fmla="*/ 191452 h 247650"/>
                <a:gd name="connsiteX23" fmla="*/ 214313 w 234314"/>
                <a:gd name="connsiteY23" fmla="*/ 202883 h 247650"/>
                <a:gd name="connsiteX24" fmla="*/ 233363 w 234314"/>
                <a:gd name="connsiteY24" fmla="*/ 169545 h 247650"/>
                <a:gd name="connsiteX25" fmla="*/ 200977 w 234314"/>
                <a:gd name="connsiteY25" fmla="*/ 136208 h 247650"/>
                <a:gd name="connsiteX26" fmla="*/ 202883 w 234314"/>
                <a:gd name="connsiteY26" fmla="*/ 12382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4314" h="247650">
                  <a:moveTo>
                    <a:pt x="202883" y="123825"/>
                  </a:moveTo>
                  <a:cubicBezTo>
                    <a:pt x="202883" y="120015"/>
                    <a:pt x="202883" y="115252"/>
                    <a:pt x="201930" y="111443"/>
                  </a:cubicBezTo>
                  <a:lnTo>
                    <a:pt x="234315" y="78105"/>
                  </a:lnTo>
                  <a:lnTo>
                    <a:pt x="215265" y="44768"/>
                  </a:lnTo>
                  <a:lnTo>
                    <a:pt x="170497" y="56198"/>
                  </a:lnTo>
                  <a:cubicBezTo>
                    <a:pt x="163830" y="51435"/>
                    <a:pt x="157163" y="46673"/>
                    <a:pt x="149543" y="43815"/>
                  </a:cubicBezTo>
                  <a:lnTo>
                    <a:pt x="136208" y="0"/>
                  </a:lnTo>
                  <a:lnTo>
                    <a:pt x="98107" y="0"/>
                  </a:lnTo>
                  <a:lnTo>
                    <a:pt x="85725" y="43815"/>
                  </a:lnTo>
                  <a:cubicBezTo>
                    <a:pt x="78105" y="46673"/>
                    <a:pt x="70485" y="51435"/>
                    <a:pt x="64770" y="56198"/>
                  </a:cubicBezTo>
                  <a:lnTo>
                    <a:pt x="20002" y="44768"/>
                  </a:lnTo>
                  <a:lnTo>
                    <a:pt x="952" y="78105"/>
                  </a:lnTo>
                  <a:lnTo>
                    <a:pt x="33338" y="111443"/>
                  </a:lnTo>
                  <a:cubicBezTo>
                    <a:pt x="31432" y="115252"/>
                    <a:pt x="31432" y="120015"/>
                    <a:pt x="31432" y="123825"/>
                  </a:cubicBezTo>
                  <a:cubicBezTo>
                    <a:pt x="31432" y="127635"/>
                    <a:pt x="31432" y="132398"/>
                    <a:pt x="32385" y="136208"/>
                  </a:cubicBezTo>
                  <a:lnTo>
                    <a:pt x="0" y="169545"/>
                  </a:lnTo>
                  <a:lnTo>
                    <a:pt x="19050" y="202883"/>
                  </a:lnTo>
                  <a:lnTo>
                    <a:pt x="63818" y="191452"/>
                  </a:lnTo>
                  <a:cubicBezTo>
                    <a:pt x="70485" y="196215"/>
                    <a:pt x="77152" y="200977"/>
                    <a:pt x="84772" y="203835"/>
                  </a:cubicBezTo>
                  <a:lnTo>
                    <a:pt x="98107" y="247650"/>
                  </a:lnTo>
                  <a:lnTo>
                    <a:pt x="136208" y="247650"/>
                  </a:lnTo>
                  <a:lnTo>
                    <a:pt x="148590" y="203835"/>
                  </a:lnTo>
                  <a:cubicBezTo>
                    <a:pt x="156210" y="200977"/>
                    <a:pt x="163830" y="196215"/>
                    <a:pt x="169545" y="191452"/>
                  </a:cubicBezTo>
                  <a:lnTo>
                    <a:pt x="214313" y="202883"/>
                  </a:lnTo>
                  <a:lnTo>
                    <a:pt x="233363" y="169545"/>
                  </a:lnTo>
                  <a:lnTo>
                    <a:pt x="200977" y="136208"/>
                  </a:lnTo>
                  <a:cubicBezTo>
                    <a:pt x="202883" y="132398"/>
                    <a:pt x="202883" y="127635"/>
                    <a:pt x="202883" y="123825"/>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grpSp>
      <p:cxnSp>
        <p:nvCxnSpPr>
          <p:cNvPr id="1112" name="Gerade Verbindung mit Pfeil 158">
            <a:extLst>
              <a:ext uri="{FF2B5EF4-FFF2-40B4-BE49-F238E27FC236}">
                <a16:creationId xmlns:a16="http://schemas.microsoft.com/office/drawing/2014/main" id="{B09D4445-6495-4805-8877-32FB294F2EAC}"/>
              </a:ext>
            </a:extLst>
          </p:cNvPr>
          <p:cNvCxnSpPr>
            <a:stCxn id="1164" idx="2"/>
          </p:cNvCxnSpPr>
          <p:nvPr/>
        </p:nvCxnSpPr>
        <p:spPr>
          <a:xfrm rot="5400000">
            <a:off x="8890512" y="5189537"/>
            <a:ext cx="199652" cy="1009013"/>
          </a:xfrm>
          <a:prstGeom prst="bentConnector2">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113" name="Grafik 22">
            <a:extLst>
              <a:ext uri="{FF2B5EF4-FFF2-40B4-BE49-F238E27FC236}">
                <a16:creationId xmlns:a16="http://schemas.microsoft.com/office/drawing/2014/main" id="{52298DEA-FF27-47AA-A5ED-E006D8171337}"/>
              </a:ext>
            </a:extLst>
          </p:cNvPr>
          <p:cNvGrpSpPr>
            <a:grpSpLocks noChangeAspect="1"/>
          </p:cNvGrpSpPr>
          <p:nvPr/>
        </p:nvGrpSpPr>
        <p:grpSpPr>
          <a:xfrm rot="5400000">
            <a:off x="8715368" y="5742294"/>
            <a:ext cx="202850" cy="395393"/>
            <a:chOff x="4545058" y="2924175"/>
            <a:chExt cx="403556" cy="571500"/>
          </a:xfrm>
          <a:noFill/>
        </p:grpSpPr>
        <p:sp>
          <p:nvSpPr>
            <p:cNvPr id="1114" name="Freihandform: Form 116">
              <a:extLst>
                <a:ext uri="{FF2B5EF4-FFF2-40B4-BE49-F238E27FC236}">
                  <a16:creationId xmlns:a16="http://schemas.microsoft.com/office/drawing/2014/main" id="{097D0D26-C73B-4C54-837C-1935A62BB219}"/>
                </a:ext>
              </a:extLst>
            </p:cNvPr>
            <p:cNvSpPr/>
            <p:nvPr/>
          </p:nvSpPr>
          <p:spPr>
            <a:xfrm>
              <a:off x="4726033" y="3438525"/>
              <a:ext cx="209550" cy="57150"/>
            </a:xfrm>
            <a:custGeom>
              <a:avLst/>
              <a:gdLst>
                <a:gd name="connsiteX0" fmla="*/ 0 w 209550"/>
                <a:gd name="connsiteY0" fmla="*/ 0 h 57150"/>
                <a:gd name="connsiteX1" fmla="*/ 209550 w 209550"/>
                <a:gd name="connsiteY1" fmla="*/ 0 h 57150"/>
                <a:gd name="connsiteX2" fmla="*/ 209550 w 209550"/>
                <a:gd name="connsiteY2" fmla="*/ 57150 h 57150"/>
                <a:gd name="connsiteX3" fmla="*/ 0 w 209550"/>
                <a:gd name="connsiteY3" fmla="*/ 57150 h 57150"/>
              </a:gdLst>
              <a:ahLst/>
              <a:cxnLst>
                <a:cxn ang="0">
                  <a:pos x="connsiteX0" y="connsiteY0"/>
                </a:cxn>
                <a:cxn ang="0">
                  <a:pos x="connsiteX1" y="connsiteY1"/>
                </a:cxn>
                <a:cxn ang="0">
                  <a:pos x="connsiteX2" y="connsiteY2"/>
                </a:cxn>
                <a:cxn ang="0">
                  <a:pos x="connsiteX3" y="connsiteY3"/>
                </a:cxn>
              </a:cxnLst>
              <a:rect l="l" t="t" r="r" b="b"/>
              <a:pathLst>
                <a:path w="209550" h="57150">
                  <a:moveTo>
                    <a:pt x="0" y="0"/>
                  </a:moveTo>
                  <a:lnTo>
                    <a:pt x="209550" y="0"/>
                  </a:lnTo>
                  <a:lnTo>
                    <a:pt x="209550" y="57150"/>
                  </a:lnTo>
                  <a:lnTo>
                    <a:pt x="0" y="57150"/>
                  </a:lnTo>
                  <a:close/>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sp>
          <p:nvSpPr>
            <p:cNvPr id="1115" name="Freihandform: Form 117">
              <a:extLst>
                <a:ext uri="{FF2B5EF4-FFF2-40B4-BE49-F238E27FC236}">
                  <a16:creationId xmlns:a16="http://schemas.microsoft.com/office/drawing/2014/main" id="{75E9AA7C-B10A-4776-A845-D31BEF3C6592}"/>
                </a:ext>
              </a:extLst>
            </p:cNvPr>
            <p:cNvSpPr/>
            <p:nvPr/>
          </p:nvSpPr>
          <p:spPr>
            <a:xfrm>
              <a:off x="4830808" y="3019425"/>
              <a:ext cx="117806" cy="419100"/>
            </a:xfrm>
            <a:custGeom>
              <a:avLst/>
              <a:gdLst>
                <a:gd name="connsiteX0" fmla="*/ 76200 w 117806"/>
                <a:gd name="connsiteY0" fmla="*/ 419100 h 419100"/>
                <a:gd name="connsiteX1" fmla="*/ 113348 w 117806"/>
                <a:gd name="connsiteY1" fmla="*/ 292418 h 419100"/>
                <a:gd name="connsiteX2" fmla="*/ 111443 w 117806"/>
                <a:gd name="connsiteY2" fmla="*/ 222885 h 419100"/>
                <a:gd name="connsiteX3" fmla="*/ 50482 w 117806"/>
                <a:gd name="connsiteY3" fmla="*/ 46672 h 419100"/>
                <a:gd name="connsiteX4" fmla="*/ 0 w 117806"/>
                <a:gd name="connsiteY4" fmla="*/ 0 h 419100"/>
                <a:gd name="connsiteX5" fmla="*/ 0 w 117806"/>
                <a:gd name="connsiteY5" fmla="*/ 0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806" h="419100">
                  <a:moveTo>
                    <a:pt x="76200" y="419100"/>
                  </a:moveTo>
                  <a:lnTo>
                    <a:pt x="113348" y="292418"/>
                  </a:lnTo>
                  <a:cubicBezTo>
                    <a:pt x="120015" y="269558"/>
                    <a:pt x="119063" y="244793"/>
                    <a:pt x="111443" y="222885"/>
                  </a:cubicBezTo>
                  <a:lnTo>
                    <a:pt x="50482" y="46672"/>
                  </a:lnTo>
                  <a:cubicBezTo>
                    <a:pt x="42863" y="23813"/>
                    <a:pt x="22860" y="5715"/>
                    <a:pt x="0" y="0"/>
                  </a:cubicBezTo>
                  <a:lnTo>
                    <a:pt x="0" y="0"/>
                  </a:ln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sp>
          <p:nvSpPr>
            <p:cNvPr id="1116" name="Freihandform: Form 118">
              <a:extLst>
                <a:ext uri="{FF2B5EF4-FFF2-40B4-BE49-F238E27FC236}">
                  <a16:creationId xmlns:a16="http://schemas.microsoft.com/office/drawing/2014/main" id="{B0C5507C-DE9C-4C30-B3C3-D6A5711918C0}"/>
                </a:ext>
              </a:extLst>
            </p:cNvPr>
            <p:cNvSpPr/>
            <p:nvPr/>
          </p:nvSpPr>
          <p:spPr>
            <a:xfrm>
              <a:off x="4716508" y="3181350"/>
              <a:ext cx="76200" cy="257175"/>
            </a:xfrm>
            <a:custGeom>
              <a:avLst/>
              <a:gdLst>
                <a:gd name="connsiteX0" fmla="*/ 76200 w 76200"/>
                <a:gd name="connsiteY0" fmla="*/ 133350 h 257175"/>
                <a:gd name="connsiteX1" fmla="*/ 76200 w 76200"/>
                <a:gd name="connsiteY1" fmla="*/ 38100 h 257175"/>
                <a:gd name="connsiteX2" fmla="*/ 38100 w 76200"/>
                <a:gd name="connsiteY2" fmla="*/ 0 h 257175"/>
                <a:gd name="connsiteX3" fmla="*/ 38100 w 76200"/>
                <a:gd name="connsiteY3" fmla="*/ 0 h 257175"/>
                <a:gd name="connsiteX4" fmla="*/ 0 w 76200"/>
                <a:gd name="connsiteY4" fmla="*/ 38100 h 257175"/>
                <a:gd name="connsiteX5" fmla="*/ 0 w 76200"/>
                <a:gd name="connsiteY5" fmla="*/ 161925 h 257175"/>
                <a:gd name="connsiteX6" fmla="*/ 57150 w 76200"/>
                <a:gd name="connsiteY6"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257175">
                  <a:moveTo>
                    <a:pt x="76200" y="133350"/>
                  </a:moveTo>
                  <a:lnTo>
                    <a:pt x="76200" y="38100"/>
                  </a:lnTo>
                  <a:cubicBezTo>
                    <a:pt x="76200" y="17145"/>
                    <a:pt x="59055" y="0"/>
                    <a:pt x="38100" y="0"/>
                  </a:cubicBezTo>
                  <a:lnTo>
                    <a:pt x="38100" y="0"/>
                  </a:lnTo>
                  <a:cubicBezTo>
                    <a:pt x="17145" y="0"/>
                    <a:pt x="0" y="17145"/>
                    <a:pt x="0" y="38100"/>
                  </a:cubicBezTo>
                  <a:lnTo>
                    <a:pt x="0" y="161925"/>
                  </a:lnTo>
                  <a:cubicBezTo>
                    <a:pt x="0" y="219075"/>
                    <a:pt x="57150" y="257175"/>
                    <a:pt x="57150" y="257175"/>
                  </a:cubicBezTo>
                </a:path>
              </a:pathLst>
            </a:custGeom>
            <a:noFill/>
            <a:ln w="19050" cap="flat">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sp>
          <p:nvSpPr>
            <p:cNvPr id="1117" name="Freihandform: Form 119">
              <a:extLst>
                <a:ext uri="{FF2B5EF4-FFF2-40B4-BE49-F238E27FC236}">
                  <a16:creationId xmlns:a16="http://schemas.microsoft.com/office/drawing/2014/main" id="{2963C74D-6229-4C25-A9AF-B0B0CD038446}"/>
                </a:ext>
              </a:extLst>
            </p:cNvPr>
            <p:cNvSpPr/>
            <p:nvPr/>
          </p:nvSpPr>
          <p:spPr>
            <a:xfrm>
              <a:off x="4545058" y="2924175"/>
              <a:ext cx="285750" cy="381000"/>
            </a:xfrm>
            <a:custGeom>
              <a:avLst/>
              <a:gdLst>
                <a:gd name="connsiteX0" fmla="*/ 285750 w 285750"/>
                <a:gd name="connsiteY0" fmla="*/ 247650 h 381000"/>
                <a:gd name="connsiteX1" fmla="*/ 285750 w 285750"/>
                <a:gd name="connsiteY1" fmla="*/ 0 h 381000"/>
                <a:gd name="connsiteX2" fmla="*/ 0 w 285750"/>
                <a:gd name="connsiteY2" fmla="*/ 0 h 381000"/>
                <a:gd name="connsiteX3" fmla="*/ 0 w 285750"/>
                <a:gd name="connsiteY3" fmla="*/ 381000 h 381000"/>
                <a:gd name="connsiteX4" fmla="*/ 114300 w 285750"/>
                <a:gd name="connsiteY4" fmla="*/ 38100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0" h="381000">
                  <a:moveTo>
                    <a:pt x="285750" y="247650"/>
                  </a:moveTo>
                  <a:lnTo>
                    <a:pt x="285750" y="0"/>
                  </a:lnTo>
                  <a:lnTo>
                    <a:pt x="0" y="0"/>
                  </a:lnTo>
                  <a:lnTo>
                    <a:pt x="0" y="381000"/>
                  </a:lnTo>
                  <a:lnTo>
                    <a:pt x="114300" y="381000"/>
                  </a:lnTo>
                </a:path>
              </a:pathLst>
            </a:custGeom>
            <a:noFill/>
            <a:ln w="19050" cap="sq">
              <a:solidFill>
                <a:schemeClr val="accent5"/>
              </a:solidFill>
              <a:prstDash val="solid"/>
              <a:miter/>
            </a:ln>
          </p:spPr>
          <p:txBody>
            <a:bodyPr lIns="36000" tIns="36000" rIns="36000" bIns="36000" rtlCol="0"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effectLst/>
                <a:uLnTx/>
                <a:uFillTx/>
                <a:ea typeface="+mn-ea"/>
                <a:cs typeface="+mn-cs"/>
              </a:endParaRPr>
            </a:p>
          </p:txBody>
        </p:sp>
      </p:grpSp>
      <p:sp>
        <p:nvSpPr>
          <p:cNvPr id="1118" name="Textfeld 1117">
            <a:extLst>
              <a:ext uri="{FF2B5EF4-FFF2-40B4-BE49-F238E27FC236}">
                <a16:creationId xmlns:a16="http://schemas.microsoft.com/office/drawing/2014/main" id="{257A5AD0-0B07-49E6-8FA9-5F9A9E7A5843}"/>
              </a:ext>
            </a:extLst>
          </p:cNvPr>
          <p:cNvSpPr txBox="1"/>
          <p:nvPr/>
        </p:nvSpPr>
        <p:spPr>
          <a:xfrm>
            <a:off x="9022727" y="5836266"/>
            <a:ext cx="669020" cy="31892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err="1"/>
              <a:t>ePayment</a:t>
            </a:r>
            <a:endParaRPr lang="de-DE" dirty="0"/>
          </a:p>
          <a:p>
            <a:r>
              <a:rPr lang="de-DE" dirty="0"/>
              <a:t>(nachgelagert)</a:t>
            </a:r>
          </a:p>
        </p:txBody>
      </p:sp>
      <p:grpSp>
        <p:nvGrpSpPr>
          <p:cNvPr id="1119" name="Grafik 42">
            <a:extLst>
              <a:ext uri="{FF2B5EF4-FFF2-40B4-BE49-F238E27FC236}">
                <a16:creationId xmlns:a16="http://schemas.microsoft.com/office/drawing/2014/main" id="{60F1FB0D-204A-40C0-82CB-63434B451EC8}"/>
              </a:ext>
            </a:extLst>
          </p:cNvPr>
          <p:cNvGrpSpPr>
            <a:grpSpLocks noChangeAspect="1"/>
          </p:cNvGrpSpPr>
          <p:nvPr/>
        </p:nvGrpSpPr>
        <p:grpSpPr>
          <a:xfrm>
            <a:off x="11014588" y="4740588"/>
            <a:ext cx="387786" cy="428198"/>
            <a:chOff x="10387519" y="2890680"/>
            <a:chExt cx="476250" cy="571500"/>
          </a:xfrm>
          <a:noFill/>
        </p:grpSpPr>
        <p:sp>
          <p:nvSpPr>
            <p:cNvPr id="1120" name="Freihandform: Form 79">
              <a:extLst>
                <a:ext uri="{FF2B5EF4-FFF2-40B4-BE49-F238E27FC236}">
                  <a16:creationId xmlns:a16="http://schemas.microsoft.com/office/drawing/2014/main" id="{A69C95E3-7E06-42A2-9FC6-5B5D90D3DB83}"/>
                </a:ext>
              </a:extLst>
            </p:cNvPr>
            <p:cNvSpPr/>
            <p:nvPr/>
          </p:nvSpPr>
          <p:spPr>
            <a:xfrm>
              <a:off x="10635169" y="2890680"/>
              <a:ext cx="152400" cy="200025"/>
            </a:xfrm>
            <a:custGeom>
              <a:avLst/>
              <a:gdLst>
                <a:gd name="connsiteX0" fmla="*/ 152400 w 152400"/>
                <a:gd name="connsiteY0" fmla="*/ 0 h 200025"/>
                <a:gd name="connsiteX1" fmla="*/ 152400 w 152400"/>
                <a:gd name="connsiteY1" fmla="*/ 200025 h 200025"/>
                <a:gd name="connsiteX2" fmla="*/ 76200 w 152400"/>
                <a:gd name="connsiteY2" fmla="*/ 152400 h 200025"/>
                <a:gd name="connsiteX3" fmla="*/ 0 w 152400"/>
                <a:gd name="connsiteY3" fmla="*/ 200025 h 200025"/>
                <a:gd name="connsiteX4" fmla="*/ 0 w 152400"/>
                <a:gd name="connsiteY4" fmla="*/ 0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200025">
                  <a:moveTo>
                    <a:pt x="152400" y="0"/>
                  </a:moveTo>
                  <a:lnTo>
                    <a:pt x="152400" y="200025"/>
                  </a:lnTo>
                  <a:lnTo>
                    <a:pt x="76200" y="152400"/>
                  </a:lnTo>
                  <a:lnTo>
                    <a:pt x="0" y="200025"/>
                  </a:lnTo>
                  <a:lnTo>
                    <a:pt x="0" y="0"/>
                  </a:ln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121" name="Freihandform: Form 80">
              <a:extLst>
                <a:ext uri="{FF2B5EF4-FFF2-40B4-BE49-F238E27FC236}">
                  <a16:creationId xmlns:a16="http://schemas.microsoft.com/office/drawing/2014/main" id="{321B8802-6E3B-4437-A836-192D233BE577}"/>
                </a:ext>
              </a:extLst>
            </p:cNvPr>
            <p:cNvSpPr/>
            <p:nvPr/>
          </p:nvSpPr>
          <p:spPr>
            <a:xfrm>
              <a:off x="10463719" y="3405030"/>
              <a:ext cx="400050" cy="9525"/>
            </a:xfrm>
            <a:custGeom>
              <a:avLst/>
              <a:gdLst>
                <a:gd name="connsiteX0" fmla="*/ 400050 w 400050"/>
                <a:gd name="connsiteY0" fmla="*/ 0 h 9525"/>
                <a:gd name="connsiteX1" fmla="*/ 0 w 400050"/>
                <a:gd name="connsiteY1" fmla="*/ 0 h 9525"/>
              </a:gdLst>
              <a:ahLst/>
              <a:cxnLst>
                <a:cxn ang="0">
                  <a:pos x="connsiteX0" y="connsiteY0"/>
                </a:cxn>
                <a:cxn ang="0">
                  <a:pos x="connsiteX1" y="connsiteY1"/>
                </a:cxn>
              </a:cxnLst>
              <a:rect l="l" t="t" r="r" b="b"/>
              <a:pathLst>
                <a:path w="400050" h="9525">
                  <a:moveTo>
                    <a:pt x="400050" y="0"/>
                  </a:moveTo>
                  <a:lnTo>
                    <a:pt x="0" y="0"/>
                  </a:lnTo>
                </a:path>
              </a:pathLst>
            </a:custGeom>
            <a:ln w="19050" cap="sq">
              <a:solidFill>
                <a:schemeClr val="accent5"/>
              </a:solidFill>
              <a:prstDash val="solid"/>
              <a:miter/>
            </a:ln>
          </p:spPr>
          <p:txBody>
            <a:bodyPr lIns="36000" tIns="36000" rIns="36000" bIns="36000" rtlCol="0" anchor="ctr"/>
            <a:lstStyle/>
            <a:p>
              <a:endParaRPr lang="de-DE" sz="800" dirty="0"/>
            </a:p>
          </p:txBody>
        </p:sp>
        <p:sp>
          <p:nvSpPr>
            <p:cNvPr id="1122" name="Freihandform: Form 81">
              <a:extLst>
                <a:ext uri="{FF2B5EF4-FFF2-40B4-BE49-F238E27FC236}">
                  <a16:creationId xmlns:a16="http://schemas.microsoft.com/office/drawing/2014/main" id="{BC051EEE-7F71-4E7A-86C2-5A1457AF7812}"/>
                </a:ext>
              </a:extLst>
            </p:cNvPr>
            <p:cNvSpPr/>
            <p:nvPr/>
          </p:nvSpPr>
          <p:spPr>
            <a:xfrm>
              <a:off x="10387519" y="2890680"/>
              <a:ext cx="476250" cy="514350"/>
            </a:xfrm>
            <a:custGeom>
              <a:avLst/>
              <a:gdLst>
                <a:gd name="connsiteX0" fmla="*/ 476250 w 476250"/>
                <a:gd name="connsiteY0" fmla="*/ 457200 h 514350"/>
                <a:gd name="connsiteX1" fmla="*/ 476250 w 476250"/>
                <a:gd name="connsiteY1" fmla="*/ 0 h 514350"/>
                <a:gd name="connsiteX2" fmla="*/ 57150 w 476250"/>
                <a:gd name="connsiteY2" fmla="*/ 0 h 514350"/>
                <a:gd name="connsiteX3" fmla="*/ 0 w 476250"/>
                <a:gd name="connsiteY3" fmla="*/ 57150 h 514350"/>
                <a:gd name="connsiteX4" fmla="*/ 0 w 476250"/>
                <a:gd name="connsiteY4" fmla="*/ 51435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514350">
                  <a:moveTo>
                    <a:pt x="476250" y="457200"/>
                  </a:moveTo>
                  <a:lnTo>
                    <a:pt x="476250" y="0"/>
                  </a:lnTo>
                  <a:lnTo>
                    <a:pt x="57150" y="0"/>
                  </a:lnTo>
                  <a:cubicBezTo>
                    <a:pt x="25718" y="0"/>
                    <a:pt x="0" y="25718"/>
                    <a:pt x="0" y="57150"/>
                  </a:cubicBezTo>
                  <a:lnTo>
                    <a:pt x="0" y="514350"/>
                  </a:lnTo>
                </a:path>
              </a:pathLst>
            </a:custGeom>
            <a:noFill/>
            <a:ln w="19050" cap="flat">
              <a:solidFill>
                <a:schemeClr val="accent5"/>
              </a:solidFill>
              <a:prstDash val="solid"/>
              <a:miter/>
            </a:ln>
          </p:spPr>
          <p:txBody>
            <a:bodyPr lIns="36000" tIns="36000" rIns="36000" bIns="36000" rtlCol="0" anchor="ctr"/>
            <a:lstStyle/>
            <a:p>
              <a:endParaRPr lang="de-DE" sz="800" dirty="0"/>
            </a:p>
          </p:txBody>
        </p:sp>
        <p:sp>
          <p:nvSpPr>
            <p:cNvPr id="1123" name="Freihandform: Form 82">
              <a:extLst>
                <a:ext uri="{FF2B5EF4-FFF2-40B4-BE49-F238E27FC236}">
                  <a16:creationId xmlns:a16="http://schemas.microsoft.com/office/drawing/2014/main" id="{6D3864B4-1305-4E8B-9D2A-86001DAD853C}"/>
                </a:ext>
              </a:extLst>
            </p:cNvPr>
            <p:cNvSpPr/>
            <p:nvPr/>
          </p:nvSpPr>
          <p:spPr>
            <a:xfrm>
              <a:off x="10387519" y="3347880"/>
              <a:ext cx="476250" cy="114300"/>
            </a:xfrm>
            <a:custGeom>
              <a:avLst/>
              <a:gdLst>
                <a:gd name="connsiteX0" fmla="*/ 476250 w 476250"/>
                <a:gd name="connsiteY0" fmla="*/ 114300 h 114300"/>
                <a:gd name="connsiteX1" fmla="*/ 476250 w 476250"/>
                <a:gd name="connsiteY1" fmla="*/ 0 h 114300"/>
                <a:gd name="connsiteX2" fmla="*/ 57150 w 476250"/>
                <a:gd name="connsiteY2" fmla="*/ 0 h 114300"/>
                <a:gd name="connsiteX3" fmla="*/ 0 w 476250"/>
                <a:gd name="connsiteY3" fmla="*/ 57150 h 114300"/>
                <a:gd name="connsiteX4" fmla="*/ 0 w 476250"/>
                <a:gd name="connsiteY4" fmla="*/ 57150 h 114300"/>
                <a:gd name="connsiteX5" fmla="*/ 57150 w 476250"/>
                <a:gd name="connsiteY5" fmla="*/ 114300 h 114300"/>
                <a:gd name="connsiteX6" fmla="*/ 476250 w 476250"/>
                <a:gd name="connsiteY6"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0" h="114300">
                  <a:moveTo>
                    <a:pt x="476250" y="114300"/>
                  </a:moveTo>
                  <a:lnTo>
                    <a:pt x="476250" y="0"/>
                  </a:lnTo>
                  <a:lnTo>
                    <a:pt x="57150" y="0"/>
                  </a:lnTo>
                  <a:cubicBezTo>
                    <a:pt x="25718" y="0"/>
                    <a:pt x="0" y="25718"/>
                    <a:pt x="0" y="57150"/>
                  </a:cubicBezTo>
                  <a:lnTo>
                    <a:pt x="0" y="57150"/>
                  </a:lnTo>
                  <a:cubicBezTo>
                    <a:pt x="0" y="88582"/>
                    <a:pt x="25718" y="114300"/>
                    <a:pt x="57150" y="114300"/>
                  </a:cubicBezTo>
                  <a:lnTo>
                    <a:pt x="476250" y="114300"/>
                  </a:ln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124" name="Freihandform: Form 83">
              <a:extLst>
                <a:ext uri="{FF2B5EF4-FFF2-40B4-BE49-F238E27FC236}">
                  <a16:creationId xmlns:a16="http://schemas.microsoft.com/office/drawing/2014/main" id="{CFEE844A-F44D-4EEB-8003-137F2D2DA112}"/>
                </a:ext>
              </a:extLst>
            </p:cNvPr>
            <p:cNvSpPr/>
            <p:nvPr/>
          </p:nvSpPr>
          <p:spPr>
            <a:xfrm>
              <a:off x="10463719" y="2966880"/>
              <a:ext cx="9525" cy="381000"/>
            </a:xfrm>
            <a:custGeom>
              <a:avLst/>
              <a:gdLst>
                <a:gd name="connsiteX0" fmla="*/ 0 w 9525"/>
                <a:gd name="connsiteY0" fmla="*/ 381000 h 381000"/>
                <a:gd name="connsiteX1" fmla="*/ 0 w 9525"/>
                <a:gd name="connsiteY1" fmla="*/ 0 h 381000"/>
              </a:gdLst>
              <a:ahLst/>
              <a:cxnLst>
                <a:cxn ang="0">
                  <a:pos x="connsiteX0" y="connsiteY0"/>
                </a:cxn>
                <a:cxn ang="0">
                  <a:pos x="connsiteX1" y="connsiteY1"/>
                </a:cxn>
              </a:cxnLst>
              <a:rect l="l" t="t" r="r" b="b"/>
              <a:pathLst>
                <a:path w="9525" h="381000">
                  <a:moveTo>
                    <a:pt x="0" y="381000"/>
                  </a:moveTo>
                  <a:lnTo>
                    <a:pt x="0" y="0"/>
                  </a:lnTo>
                </a:path>
              </a:pathLst>
            </a:custGeom>
            <a:ln w="19050" cap="sq">
              <a:solidFill>
                <a:schemeClr val="accent5"/>
              </a:solidFill>
              <a:prstDash val="solid"/>
              <a:miter/>
            </a:ln>
          </p:spPr>
          <p:txBody>
            <a:bodyPr lIns="36000" tIns="36000" rIns="36000" bIns="36000" rtlCol="0" anchor="ctr"/>
            <a:lstStyle/>
            <a:p>
              <a:endParaRPr lang="de-DE" sz="800" dirty="0"/>
            </a:p>
          </p:txBody>
        </p:sp>
      </p:grpSp>
      <p:sp>
        <p:nvSpPr>
          <p:cNvPr id="1125" name="Textfeld 1124">
            <a:extLst>
              <a:ext uri="{FF2B5EF4-FFF2-40B4-BE49-F238E27FC236}">
                <a16:creationId xmlns:a16="http://schemas.microsoft.com/office/drawing/2014/main" id="{A89AA882-1BAC-40ED-9B66-213BB26D9FD0}"/>
              </a:ext>
            </a:extLst>
          </p:cNvPr>
          <p:cNvSpPr txBox="1"/>
          <p:nvPr/>
        </p:nvSpPr>
        <p:spPr>
          <a:xfrm>
            <a:off x="10920481" y="5176585"/>
            <a:ext cx="57600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Archivsystem</a:t>
            </a:r>
          </a:p>
        </p:txBody>
      </p:sp>
      <p:cxnSp>
        <p:nvCxnSpPr>
          <p:cNvPr id="1126" name="Gerade Verbindung mit Pfeil 1125">
            <a:extLst>
              <a:ext uri="{FF2B5EF4-FFF2-40B4-BE49-F238E27FC236}">
                <a16:creationId xmlns:a16="http://schemas.microsoft.com/office/drawing/2014/main" id="{15A2AC61-1CBB-4B2B-BC63-0843DE316C4F}"/>
              </a:ext>
            </a:extLst>
          </p:cNvPr>
          <p:cNvCxnSpPr>
            <a:cxnSpLocks/>
          </p:cNvCxnSpPr>
          <p:nvPr/>
        </p:nvCxnSpPr>
        <p:spPr>
          <a:xfrm flipH="1" flipV="1">
            <a:off x="10399579" y="5119198"/>
            <a:ext cx="53097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127" name="Grafik 16">
            <a:extLst>
              <a:ext uri="{FF2B5EF4-FFF2-40B4-BE49-F238E27FC236}">
                <a16:creationId xmlns:a16="http://schemas.microsoft.com/office/drawing/2014/main" id="{7BBA8651-9C07-4292-B36F-3CB1DCDBD205}"/>
              </a:ext>
            </a:extLst>
          </p:cNvPr>
          <p:cNvGrpSpPr/>
          <p:nvPr/>
        </p:nvGrpSpPr>
        <p:grpSpPr>
          <a:xfrm>
            <a:off x="8684685" y="3322259"/>
            <a:ext cx="326674" cy="260091"/>
            <a:chOff x="2514166" y="366749"/>
            <a:chExt cx="552450" cy="495300"/>
          </a:xfrm>
          <a:noFill/>
        </p:grpSpPr>
        <p:sp>
          <p:nvSpPr>
            <p:cNvPr id="1128" name="Freihandform: Form 147">
              <a:extLst>
                <a:ext uri="{FF2B5EF4-FFF2-40B4-BE49-F238E27FC236}">
                  <a16:creationId xmlns:a16="http://schemas.microsoft.com/office/drawing/2014/main" id="{12A82EE7-3A8D-40CB-B47D-1FA1338B4B6E}"/>
                </a:ext>
              </a:extLst>
            </p:cNvPr>
            <p:cNvSpPr/>
            <p:nvPr/>
          </p:nvSpPr>
          <p:spPr>
            <a:xfrm>
              <a:off x="2514166" y="366749"/>
              <a:ext cx="552450" cy="495300"/>
            </a:xfrm>
            <a:custGeom>
              <a:avLst/>
              <a:gdLst>
                <a:gd name="connsiteX0" fmla="*/ 504825 w 552450"/>
                <a:gd name="connsiteY0" fmla="*/ 495300 h 495300"/>
                <a:gd name="connsiteX1" fmla="*/ 47625 w 552450"/>
                <a:gd name="connsiteY1" fmla="*/ 495300 h 495300"/>
                <a:gd name="connsiteX2" fmla="*/ 0 w 552450"/>
                <a:gd name="connsiteY2" fmla="*/ 447675 h 495300"/>
                <a:gd name="connsiteX3" fmla="*/ 0 w 552450"/>
                <a:gd name="connsiteY3" fmla="*/ 0 h 495300"/>
                <a:gd name="connsiteX4" fmla="*/ 200025 w 552450"/>
                <a:gd name="connsiteY4" fmla="*/ 0 h 495300"/>
                <a:gd name="connsiteX5" fmla="*/ 257175 w 552450"/>
                <a:gd name="connsiteY5" fmla="*/ 95250 h 495300"/>
                <a:gd name="connsiteX6" fmla="*/ 552450 w 552450"/>
                <a:gd name="connsiteY6" fmla="*/ 95250 h 495300"/>
                <a:gd name="connsiteX7" fmla="*/ 552450 w 552450"/>
                <a:gd name="connsiteY7" fmla="*/ 447675 h 495300"/>
                <a:gd name="connsiteX8" fmla="*/ 504825 w 552450"/>
                <a:gd name="connsiteY8" fmla="*/ 495300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495300">
                  <a:moveTo>
                    <a:pt x="504825" y="495300"/>
                  </a:moveTo>
                  <a:lnTo>
                    <a:pt x="47625" y="495300"/>
                  </a:lnTo>
                  <a:cubicBezTo>
                    <a:pt x="20955" y="495300"/>
                    <a:pt x="0" y="474345"/>
                    <a:pt x="0" y="447675"/>
                  </a:cubicBezTo>
                  <a:lnTo>
                    <a:pt x="0" y="0"/>
                  </a:lnTo>
                  <a:lnTo>
                    <a:pt x="200025" y="0"/>
                  </a:lnTo>
                  <a:lnTo>
                    <a:pt x="257175" y="95250"/>
                  </a:lnTo>
                  <a:lnTo>
                    <a:pt x="552450" y="95250"/>
                  </a:lnTo>
                  <a:lnTo>
                    <a:pt x="552450" y="447675"/>
                  </a:lnTo>
                  <a:cubicBezTo>
                    <a:pt x="552450" y="474345"/>
                    <a:pt x="531495" y="495300"/>
                    <a:pt x="504825" y="495300"/>
                  </a:cubicBezTo>
                  <a:close/>
                </a:path>
              </a:pathLst>
            </a:custGeom>
            <a:noFill/>
            <a:ln w="19050" cap="sq">
              <a:solidFill>
                <a:schemeClr val="accent5"/>
              </a:solidFill>
              <a:prstDash val="solid"/>
              <a:miter/>
            </a:ln>
          </p:spPr>
          <p:txBody>
            <a:bodyPr lIns="36000" tIns="36000" rIns="36000" bIns="36000" rtlCol="0" anchor="ctr"/>
            <a:lstStyle/>
            <a:p>
              <a:endParaRPr lang="de-DE" sz="800" dirty="0"/>
            </a:p>
          </p:txBody>
        </p:sp>
        <p:sp>
          <p:nvSpPr>
            <p:cNvPr id="1129" name="Freihandform: Form 148">
              <a:extLst>
                <a:ext uri="{FF2B5EF4-FFF2-40B4-BE49-F238E27FC236}">
                  <a16:creationId xmlns:a16="http://schemas.microsoft.com/office/drawing/2014/main" id="{534CAD2F-FB95-44E5-9D47-EE21AF4F4B0E}"/>
                </a:ext>
              </a:extLst>
            </p:cNvPr>
            <p:cNvSpPr/>
            <p:nvPr/>
          </p:nvSpPr>
          <p:spPr>
            <a:xfrm>
              <a:off x="2838016" y="519149"/>
              <a:ext cx="152400" cy="171450"/>
            </a:xfrm>
            <a:custGeom>
              <a:avLst/>
              <a:gdLst>
                <a:gd name="connsiteX0" fmla="*/ 152400 w 152400"/>
                <a:gd name="connsiteY0" fmla="*/ 0 h 171450"/>
                <a:gd name="connsiteX1" fmla="*/ 152400 w 152400"/>
                <a:gd name="connsiteY1" fmla="*/ 171450 h 171450"/>
                <a:gd name="connsiteX2" fmla="*/ 76200 w 152400"/>
                <a:gd name="connsiteY2" fmla="*/ 114300 h 171450"/>
                <a:gd name="connsiteX3" fmla="*/ 0 w 152400"/>
                <a:gd name="connsiteY3" fmla="*/ 171450 h 171450"/>
                <a:gd name="connsiteX4" fmla="*/ 0 w 152400"/>
                <a:gd name="connsiteY4" fmla="*/ 0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71450">
                  <a:moveTo>
                    <a:pt x="152400" y="0"/>
                  </a:moveTo>
                  <a:lnTo>
                    <a:pt x="152400" y="171450"/>
                  </a:lnTo>
                  <a:lnTo>
                    <a:pt x="76200" y="114300"/>
                  </a:lnTo>
                  <a:lnTo>
                    <a:pt x="0" y="171450"/>
                  </a:lnTo>
                  <a:lnTo>
                    <a:pt x="0" y="0"/>
                  </a:lnTo>
                </a:path>
              </a:pathLst>
            </a:custGeom>
            <a:noFill/>
            <a:ln w="19050" cap="sq">
              <a:solidFill>
                <a:schemeClr val="accent5"/>
              </a:solidFill>
              <a:prstDash val="solid"/>
              <a:miter/>
            </a:ln>
          </p:spPr>
          <p:txBody>
            <a:bodyPr lIns="36000" tIns="36000" rIns="36000" bIns="36000" rtlCol="0" anchor="ctr"/>
            <a:lstStyle/>
            <a:p>
              <a:endParaRPr lang="de-DE" sz="800" dirty="0"/>
            </a:p>
          </p:txBody>
        </p:sp>
      </p:grpSp>
      <p:sp>
        <p:nvSpPr>
          <p:cNvPr id="1130" name="Textfeld 1129">
            <a:extLst>
              <a:ext uri="{FF2B5EF4-FFF2-40B4-BE49-F238E27FC236}">
                <a16:creationId xmlns:a16="http://schemas.microsoft.com/office/drawing/2014/main" id="{6E9273DD-F30E-4839-A5D2-C03F3FCEDA5E}"/>
              </a:ext>
            </a:extLst>
          </p:cNvPr>
          <p:cNvSpPr txBox="1"/>
          <p:nvPr/>
        </p:nvSpPr>
        <p:spPr>
          <a:xfrm>
            <a:off x="8505722" y="3624149"/>
            <a:ext cx="648000" cy="288000"/>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Zustellung </a:t>
            </a:r>
            <a:br>
              <a:rPr lang="de-DE" dirty="0"/>
            </a:br>
            <a:r>
              <a:rPr lang="de-DE" dirty="0"/>
              <a:t>Bescheid*</a:t>
            </a:r>
          </a:p>
        </p:txBody>
      </p:sp>
      <p:cxnSp>
        <p:nvCxnSpPr>
          <p:cNvPr id="1131" name="Verbinder: gewinkelt 610">
            <a:extLst>
              <a:ext uri="{FF2B5EF4-FFF2-40B4-BE49-F238E27FC236}">
                <a16:creationId xmlns:a16="http://schemas.microsoft.com/office/drawing/2014/main" id="{FF846D85-92CD-48D7-9970-BFB64D1F6830}"/>
              </a:ext>
            </a:extLst>
          </p:cNvPr>
          <p:cNvCxnSpPr>
            <a:cxnSpLocks/>
            <a:stCxn id="1541" idx="0"/>
          </p:cNvCxnSpPr>
          <p:nvPr/>
        </p:nvCxnSpPr>
        <p:spPr>
          <a:xfrm rot="16200000" flipV="1">
            <a:off x="4221916" y="-304093"/>
            <a:ext cx="2543224" cy="7353320"/>
          </a:xfrm>
          <a:prstGeom prst="bentConnector2">
            <a:avLst/>
          </a:prstGeom>
          <a:ln w="38100" cap="flat" cmpd="sng" algn="ctr">
            <a:solidFill>
              <a:schemeClr val="tx2"/>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32" name="Gerade Verbindung mit Pfeil 185">
            <a:extLst>
              <a:ext uri="{FF2B5EF4-FFF2-40B4-BE49-F238E27FC236}">
                <a16:creationId xmlns:a16="http://schemas.microsoft.com/office/drawing/2014/main" id="{84C9DF2E-3487-439E-9475-F36466B49FA4}"/>
              </a:ext>
            </a:extLst>
          </p:cNvPr>
          <p:cNvCxnSpPr>
            <a:cxnSpLocks/>
            <a:stCxn id="1541" idx="0"/>
          </p:cNvCxnSpPr>
          <p:nvPr/>
        </p:nvCxnSpPr>
        <p:spPr>
          <a:xfrm rot="16200000" flipV="1">
            <a:off x="6814036" y="2288027"/>
            <a:ext cx="1798554" cy="2913750"/>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33" name="Gerade Verbindung mit Pfeil 186">
            <a:extLst>
              <a:ext uri="{FF2B5EF4-FFF2-40B4-BE49-F238E27FC236}">
                <a16:creationId xmlns:a16="http://schemas.microsoft.com/office/drawing/2014/main" id="{38CCF6C6-B561-4B0B-B480-6DDDEAC2F644}"/>
              </a:ext>
            </a:extLst>
          </p:cNvPr>
          <p:cNvCxnSpPr>
            <a:cxnSpLocks/>
            <a:stCxn id="1541" idx="0"/>
            <a:endCxn id="1543" idx="3"/>
          </p:cNvCxnSpPr>
          <p:nvPr/>
        </p:nvCxnSpPr>
        <p:spPr>
          <a:xfrm rot="16200000" flipV="1">
            <a:off x="6996564" y="2470554"/>
            <a:ext cx="2230100" cy="2117149"/>
          </a:xfrm>
          <a:prstGeom prst="bentConnector2">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34" name="Flowchart: Connector 5">
            <a:extLst>
              <a:ext uri="{FF2B5EF4-FFF2-40B4-BE49-F238E27FC236}">
                <a16:creationId xmlns:a16="http://schemas.microsoft.com/office/drawing/2014/main" id="{82E7F368-7407-4E6E-9ABE-80A466878EA4}"/>
              </a:ext>
            </a:extLst>
          </p:cNvPr>
          <p:cNvSpPr/>
          <p:nvPr/>
        </p:nvSpPr>
        <p:spPr>
          <a:xfrm>
            <a:off x="2141463" y="3854452"/>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2</a:t>
            </a:r>
          </a:p>
        </p:txBody>
      </p:sp>
      <p:sp>
        <p:nvSpPr>
          <p:cNvPr id="1135" name="Flowchart: Connector 238">
            <a:extLst>
              <a:ext uri="{FF2B5EF4-FFF2-40B4-BE49-F238E27FC236}">
                <a16:creationId xmlns:a16="http://schemas.microsoft.com/office/drawing/2014/main" id="{1F38016D-A782-45F3-B17B-239E293D708B}"/>
              </a:ext>
            </a:extLst>
          </p:cNvPr>
          <p:cNvSpPr/>
          <p:nvPr/>
        </p:nvSpPr>
        <p:spPr>
          <a:xfrm>
            <a:off x="1744462" y="3224470"/>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1</a:t>
            </a:r>
          </a:p>
        </p:txBody>
      </p:sp>
      <p:sp>
        <p:nvSpPr>
          <p:cNvPr id="1136" name="Flowchart: Connector 239">
            <a:extLst>
              <a:ext uri="{FF2B5EF4-FFF2-40B4-BE49-F238E27FC236}">
                <a16:creationId xmlns:a16="http://schemas.microsoft.com/office/drawing/2014/main" id="{14602CD4-C99A-4D43-B10E-0829CA78D57B}"/>
              </a:ext>
            </a:extLst>
          </p:cNvPr>
          <p:cNvSpPr/>
          <p:nvPr/>
        </p:nvSpPr>
        <p:spPr>
          <a:xfrm>
            <a:off x="4207816" y="2137961"/>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4</a:t>
            </a:r>
          </a:p>
        </p:txBody>
      </p:sp>
      <p:sp>
        <p:nvSpPr>
          <p:cNvPr id="1137" name="Flowchart: Connector 240">
            <a:extLst>
              <a:ext uri="{FF2B5EF4-FFF2-40B4-BE49-F238E27FC236}">
                <a16:creationId xmlns:a16="http://schemas.microsoft.com/office/drawing/2014/main" id="{CBB496B4-035A-46B0-A97B-485E0080B9F0}"/>
              </a:ext>
            </a:extLst>
          </p:cNvPr>
          <p:cNvSpPr/>
          <p:nvPr/>
        </p:nvSpPr>
        <p:spPr>
          <a:xfrm>
            <a:off x="7428964" y="6116801"/>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8a</a:t>
            </a:r>
          </a:p>
        </p:txBody>
      </p:sp>
      <p:sp>
        <p:nvSpPr>
          <p:cNvPr id="1138" name="Flowchart: Connector 241">
            <a:extLst>
              <a:ext uri="{FF2B5EF4-FFF2-40B4-BE49-F238E27FC236}">
                <a16:creationId xmlns:a16="http://schemas.microsoft.com/office/drawing/2014/main" id="{65B286A9-96A1-4CC0-ACC6-06CA8DB96303}"/>
              </a:ext>
            </a:extLst>
          </p:cNvPr>
          <p:cNvSpPr/>
          <p:nvPr/>
        </p:nvSpPr>
        <p:spPr>
          <a:xfrm>
            <a:off x="8322842" y="4386009"/>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9</a:t>
            </a:r>
          </a:p>
        </p:txBody>
      </p:sp>
      <p:sp>
        <p:nvSpPr>
          <p:cNvPr id="1139" name="Flowchart: Connector 242">
            <a:extLst>
              <a:ext uri="{FF2B5EF4-FFF2-40B4-BE49-F238E27FC236}">
                <a16:creationId xmlns:a16="http://schemas.microsoft.com/office/drawing/2014/main" id="{75B1207D-CE62-441C-BE22-936AE3F32B27}"/>
              </a:ext>
            </a:extLst>
          </p:cNvPr>
          <p:cNvSpPr/>
          <p:nvPr/>
        </p:nvSpPr>
        <p:spPr>
          <a:xfrm>
            <a:off x="3874922" y="6114050"/>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6a</a:t>
            </a:r>
          </a:p>
        </p:txBody>
      </p:sp>
      <p:sp>
        <p:nvSpPr>
          <p:cNvPr id="1140" name="Flowchart: Connector 243">
            <a:extLst>
              <a:ext uri="{FF2B5EF4-FFF2-40B4-BE49-F238E27FC236}">
                <a16:creationId xmlns:a16="http://schemas.microsoft.com/office/drawing/2014/main" id="{F5934981-3F88-4C9D-A833-AA1CBBF244A2}"/>
              </a:ext>
            </a:extLst>
          </p:cNvPr>
          <p:cNvSpPr/>
          <p:nvPr/>
        </p:nvSpPr>
        <p:spPr>
          <a:xfrm>
            <a:off x="4231591" y="5649065"/>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7</a:t>
            </a:r>
          </a:p>
        </p:txBody>
      </p:sp>
      <p:sp>
        <p:nvSpPr>
          <p:cNvPr id="1141" name="Flowchart: Connector 247">
            <a:extLst>
              <a:ext uri="{FF2B5EF4-FFF2-40B4-BE49-F238E27FC236}">
                <a16:creationId xmlns:a16="http://schemas.microsoft.com/office/drawing/2014/main" id="{28C5996A-7A1A-405F-AB80-CB1C6A9F20B7}"/>
              </a:ext>
            </a:extLst>
          </p:cNvPr>
          <p:cNvSpPr/>
          <p:nvPr/>
        </p:nvSpPr>
        <p:spPr>
          <a:xfrm>
            <a:off x="7734616" y="6116801"/>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8b</a:t>
            </a:r>
          </a:p>
        </p:txBody>
      </p:sp>
      <p:sp>
        <p:nvSpPr>
          <p:cNvPr id="1142" name="Flowchart: Connector 251">
            <a:extLst>
              <a:ext uri="{FF2B5EF4-FFF2-40B4-BE49-F238E27FC236}">
                <a16:creationId xmlns:a16="http://schemas.microsoft.com/office/drawing/2014/main" id="{DFCE2B7F-B0AE-4BB1-B8DE-F13830D99223}"/>
              </a:ext>
            </a:extLst>
          </p:cNvPr>
          <p:cNvSpPr/>
          <p:nvPr/>
        </p:nvSpPr>
        <p:spPr>
          <a:xfrm>
            <a:off x="8327756" y="4697713"/>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10</a:t>
            </a:r>
          </a:p>
        </p:txBody>
      </p:sp>
      <p:graphicFrame>
        <p:nvGraphicFramePr>
          <p:cNvPr id="1143" name="Table 28">
            <a:extLst>
              <a:ext uri="{FF2B5EF4-FFF2-40B4-BE49-F238E27FC236}">
                <a16:creationId xmlns:a16="http://schemas.microsoft.com/office/drawing/2014/main" id="{5BA20961-B9DC-4E7F-A449-C42892DF9B5B}"/>
              </a:ext>
            </a:extLst>
          </p:cNvPr>
          <p:cNvGraphicFramePr>
            <a:graphicFrameLocks noGrp="1"/>
          </p:cNvGraphicFramePr>
          <p:nvPr/>
        </p:nvGraphicFramePr>
        <p:xfrm>
          <a:off x="9297458" y="1378100"/>
          <a:ext cx="2285196" cy="3234894"/>
        </p:xfrm>
        <a:graphic>
          <a:graphicData uri="http://schemas.openxmlformats.org/drawingml/2006/table">
            <a:tbl>
              <a:tblPr>
                <a:tableStyleId>{616DA210-FB5B-4158-B5E0-FEB733F419BA}</a:tableStyleId>
              </a:tblPr>
              <a:tblGrid>
                <a:gridCol w="268723">
                  <a:extLst>
                    <a:ext uri="{9D8B030D-6E8A-4147-A177-3AD203B41FA5}">
                      <a16:colId xmlns:a16="http://schemas.microsoft.com/office/drawing/2014/main" val="3924056561"/>
                    </a:ext>
                  </a:extLst>
                </a:gridCol>
                <a:gridCol w="2016473">
                  <a:extLst>
                    <a:ext uri="{9D8B030D-6E8A-4147-A177-3AD203B41FA5}">
                      <a16:colId xmlns:a16="http://schemas.microsoft.com/office/drawing/2014/main" val="3989293494"/>
                    </a:ext>
                  </a:extLst>
                </a:gridCol>
              </a:tblGrid>
              <a:tr h="196711">
                <a:tc>
                  <a:txBody>
                    <a:bodyPr/>
                    <a:lstStyle/>
                    <a:p>
                      <a:pPr algn="ctr" rtl="0" fontAlgn="t"/>
                      <a:r>
                        <a:rPr lang="de-DE" sz="900" b="1" u="none" strike="noStrike" dirty="0">
                          <a:solidFill>
                            <a:schemeClr val="bg1"/>
                          </a:solidFill>
                          <a:effectLst/>
                        </a:rPr>
                        <a:t>1</a:t>
                      </a:r>
                      <a:endParaRPr lang="de-DE" sz="900" b="1" i="0" u="none" strike="noStrike" dirty="0">
                        <a:solidFill>
                          <a:schemeClr val="bg1"/>
                        </a:solidFill>
                        <a:effectLst/>
                        <a:latin typeface="+mn-lt"/>
                      </a:endParaRPr>
                    </a:p>
                  </a:txBody>
                  <a:tcPr marL="36000" marR="36000" marT="2656" marB="0" anchor="ctr">
                    <a:solidFill>
                      <a:schemeClr val="accent1"/>
                    </a:solidFill>
                  </a:tcPr>
                </a:tc>
                <a:tc>
                  <a:txBody>
                    <a:bodyPr/>
                    <a:lstStyle/>
                    <a:p>
                      <a:pPr algn="l" rtl="0" fontAlgn="t"/>
                      <a:r>
                        <a:rPr lang="de-DE" sz="900" b="0" u="none" strike="noStrike" dirty="0">
                          <a:solidFill>
                            <a:schemeClr val="tx1"/>
                          </a:solidFill>
                          <a:effectLst/>
                        </a:rPr>
                        <a:t>PVOG</a:t>
                      </a:r>
                      <a:endParaRPr lang="de-DE" sz="900" b="0" i="0" u="none" strike="noStrike" dirty="0">
                        <a:solidFill>
                          <a:schemeClr val="tx1"/>
                        </a:solidFill>
                        <a:effectLst/>
                        <a:latin typeface="+mn-lt"/>
                      </a:endParaRPr>
                    </a:p>
                  </a:txBody>
                  <a:tcPr marL="36000" marR="36000" marT="2656" marB="0" anchor="ctr">
                    <a:solidFill>
                      <a:schemeClr val="bg1">
                        <a:lumMod val="85000"/>
                      </a:schemeClr>
                    </a:solidFill>
                  </a:tcPr>
                </a:tc>
                <a:extLst>
                  <a:ext uri="{0D108BD9-81ED-4DB2-BD59-A6C34878D82A}">
                    <a16:rowId xmlns:a16="http://schemas.microsoft.com/office/drawing/2014/main" val="2917585958"/>
                  </a:ext>
                </a:extLst>
              </a:tr>
              <a:tr h="184147">
                <a:tc>
                  <a:txBody>
                    <a:bodyPr/>
                    <a:lstStyle/>
                    <a:p>
                      <a:pPr algn="ctr" rtl="0" fontAlgn="t"/>
                      <a:r>
                        <a:rPr lang="de-DE" sz="900" b="1" u="none" strike="noStrike" dirty="0">
                          <a:solidFill>
                            <a:schemeClr val="bg1"/>
                          </a:solidFill>
                          <a:effectLst/>
                        </a:rPr>
                        <a:t>2</a:t>
                      </a:r>
                      <a:endParaRPr lang="de-DE" sz="900" b="1" i="0" u="none" strike="noStrike" dirty="0">
                        <a:solidFill>
                          <a:schemeClr val="bg1"/>
                        </a:solidFill>
                        <a:effectLst/>
                        <a:latin typeface="+mn-lt"/>
                      </a:endParaRPr>
                    </a:p>
                  </a:txBody>
                  <a:tcPr marL="36000" marR="36000" marT="2656" marB="0" anchor="ctr">
                    <a:solidFill>
                      <a:schemeClr val="accent1"/>
                    </a:solidFill>
                  </a:tcPr>
                </a:tc>
                <a:tc>
                  <a:txBody>
                    <a:bodyPr/>
                    <a:lstStyle/>
                    <a:p>
                      <a:pPr algn="l" rtl="0" fontAlgn="t"/>
                      <a:r>
                        <a:rPr lang="de-DE" sz="900" b="0" u="none" strike="noStrike" dirty="0">
                          <a:solidFill>
                            <a:schemeClr val="tx1"/>
                          </a:solidFill>
                          <a:effectLst/>
                        </a:rPr>
                        <a:t>Zuständigkeitsfinder (</a:t>
                      </a:r>
                      <a:r>
                        <a:rPr lang="de-DE" sz="900" b="0" u="none" strike="noStrike" dirty="0" err="1">
                          <a:solidFill>
                            <a:schemeClr val="tx1"/>
                          </a:solidFill>
                          <a:effectLst/>
                        </a:rPr>
                        <a:t>XZuFi</a:t>
                      </a:r>
                      <a:r>
                        <a:rPr lang="de-DE" sz="900" b="0" u="none" strike="noStrike" dirty="0">
                          <a:solidFill>
                            <a:schemeClr val="tx1"/>
                          </a:solidFill>
                          <a:effectLst/>
                        </a:rPr>
                        <a:t>)</a:t>
                      </a:r>
                      <a:endParaRPr lang="de-DE" sz="900" b="0" i="0" u="none" strike="noStrike" dirty="0">
                        <a:solidFill>
                          <a:schemeClr val="tx1"/>
                        </a:solidFill>
                        <a:effectLst/>
                        <a:latin typeface="+mn-lt"/>
                      </a:endParaRPr>
                    </a:p>
                  </a:txBody>
                  <a:tcPr marL="36000" marR="36000" marT="2656" marB="0" anchor="ctr">
                    <a:solidFill>
                      <a:schemeClr val="bg1">
                        <a:lumMod val="85000"/>
                      </a:schemeClr>
                    </a:solidFill>
                  </a:tcPr>
                </a:tc>
                <a:extLst>
                  <a:ext uri="{0D108BD9-81ED-4DB2-BD59-A6C34878D82A}">
                    <a16:rowId xmlns:a16="http://schemas.microsoft.com/office/drawing/2014/main" val="1591808955"/>
                  </a:ext>
                </a:extLst>
              </a:tr>
              <a:tr h="185986">
                <a:tc>
                  <a:txBody>
                    <a:bodyPr/>
                    <a:lstStyle/>
                    <a:p>
                      <a:pPr algn="ctr" rtl="0" fontAlgn="t"/>
                      <a:r>
                        <a:rPr lang="de-DE" sz="900" b="1" u="none" strike="noStrike" dirty="0">
                          <a:solidFill>
                            <a:schemeClr val="bg1"/>
                          </a:solidFill>
                          <a:effectLst/>
                        </a:rPr>
                        <a:t>3a</a:t>
                      </a:r>
                      <a:endParaRPr lang="de-DE" sz="900" b="1" i="0" u="none" strike="noStrike" dirty="0">
                        <a:solidFill>
                          <a:schemeClr val="bg1"/>
                        </a:solidFill>
                        <a:effectLst/>
                        <a:latin typeface="+mn-lt"/>
                      </a:endParaRP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Bund ID</a:t>
                      </a:r>
                    </a:p>
                  </a:txBody>
                  <a:tcPr marL="36000" marR="36000" marT="2656" marB="0" anchor="ctr">
                    <a:solidFill>
                      <a:schemeClr val="bg1">
                        <a:lumMod val="85000"/>
                      </a:schemeClr>
                    </a:solidFill>
                  </a:tcPr>
                </a:tc>
                <a:extLst>
                  <a:ext uri="{0D108BD9-81ED-4DB2-BD59-A6C34878D82A}">
                    <a16:rowId xmlns:a16="http://schemas.microsoft.com/office/drawing/2014/main" val="3421309347"/>
                  </a:ext>
                </a:extLst>
              </a:tr>
              <a:tr h="169651">
                <a:tc>
                  <a:txBody>
                    <a:bodyPr/>
                    <a:lstStyle/>
                    <a:p>
                      <a:pPr algn="ctr" rtl="0" fontAlgn="t"/>
                      <a:r>
                        <a:rPr lang="de-DE" sz="900" b="1" i="0" u="none" strike="noStrike" dirty="0">
                          <a:solidFill>
                            <a:schemeClr val="bg1"/>
                          </a:solidFill>
                          <a:effectLst/>
                          <a:latin typeface="+mn-lt"/>
                        </a:rPr>
                        <a:t>3b</a:t>
                      </a:r>
                    </a:p>
                  </a:txBody>
                  <a:tcPr marL="36000" marR="36000" marT="2656" marB="0" anchor="ctr">
                    <a:solidFill>
                      <a:schemeClr val="accent1"/>
                    </a:solidFill>
                  </a:tcPr>
                </a:tc>
                <a:tc>
                  <a:txBody>
                    <a:bodyPr/>
                    <a:lstStyle/>
                    <a:p>
                      <a:pPr algn="l" rtl="0" fontAlgn="t"/>
                      <a:r>
                        <a:rPr lang="de-DE" sz="900" b="0" u="none" strike="noStrike" dirty="0">
                          <a:solidFill>
                            <a:schemeClr val="tx1"/>
                          </a:solidFill>
                          <a:effectLst/>
                        </a:rPr>
                        <a:t>Zentrales Bürgerpostfach</a:t>
                      </a:r>
                      <a:endParaRPr lang="de-DE" sz="900" b="0" i="0" u="none" strike="noStrike" dirty="0">
                        <a:solidFill>
                          <a:schemeClr val="tx1"/>
                        </a:solidFill>
                        <a:effectLst/>
                        <a:latin typeface="+mn-lt"/>
                      </a:endParaRPr>
                    </a:p>
                  </a:txBody>
                  <a:tcPr marL="36000" marR="36000" marT="2656" marB="0" anchor="ctr">
                    <a:solidFill>
                      <a:schemeClr val="bg1">
                        <a:lumMod val="85000"/>
                      </a:schemeClr>
                    </a:solidFill>
                  </a:tcPr>
                </a:tc>
                <a:extLst>
                  <a:ext uri="{0D108BD9-81ED-4DB2-BD59-A6C34878D82A}">
                    <a16:rowId xmlns:a16="http://schemas.microsoft.com/office/drawing/2014/main" val="273591008"/>
                  </a:ext>
                </a:extLst>
              </a:tr>
              <a:tr h="192711">
                <a:tc>
                  <a:txBody>
                    <a:bodyPr/>
                    <a:lstStyle/>
                    <a:p>
                      <a:pPr algn="ctr" rtl="0" fontAlgn="t"/>
                      <a:r>
                        <a:rPr lang="de-DE" sz="900" b="1" i="0" u="none" strike="noStrike" dirty="0">
                          <a:solidFill>
                            <a:schemeClr val="bg1"/>
                          </a:solidFill>
                          <a:effectLst/>
                          <a:latin typeface="+mn-lt"/>
                        </a:rPr>
                        <a:t>4</a:t>
                      </a:r>
                    </a:p>
                  </a:txBody>
                  <a:tcPr marL="36000" marR="36000" marT="2656" marB="0" anchor="ctr">
                    <a:solidFill>
                      <a:schemeClr val="accent1"/>
                    </a:solidFill>
                  </a:tcPr>
                </a:tc>
                <a:tc>
                  <a:txBody>
                    <a:bodyPr/>
                    <a:lstStyle/>
                    <a:p>
                      <a:pPr algn="l" rtl="0" fontAlgn="t"/>
                      <a:r>
                        <a:rPr lang="de-DE" sz="900" b="0" u="none" strike="noStrike" dirty="0">
                          <a:solidFill>
                            <a:schemeClr val="tx1"/>
                          </a:solidFill>
                          <a:effectLst/>
                        </a:rPr>
                        <a:t>FINK</a:t>
                      </a:r>
                      <a:endParaRPr lang="de-DE" sz="900" b="0" i="0" u="none" strike="noStrike" dirty="0">
                        <a:solidFill>
                          <a:schemeClr val="tx1"/>
                        </a:solidFill>
                        <a:effectLst/>
                        <a:latin typeface="+mn-lt"/>
                      </a:endParaRPr>
                    </a:p>
                  </a:txBody>
                  <a:tcPr marL="36000" marR="36000" marT="2656" marB="0" anchor="ctr">
                    <a:solidFill>
                      <a:schemeClr val="bg1">
                        <a:lumMod val="85000"/>
                      </a:schemeClr>
                    </a:solidFill>
                  </a:tcPr>
                </a:tc>
                <a:extLst>
                  <a:ext uri="{0D108BD9-81ED-4DB2-BD59-A6C34878D82A}">
                    <a16:rowId xmlns:a16="http://schemas.microsoft.com/office/drawing/2014/main" val="2735716006"/>
                  </a:ext>
                </a:extLst>
              </a:tr>
              <a:tr h="253052">
                <a:tc>
                  <a:txBody>
                    <a:bodyPr/>
                    <a:lstStyle/>
                    <a:p>
                      <a:pPr algn="ctr" rtl="0" fontAlgn="t"/>
                      <a:r>
                        <a:rPr lang="de-DE" sz="900" b="1" i="0" u="none" strike="noStrike" dirty="0">
                          <a:solidFill>
                            <a:schemeClr val="bg1"/>
                          </a:solidFill>
                          <a:effectLst/>
                          <a:latin typeface="+mn-lt"/>
                        </a:rPr>
                        <a:t>5a</a:t>
                      </a:r>
                    </a:p>
                  </a:txBody>
                  <a:tcPr marL="36000" marR="36000" marT="2656" marB="0" anchor="ctr">
                    <a:solidFill>
                      <a:schemeClr val="accent1"/>
                    </a:solidFill>
                  </a:tcPr>
                </a:tc>
                <a:tc>
                  <a:txBody>
                    <a:bodyPr/>
                    <a:lstStyle/>
                    <a:p>
                      <a:pPr algn="l" rtl="0" fontAlgn="t"/>
                      <a:r>
                        <a:rPr lang="de-DE" sz="900" b="0" u="none" strike="noStrike" dirty="0">
                          <a:solidFill>
                            <a:schemeClr val="tx1"/>
                          </a:solidFill>
                          <a:effectLst/>
                        </a:rPr>
                        <a:t>eOK Baustein 1-4 (Mein Unternehmenskonto)</a:t>
                      </a:r>
                      <a:endParaRPr lang="de-DE" sz="900" b="0" i="0" u="none" strike="noStrike" dirty="0">
                        <a:solidFill>
                          <a:schemeClr val="tx1"/>
                        </a:solidFill>
                        <a:effectLst/>
                        <a:latin typeface="+mn-lt"/>
                      </a:endParaRPr>
                    </a:p>
                  </a:txBody>
                  <a:tcPr marL="36000" marR="36000" marT="2656" marB="0" anchor="ctr">
                    <a:solidFill>
                      <a:schemeClr val="bg1">
                        <a:lumMod val="85000"/>
                      </a:schemeClr>
                    </a:solidFill>
                  </a:tcPr>
                </a:tc>
                <a:extLst>
                  <a:ext uri="{0D108BD9-81ED-4DB2-BD59-A6C34878D82A}">
                    <a16:rowId xmlns:a16="http://schemas.microsoft.com/office/drawing/2014/main" val="3176046302"/>
                  </a:ext>
                </a:extLst>
              </a:tr>
              <a:tr h="193355">
                <a:tc>
                  <a:txBody>
                    <a:bodyPr/>
                    <a:lstStyle/>
                    <a:p>
                      <a:pPr algn="ctr" rtl="0" fontAlgn="t"/>
                      <a:r>
                        <a:rPr lang="de-DE" sz="900" b="1" i="0" u="none" strike="noStrike" dirty="0">
                          <a:solidFill>
                            <a:schemeClr val="bg1"/>
                          </a:solidFill>
                          <a:effectLst/>
                          <a:latin typeface="+mn-lt"/>
                        </a:rPr>
                        <a:t>5b</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eOK Baustein 5-6 (Postfach)</a:t>
                      </a:r>
                    </a:p>
                  </a:txBody>
                  <a:tcPr marL="36000" marR="36000" marT="2656" marB="0" anchor="ctr">
                    <a:solidFill>
                      <a:schemeClr val="bg1">
                        <a:lumMod val="85000"/>
                      </a:schemeClr>
                    </a:solidFill>
                  </a:tcPr>
                </a:tc>
                <a:extLst>
                  <a:ext uri="{0D108BD9-81ED-4DB2-BD59-A6C34878D82A}">
                    <a16:rowId xmlns:a16="http://schemas.microsoft.com/office/drawing/2014/main" val="1700389986"/>
                  </a:ext>
                </a:extLst>
              </a:tr>
              <a:tr h="193355">
                <a:tc>
                  <a:txBody>
                    <a:bodyPr/>
                    <a:lstStyle/>
                    <a:p>
                      <a:pPr algn="ctr" rtl="0" fontAlgn="t"/>
                      <a:r>
                        <a:rPr lang="de-DE" sz="900" b="1" i="0" u="none" strike="noStrike" dirty="0">
                          <a:solidFill>
                            <a:schemeClr val="bg1"/>
                          </a:solidFill>
                          <a:effectLst/>
                          <a:latin typeface="+mn-lt"/>
                        </a:rPr>
                        <a:t>6a</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Nationale Statistikkomponente (NSK)</a:t>
                      </a:r>
                    </a:p>
                  </a:txBody>
                  <a:tcPr marL="36000" marR="36000" marT="2656" marB="0" anchor="ctr">
                    <a:solidFill>
                      <a:schemeClr val="bg1">
                        <a:lumMod val="85000"/>
                      </a:schemeClr>
                    </a:solidFill>
                  </a:tcPr>
                </a:tc>
                <a:extLst>
                  <a:ext uri="{0D108BD9-81ED-4DB2-BD59-A6C34878D82A}">
                    <a16:rowId xmlns:a16="http://schemas.microsoft.com/office/drawing/2014/main" val="3500633673"/>
                  </a:ext>
                </a:extLst>
              </a:tr>
              <a:tr h="193355">
                <a:tc>
                  <a:txBody>
                    <a:bodyPr/>
                    <a:lstStyle/>
                    <a:p>
                      <a:pPr algn="ctr" rtl="0" fontAlgn="t"/>
                      <a:r>
                        <a:rPr lang="de-DE" sz="900" b="1" i="0" u="none" strike="noStrike" dirty="0">
                          <a:solidFill>
                            <a:schemeClr val="bg1"/>
                          </a:solidFill>
                          <a:effectLst/>
                          <a:latin typeface="+mn-lt"/>
                        </a:rPr>
                        <a:t>6b</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Statistikkomponente</a:t>
                      </a:r>
                    </a:p>
                  </a:txBody>
                  <a:tcPr marL="36000" marR="36000" marT="2656" marB="0" anchor="ctr">
                    <a:solidFill>
                      <a:schemeClr val="bg1">
                        <a:lumMod val="85000"/>
                      </a:schemeClr>
                    </a:solidFill>
                  </a:tcPr>
                </a:tc>
                <a:extLst>
                  <a:ext uri="{0D108BD9-81ED-4DB2-BD59-A6C34878D82A}">
                    <a16:rowId xmlns:a16="http://schemas.microsoft.com/office/drawing/2014/main" val="369777434"/>
                  </a:ext>
                </a:extLst>
              </a:tr>
              <a:tr h="159986">
                <a:tc>
                  <a:txBody>
                    <a:bodyPr/>
                    <a:lstStyle/>
                    <a:p>
                      <a:pPr algn="ctr" rtl="0" fontAlgn="t"/>
                      <a:r>
                        <a:rPr lang="de-DE" sz="900" b="1" u="none" strike="noStrike" dirty="0">
                          <a:solidFill>
                            <a:schemeClr val="bg1"/>
                          </a:solidFill>
                          <a:effectLst/>
                        </a:rPr>
                        <a:t>7</a:t>
                      </a:r>
                      <a:endParaRPr lang="de-DE" sz="900" b="1" i="0" u="none" strike="noStrike" dirty="0">
                        <a:solidFill>
                          <a:schemeClr val="bg1"/>
                        </a:solidFill>
                        <a:effectLst/>
                        <a:latin typeface="+mn-lt"/>
                      </a:endParaRPr>
                    </a:p>
                  </a:txBody>
                  <a:tcPr marL="36000" marR="36000" marT="2656" marB="0" anchor="ctr">
                    <a:solidFill>
                      <a:schemeClr val="accent1"/>
                    </a:solidFill>
                  </a:tcPr>
                </a:tc>
                <a:tc>
                  <a:txBody>
                    <a:bodyPr/>
                    <a:lstStyle/>
                    <a:p>
                      <a:pPr algn="l" rtl="0" fontAlgn="t"/>
                      <a:r>
                        <a:rPr lang="de-DE" sz="900" b="0" u="none" strike="noStrike" dirty="0">
                          <a:solidFill>
                            <a:schemeClr val="tx1"/>
                          </a:solidFill>
                          <a:effectLst/>
                        </a:rPr>
                        <a:t>Nutzerfeedback (NFK)</a:t>
                      </a:r>
                      <a:endParaRPr lang="de-DE" sz="900" b="0" i="0" u="none" strike="noStrike" dirty="0">
                        <a:solidFill>
                          <a:schemeClr val="tx1"/>
                        </a:solidFill>
                        <a:effectLst/>
                        <a:latin typeface="+mn-lt"/>
                      </a:endParaRPr>
                    </a:p>
                  </a:txBody>
                  <a:tcPr marL="36000" marR="36000" marT="2656" marB="0" anchor="ctr">
                    <a:solidFill>
                      <a:schemeClr val="bg1">
                        <a:lumMod val="85000"/>
                      </a:schemeClr>
                    </a:solidFill>
                  </a:tcPr>
                </a:tc>
                <a:extLst>
                  <a:ext uri="{0D108BD9-81ED-4DB2-BD59-A6C34878D82A}">
                    <a16:rowId xmlns:a16="http://schemas.microsoft.com/office/drawing/2014/main" val="3368614461"/>
                  </a:ext>
                </a:extLst>
              </a:tr>
              <a:tr h="165733">
                <a:tc>
                  <a:txBody>
                    <a:bodyPr/>
                    <a:lstStyle/>
                    <a:p>
                      <a:pPr algn="ctr" rtl="0" fontAlgn="t"/>
                      <a:r>
                        <a:rPr lang="de-DE" sz="900" b="1" u="none" strike="noStrike" dirty="0">
                          <a:solidFill>
                            <a:schemeClr val="bg1"/>
                          </a:solidFill>
                          <a:effectLst/>
                        </a:rPr>
                        <a:t>8a</a:t>
                      </a:r>
                      <a:endParaRPr lang="de-DE" sz="900" b="1" i="0" u="none" strike="noStrike" dirty="0">
                        <a:solidFill>
                          <a:schemeClr val="bg1"/>
                        </a:solidFill>
                        <a:effectLst/>
                        <a:latin typeface="+mn-lt"/>
                      </a:endParaRP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ePayment Schnittstelle</a:t>
                      </a:r>
                    </a:p>
                  </a:txBody>
                  <a:tcPr marL="36000" marR="36000" marT="2656" marB="0" anchor="ctr">
                    <a:solidFill>
                      <a:schemeClr val="bg1">
                        <a:lumMod val="85000"/>
                      </a:schemeClr>
                    </a:solidFill>
                  </a:tcPr>
                </a:tc>
                <a:extLst>
                  <a:ext uri="{0D108BD9-81ED-4DB2-BD59-A6C34878D82A}">
                    <a16:rowId xmlns:a16="http://schemas.microsoft.com/office/drawing/2014/main" val="550187757"/>
                  </a:ext>
                </a:extLst>
              </a:tr>
              <a:tr h="181918">
                <a:tc>
                  <a:txBody>
                    <a:bodyPr/>
                    <a:lstStyle/>
                    <a:p>
                      <a:pPr algn="ctr" rtl="0" fontAlgn="t"/>
                      <a:r>
                        <a:rPr lang="de-DE" sz="900" b="1" i="0" u="none" strike="noStrike" dirty="0">
                          <a:solidFill>
                            <a:schemeClr val="bg1"/>
                          </a:solidFill>
                          <a:effectLst/>
                          <a:latin typeface="+mn-lt"/>
                        </a:rPr>
                        <a:t>8b</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Anpassung ePayment Gateways</a:t>
                      </a:r>
                    </a:p>
                  </a:txBody>
                  <a:tcPr marL="36000" marR="36000" marT="2656" marB="0" anchor="ctr">
                    <a:solidFill>
                      <a:schemeClr val="bg1">
                        <a:lumMod val="85000"/>
                      </a:schemeClr>
                    </a:solidFill>
                  </a:tcPr>
                </a:tc>
                <a:extLst>
                  <a:ext uri="{0D108BD9-81ED-4DB2-BD59-A6C34878D82A}">
                    <a16:rowId xmlns:a16="http://schemas.microsoft.com/office/drawing/2014/main" val="3220651640"/>
                  </a:ext>
                </a:extLst>
              </a:tr>
              <a:tr h="181918">
                <a:tc>
                  <a:txBody>
                    <a:bodyPr/>
                    <a:lstStyle/>
                    <a:p>
                      <a:pPr algn="ctr" rtl="0" fontAlgn="t"/>
                      <a:r>
                        <a:rPr lang="de-DE" sz="900" b="1" i="0" u="none" strike="noStrike" dirty="0">
                          <a:solidFill>
                            <a:schemeClr val="bg1"/>
                          </a:solidFill>
                          <a:effectLst/>
                          <a:latin typeface="+mn-lt"/>
                        </a:rPr>
                        <a:t>9</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DVDV, OSCI, XTA</a:t>
                      </a:r>
                    </a:p>
                  </a:txBody>
                  <a:tcPr marL="36000" marR="36000" marT="2656" marB="0" anchor="ctr">
                    <a:solidFill>
                      <a:schemeClr val="bg1">
                        <a:lumMod val="85000"/>
                      </a:schemeClr>
                    </a:solidFill>
                  </a:tcPr>
                </a:tc>
                <a:extLst>
                  <a:ext uri="{0D108BD9-81ED-4DB2-BD59-A6C34878D82A}">
                    <a16:rowId xmlns:a16="http://schemas.microsoft.com/office/drawing/2014/main" val="3993974827"/>
                  </a:ext>
                </a:extLst>
              </a:tr>
              <a:tr h="189773">
                <a:tc>
                  <a:txBody>
                    <a:bodyPr/>
                    <a:lstStyle/>
                    <a:p>
                      <a:pPr algn="ctr" rtl="0" fontAlgn="t"/>
                      <a:r>
                        <a:rPr lang="de-DE" sz="900" b="1" u="none" strike="noStrike" dirty="0">
                          <a:solidFill>
                            <a:schemeClr val="bg1"/>
                          </a:solidFill>
                          <a:effectLst/>
                        </a:rPr>
                        <a:t>10</a:t>
                      </a:r>
                      <a:endParaRPr lang="de-DE" sz="900" b="1" i="0" u="none" strike="noStrike" dirty="0">
                        <a:solidFill>
                          <a:schemeClr val="bg1"/>
                        </a:solidFill>
                        <a:effectLst/>
                        <a:latin typeface="+mn-lt"/>
                      </a:endParaRP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FIT-Connect</a:t>
                      </a:r>
                    </a:p>
                  </a:txBody>
                  <a:tcPr marL="36000" marR="36000" marT="2656" marB="0" anchor="ctr">
                    <a:solidFill>
                      <a:schemeClr val="bg1">
                        <a:lumMod val="85000"/>
                      </a:schemeClr>
                    </a:solidFill>
                  </a:tcPr>
                </a:tc>
                <a:extLst>
                  <a:ext uri="{0D108BD9-81ED-4DB2-BD59-A6C34878D82A}">
                    <a16:rowId xmlns:a16="http://schemas.microsoft.com/office/drawing/2014/main" val="2442576307"/>
                  </a:ext>
                </a:extLst>
              </a:tr>
              <a:tr h="189773">
                <a:tc>
                  <a:txBody>
                    <a:bodyPr/>
                    <a:lstStyle/>
                    <a:p>
                      <a:pPr algn="ctr" rtl="0" fontAlgn="t"/>
                      <a:r>
                        <a:rPr lang="de-DE" sz="900" b="1" i="0" u="none" strike="noStrike" dirty="0">
                          <a:solidFill>
                            <a:schemeClr val="bg1"/>
                          </a:solidFill>
                          <a:effectLst/>
                          <a:latin typeface="+mn-lt"/>
                        </a:rPr>
                        <a:t>11</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Signatur- &amp; Siegeldienste</a:t>
                      </a:r>
                    </a:p>
                  </a:txBody>
                  <a:tcPr marL="36000" marR="36000" marT="2656" marB="0" anchor="ctr">
                    <a:solidFill>
                      <a:schemeClr val="bg1">
                        <a:lumMod val="85000"/>
                      </a:schemeClr>
                    </a:solidFill>
                  </a:tcPr>
                </a:tc>
                <a:extLst>
                  <a:ext uri="{0D108BD9-81ED-4DB2-BD59-A6C34878D82A}">
                    <a16:rowId xmlns:a16="http://schemas.microsoft.com/office/drawing/2014/main" val="1492409187"/>
                  </a:ext>
                </a:extLst>
              </a:tr>
              <a:tr h="189773">
                <a:tc>
                  <a:txBody>
                    <a:bodyPr/>
                    <a:lstStyle/>
                    <a:p>
                      <a:pPr algn="ctr" rtl="0" fontAlgn="t"/>
                      <a:r>
                        <a:rPr lang="de-DE" sz="900" b="1" i="0" u="none" strike="noStrike" dirty="0">
                          <a:solidFill>
                            <a:schemeClr val="bg1"/>
                          </a:solidFill>
                          <a:effectLst/>
                          <a:latin typeface="+mn-lt"/>
                        </a:rPr>
                        <a:t>12</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Statusmonitor</a:t>
                      </a:r>
                    </a:p>
                  </a:txBody>
                  <a:tcPr marL="36000" marR="36000" marT="2656" marB="0" anchor="ctr">
                    <a:solidFill>
                      <a:schemeClr val="bg1">
                        <a:lumMod val="85000"/>
                      </a:schemeClr>
                    </a:solidFill>
                  </a:tcPr>
                </a:tc>
                <a:extLst>
                  <a:ext uri="{0D108BD9-81ED-4DB2-BD59-A6C34878D82A}">
                    <a16:rowId xmlns:a16="http://schemas.microsoft.com/office/drawing/2014/main" val="2809701100"/>
                  </a:ext>
                </a:extLst>
              </a:tr>
              <a:tr h="189773">
                <a:tc>
                  <a:txBody>
                    <a:bodyPr/>
                    <a:lstStyle/>
                    <a:p>
                      <a:pPr algn="ctr" rtl="0" fontAlgn="t"/>
                      <a:r>
                        <a:rPr lang="de-DE" sz="900" b="1" i="0" u="none" strike="noStrike" dirty="0">
                          <a:solidFill>
                            <a:schemeClr val="bg1"/>
                          </a:solidFill>
                          <a:effectLst/>
                          <a:latin typeface="+mn-lt"/>
                        </a:rPr>
                        <a:t>13</a:t>
                      </a:r>
                    </a:p>
                  </a:txBody>
                  <a:tcPr marL="36000" marR="36000" marT="2656" marB="0" anchor="ctr">
                    <a:solidFill>
                      <a:schemeClr val="accent1"/>
                    </a:solidFill>
                  </a:tcPr>
                </a:tc>
                <a:tc>
                  <a:txBody>
                    <a:bodyPr/>
                    <a:lstStyle/>
                    <a:p>
                      <a:pPr algn="l" rtl="0" fontAlgn="t"/>
                      <a:r>
                        <a:rPr lang="de-DE" sz="900" b="0" i="0" u="none" strike="noStrike" dirty="0">
                          <a:solidFill>
                            <a:schemeClr val="tx1"/>
                          </a:solidFill>
                          <a:effectLst/>
                          <a:latin typeface="+mn-lt"/>
                        </a:rPr>
                        <a:t>Datenschutzcockpit</a:t>
                      </a:r>
                    </a:p>
                  </a:txBody>
                  <a:tcPr marL="36000" marR="36000" marT="2656" marB="0" anchor="ctr">
                    <a:solidFill>
                      <a:schemeClr val="bg1">
                        <a:lumMod val="85000"/>
                      </a:schemeClr>
                    </a:solidFill>
                  </a:tcPr>
                </a:tc>
                <a:extLst>
                  <a:ext uri="{0D108BD9-81ED-4DB2-BD59-A6C34878D82A}">
                    <a16:rowId xmlns:a16="http://schemas.microsoft.com/office/drawing/2014/main" val="4292843054"/>
                  </a:ext>
                </a:extLst>
              </a:tr>
            </a:tbl>
          </a:graphicData>
        </a:graphic>
      </p:graphicFrame>
      <p:sp>
        <p:nvSpPr>
          <p:cNvPr id="1144" name="Flowchart: Connector 288">
            <a:extLst>
              <a:ext uri="{FF2B5EF4-FFF2-40B4-BE49-F238E27FC236}">
                <a16:creationId xmlns:a16="http://schemas.microsoft.com/office/drawing/2014/main" id="{78926A1B-BBE2-4023-83E2-815EF0DEC86B}"/>
              </a:ext>
            </a:extLst>
          </p:cNvPr>
          <p:cNvSpPr/>
          <p:nvPr/>
        </p:nvSpPr>
        <p:spPr>
          <a:xfrm>
            <a:off x="3874922" y="5649065"/>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6b</a:t>
            </a:r>
          </a:p>
        </p:txBody>
      </p:sp>
      <p:pic>
        <p:nvPicPr>
          <p:cNvPr id="1145" name="Grafik 1144">
            <a:extLst>
              <a:ext uri="{FF2B5EF4-FFF2-40B4-BE49-F238E27FC236}">
                <a16:creationId xmlns:a16="http://schemas.microsoft.com/office/drawing/2014/main" id="{9F671485-B2C2-4C5F-8D64-E67F8FAFAE34}"/>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3504002" y="2296766"/>
            <a:ext cx="639642" cy="172896"/>
          </a:xfrm>
          <a:prstGeom prst="rect">
            <a:avLst/>
          </a:prstGeom>
        </p:spPr>
      </p:pic>
      <p:sp>
        <p:nvSpPr>
          <p:cNvPr id="1146" name="Abgerundetes Rechteck 12">
            <a:extLst>
              <a:ext uri="{FF2B5EF4-FFF2-40B4-BE49-F238E27FC236}">
                <a16:creationId xmlns:a16="http://schemas.microsoft.com/office/drawing/2014/main" id="{28C8435C-4B00-4C49-A3E8-A83D16B6FA2C}"/>
              </a:ext>
            </a:extLst>
          </p:cNvPr>
          <p:cNvSpPr/>
          <p:nvPr/>
        </p:nvSpPr>
        <p:spPr>
          <a:xfrm>
            <a:off x="4482532" y="2510615"/>
            <a:ext cx="659789" cy="411998"/>
          </a:xfrm>
          <a:prstGeom prst="roundRect">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sp>
        <p:nvSpPr>
          <p:cNvPr id="1147" name="Freihandform: Form 223">
            <a:extLst>
              <a:ext uri="{FF2B5EF4-FFF2-40B4-BE49-F238E27FC236}">
                <a16:creationId xmlns:a16="http://schemas.microsoft.com/office/drawing/2014/main" id="{0D9BE5F3-9095-4A9F-9D1F-F95B64B71807}"/>
              </a:ext>
            </a:extLst>
          </p:cNvPr>
          <p:cNvSpPr/>
          <p:nvPr/>
        </p:nvSpPr>
        <p:spPr>
          <a:xfrm>
            <a:off x="4594801" y="2678028"/>
            <a:ext cx="120714" cy="132377"/>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2700" cap="sq">
            <a:solidFill>
              <a:schemeClr val="accent5"/>
            </a:solidFill>
            <a:prstDash val="solid"/>
            <a:miter/>
          </a:ln>
        </p:spPr>
        <p:txBody>
          <a:bodyPr lIns="36000" tIns="36000" rIns="36000" bIns="36000" rtlCol="0" anchor="ctr"/>
          <a:lstStyle/>
          <a:p>
            <a:pPr>
              <a:defRPr/>
            </a:pPr>
            <a:endParaRPr lang="de-DE" sz="800" kern="0" dirty="0"/>
          </a:p>
        </p:txBody>
      </p:sp>
      <p:sp>
        <p:nvSpPr>
          <p:cNvPr id="1148" name="Freihandform: Form 224">
            <a:extLst>
              <a:ext uri="{FF2B5EF4-FFF2-40B4-BE49-F238E27FC236}">
                <a16:creationId xmlns:a16="http://schemas.microsoft.com/office/drawing/2014/main" id="{65D57BD9-A0E7-4A82-8AB8-B269CCB3EE76}"/>
              </a:ext>
            </a:extLst>
          </p:cNvPr>
          <p:cNvSpPr/>
          <p:nvPr/>
        </p:nvSpPr>
        <p:spPr>
          <a:xfrm>
            <a:off x="4695683" y="2657914"/>
            <a:ext cx="88811" cy="152491"/>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2700" cap="sq">
            <a:solidFill>
              <a:schemeClr val="accent5"/>
            </a:solidFill>
            <a:prstDash val="solid"/>
            <a:miter/>
          </a:ln>
        </p:spPr>
        <p:txBody>
          <a:bodyPr lIns="36000" tIns="36000" rIns="36000" bIns="36000" rtlCol="0" anchor="ctr"/>
          <a:lstStyle/>
          <a:p>
            <a:pPr>
              <a:defRPr/>
            </a:pPr>
            <a:endParaRPr lang="de-DE" sz="800" kern="0" dirty="0"/>
          </a:p>
        </p:txBody>
      </p:sp>
      <p:sp>
        <p:nvSpPr>
          <p:cNvPr id="1149" name="TextBox 312">
            <a:extLst>
              <a:ext uri="{FF2B5EF4-FFF2-40B4-BE49-F238E27FC236}">
                <a16:creationId xmlns:a16="http://schemas.microsoft.com/office/drawing/2014/main" id="{869140CF-C120-455F-BA84-7701D23C547E}"/>
              </a:ext>
            </a:extLst>
          </p:cNvPr>
          <p:cNvSpPr txBox="1"/>
          <p:nvPr/>
        </p:nvSpPr>
        <p:spPr>
          <a:xfrm>
            <a:off x="4458369" y="2356310"/>
            <a:ext cx="683953" cy="138499"/>
          </a:xfrm>
          <a:prstGeom prst="rect">
            <a:avLst/>
          </a:prstGeom>
          <a:noFill/>
        </p:spPr>
        <p:txBody>
          <a:bodyPr wrap="square" lIns="0" tIns="0" rIns="0" bIns="0" rtlCol="0">
            <a:spAutoFit/>
          </a:bodyPr>
          <a:lstStyle/>
          <a:p>
            <a:pPr algn="ctr"/>
            <a:r>
              <a:rPr lang="de-DE" sz="900" dirty="0"/>
              <a:t>Landeskonten</a:t>
            </a:r>
          </a:p>
        </p:txBody>
      </p:sp>
      <p:cxnSp>
        <p:nvCxnSpPr>
          <p:cNvPr id="1151" name="Gerade Verbindung mit Pfeil 577">
            <a:extLst>
              <a:ext uri="{FF2B5EF4-FFF2-40B4-BE49-F238E27FC236}">
                <a16:creationId xmlns:a16="http://schemas.microsoft.com/office/drawing/2014/main" id="{38B0924C-20BE-4D8D-B469-468710F508FD}"/>
              </a:ext>
            </a:extLst>
          </p:cNvPr>
          <p:cNvCxnSpPr>
            <a:stCxn id="1943" idx="0"/>
            <a:endCxn id="1136" idx="2"/>
          </p:cNvCxnSpPr>
          <p:nvPr/>
        </p:nvCxnSpPr>
        <p:spPr>
          <a:xfrm rot="5400000" flipH="1" flipV="1">
            <a:off x="3915411" y="2057357"/>
            <a:ext cx="85801" cy="499010"/>
          </a:xfrm>
          <a:prstGeom prst="bentConnector2">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56" name="Gerade Verbindung mit Pfeil 519">
            <a:extLst>
              <a:ext uri="{FF2B5EF4-FFF2-40B4-BE49-F238E27FC236}">
                <a16:creationId xmlns:a16="http://schemas.microsoft.com/office/drawing/2014/main" id="{F5C75043-A84A-4B7E-A09D-41DB184DF5A6}"/>
              </a:ext>
            </a:extLst>
          </p:cNvPr>
          <p:cNvCxnSpPr/>
          <p:nvPr/>
        </p:nvCxnSpPr>
        <p:spPr>
          <a:xfrm>
            <a:off x="4000922" y="5917557"/>
            <a:ext cx="0" cy="18000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57" name="Flowchart: Connector 371">
            <a:extLst>
              <a:ext uri="{FF2B5EF4-FFF2-40B4-BE49-F238E27FC236}">
                <a16:creationId xmlns:a16="http://schemas.microsoft.com/office/drawing/2014/main" id="{3EA4B493-43BC-445B-8C19-7AEA330BE32B}"/>
              </a:ext>
            </a:extLst>
          </p:cNvPr>
          <p:cNvSpPr/>
          <p:nvPr/>
        </p:nvSpPr>
        <p:spPr>
          <a:xfrm>
            <a:off x="8352091" y="3318617"/>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11</a:t>
            </a:r>
          </a:p>
        </p:txBody>
      </p:sp>
      <p:sp>
        <p:nvSpPr>
          <p:cNvPr id="1158" name="Flowchart: Connector 372">
            <a:extLst>
              <a:ext uri="{FF2B5EF4-FFF2-40B4-BE49-F238E27FC236}">
                <a16:creationId xmlns:a16="http://schemas.microsoft.com/office/drawing/2014/main" id="{349BF1E7-4303-4E61-AA7E-BE341AC99498}"/>
              </a:ext>
            </a:extLst>
          </p:cNvPr>
          <p:cNvSpPr/>
          <p:nvPr/>
        </p:nvSpPr>
        <p:spPr>
          <a:xfrm>
            <a:off x="2318528" y="1781652"/>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12</a:t>
            </a:r>
          </a:p>
        </p:txBody>
      </p:sp>
      <p:sp>
        <p:nvSpPr>
          <p:cNvPr id="1159" name="Flowchart: Connector 373">
            <a:extLst>
              <a:ext uri="{FF2B5EF4-FFF2-40B4-BE49-F238E27FC236}">
                <a16:creationId xmlns:a16="http://schemas.microsoft.com/office/drawing/2014/main" id="{E3A2677E-D7E6-47AA-A8CA-FDC837C37092}"/>
              </a:ext>
            </a:extLst>
          </p:cNvPr>
          <p:cNvSpPr/>
          <p:nvPr/>
        </p:nvSpPr>
        <p:spPr>
          <a:xfrm>
            <a:off x="1994351" y="1781652"/>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13</a:t>
            </a:r>
          </a:p>
        </p:txBody>
      </p:sp>
      <p:sp>
        <p:nvSpPr>
          <p:cNvPr id="1160" name="Flowchart: Connector 371">
            <a:extLst>
              <a:ext uri="{FF2B5EF4-FFF2-40B4-BE49-F238E27FC236}">
                <a16:creationId xmlns:a16="http://schemas.microsoft.com/office/drawing/2014/main" id="{3EA4B493-43BC-445B-8C19-7AEA330BE32B}"/>
              </a:ext>
            </a:extLst>
          </p:cNvPr>
          <p:cNvSpPr/>
          <p:nvPr/>
        </p:nvSpPr>
        <p:spPr>
          <a:xfrm>
            <a:off x="6959954" y="4535826"/>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11</a:t>
            </a:r>
          </a:p>
        </p:txBody>
      </p:sp>
      <p:sp>
        <p:nvSpPr>
          <p:cNvPr id="1161" name="Flowchart: Connector 244">
            <a:extLst>
              <a:ext uri="{FF2B5EF4-FFF2-40B4-BE49-F238E27FC236}">
                <a16:creationId xmlns:a16="http://schemas.microsoft.com/office/drawing/2014/main" id="{1FCE09CA-36FC-46F8-846A-3864C1CCA87D}"/>
              </a:ext>
            </a:extLst>
          </p:cNvPr>
          <p:cNvSpPr/>
          <p:nvPr/>
        </p:nvSpPr>
        <p:spPr>
          <a:xfrm>
            <a:off x="4219076" y="3002256"/>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3b</a:t>
            </a:r>
          </a:p>
        </p:txBody>
      </p:sp>
      <p:sp>
        <p:nvSpPr>
          <p:cNvPr id="1162" name="Flowchart: Connector 246">
            <a:extLst>
              <a:ext uri="{FF2B5EF4-FFF2-40B4-BE49-F238E27FC236}">
                <a16:creationId xmlns:a16="http://schemas.microsoft.com/office/drawing/2014/main" id="{1D964074-5B52-40C2-8726-EFE3DA755917}"/>
              </a:ext>
            </a:extLst>
          </p:cNvPr>
          <p:cNvSpPr/>
          <p:nvPr/>
        </p:nvSpPr>
        <p:spPr>
          <a:xfrm>
            <a:off x="3324373" y="2472042"/>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3a</a:t>
            </a:r>
          </a:p>
        </p:txBody>
      </p:sp>
      <p:cxnSp>
        <p:nvCxnSpPr>
          <p:cNvPr id="1163" name="Gerade Verbindung mit Pfeil 1162">
            <a:extLst>
              <a:ext uri="{FF2B5EF4-FFF2-40B4-BE49-F238E27FC236}">
                <a16:creationId xmlns:a16="http://schemas.microsoft.com/office/drawing/2014/main" id="{B2324294-942D-4C26-A53C-FF6E7C932AA7}"/>
              </a:ext>
            </a:extLst>
          </p:cNvPr>
          <p:cNvCxnSpPr/>
          <p:nvPr/>
        </p:nvCxnSpPr>
        <p:spPr>
          <a:xfrm>
            <a:off x="4933572" y="5119198"/>
            <a:ext cx="36000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64" name="Abgerundetes Rechteck 13">
            <a:extLst>
              <a:ext uri="{FF2B5EF4-FFF2-40B4-BE49-F238E27FC236}">
                <a16:creationId xmlns:a16="http://schemas.microsoft.com/office/drawing/2014/main" id="{5CD60640-289D-4D30-8AE0-0F7EB7900213}"/>
              </a:ext>
            </a:extLst>
          </p:cNvPr>
          <p:cNvSpPr/>
          <p:nvPr/>
        </p:nvSpPr>
        <p:spPr>
          <a:xfrm>
            <a:off x="8671357" y="4644179"/>
            <a:ext cx="1646974" cy="950038"/>
          </a:xfrm>
          <a:prstGeom prst="roundRect">
            <a:avLst>
              <a:gd name="adj" fmla="val 7688"/>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12000" tIns="36000" rIns="36000" bIns="36000" rtlCol="0" anchor="ctr"/>
          <a:lstStyle/>
          <a:p>
            <a:pPr algn="ctr"/>
            <a:r>
              <a:rPr lang="de-DE" sz="800" dirty="0">
                <a:solidFill>
                  <a:schemeClr val="tx1"/>
                </a:solidFill>
              </a:rPr>
              <a:t>Antrag bearbeiten</a:t>
            </a:r>
            <a:br>
              <a:rPr lang="de-DE" sz="800" dirty="0">
                <a:solidFill>
                  <a:schemeClr val="tx1"/>
                </a:solidFill>
              </a:rPr>
            </a:br>
            <a:r>
              <a:rPr lang="de-DE" sz="800" dirty="0">
                <a:solidFill>
                  <a:schemeClr val="tx1"/>
                </a:solidFill>
              </a:rPr>
              <a:t>(im Fachverfahren</a:t>
            </a:r>
            <a:br>
              <a:rPr lang="de-DE" sz="800" dirty="0">
                <a:solidFill>
                  <a:schemeClr val="tx1"/>
                </a:solidFill>
              </a:rPr>
            </a:br>
            <a:r>
              <a:rPr lang="de-DE" sz="800" dirty="0">
                <a:solidFill>
                  <a:schemeClr val="tx1"/>
                </a:solidFill>
              </a:rPr>
              <a:t>der Behörde)</a:t>
            </a:r>
          </a:p>
        </p:txBody>
      </p:sp>
      <p:grpSp>
        <p:nvGrpSpPr>
          <p:cNvPr id="1165" name="Gruppieren 1164"/>
          <p:cNvGrpSpPr/>
          <p:nvPr/>
        </p:nvGrpSpPr>
        <p:grpSpPr>
          <a:xfrm>
            <a:off x="10918791" y="5571097"/>
            <a:ext cx="579380" cy="555688"/>
            <a:chOff x="10918791" y="5571097"/>
            <a:chExt cx="579380" cy="555688"/>
          </a:xfrm>
        </p:grpSpPr>
        <p:sp>
          <p:nvSpPr>
            <p:cNvPr id="1166" name="Rectangle 324"/>
            <p:cNvSpPr>
              <a:spLocks noChangeArrowheads="1"/>
            </p:cNvSpPr>
            <p:nvPr/>
          </p:nvSpPr>
          <p:spPr bwMode="auto">
            <a:xfrm>
              <a:off x="10918791" y="5571097"/>
              <a:ext cx="579380" cy="555688"/>
            </a:xfrm>
            <a:prstGeom prst="rect">
              <a:avLst/>
            </a:prstGeom>
            <a:noFill/>
            <a:ln>
              <a:noFill/>
            </a:ln>
            <a:extLst>
              <a:ext uri="{909E8E84-426E-40DD-AFC4-6F175D3DCCD1}">
                <a14:hiddenFill xmlns:a14="http://schemas.microsoft.com/office/drawing/2010/main">
                  <a:solidFill>
                    <a:srgbClr val="797979"/>
                  </a:solidFill>
                </a14:hiddenFill>
              </a:ext>
              <a:ext uri="{91240B29-F687-4F45-9708-019B960494DF}">
                <a14:hiddenLine xmlns:a14="http://schemas.microsoft.com/office/drawing/2010/main" w="0">
                  <a:solidFill>
                    <a:schemeClr val="accent2"/>
                  </a:solidFill>
                  <a:miter lim="800000"/>
                  <a:headEnd/>
                  <a:tailEnd/>
                </a14:hiddenLine>
              </a:ext>
            </a:extLst>
          </p:spPr>
          <p:txBody>
            <a:bodyPr/>
            <a:lstStyle/>
            <a:p>
              <a:endParaRPr lang="de-DE" dirty="0"/>
            </a:p>
          </p:txBody>
        </p:sp>
        <p:sp>
          <p:nvSpPr>
            <p:cNvPr id="1167" name="Freeform 325"/>
            <p:cNvSpPr>
              <a:spLocks noEditPoints="1"/>
            </p:cNvSpPr>
            <p:nvPr/>
          </p:nvSpPr>
          <p:spPr bwMode="auto">
            <a:xfrm>
              <a:off x="10921966" y="5577448"/>
              <a:ext cx="574618" cy="544574"/>
            </a:xfrm>
            <a:custGeom>
              <a:avLst/>
              <a:gdLst>
                <a:gd name="T0" fmla="*/ 2944 w 3617"/>
                <a:gd name="T1" fmla="*/ 184 h 3429"/>
                <a:gd name="T2" fmla="*/ 2182 w 3617"/>
                <a:gd name="T3" fmla="*/ 189 h 3429"/>
                <a:gd name="T4" fmla="*/ 1620 w 3617"/>
                <a:gd name="T5" fmla="*/ 170 h 3429"/>
                <a:gd name="T6" fmla="*/ 1050 w 3617"/>
                <a:gd name="T7" fmla="*/ 170 h 3429"/>
                <a:gd name="T8" fmla="*/ 484 w 3617"/>
                <a:gd name="T9" fmla="*/ 190 h 3429"/>
                <a:gd name="T10" fmla="*/ 196 w 3617"/>
                <a:gd name="T11" fmla="*/ 290 h 3429"/>
                <a:gd name="T12" fmla="*/ 198 w 3617"/>
                <a:gd name="T13" fmla="*/ 859 h 3429"/>
                <a:gd name="T14" fmla="*/ 177 w 3617"/>
                <a:gd name="T15" fmla="*/ 1431 h 3429"/>
                <a:gd name="T16" fmla="*/ 203 w 3617"/>
                <a:gd name="T17" fmla="*/ 1999 h 3429"/>
                <a:gd name="T18" fmla="*/ 201 w 3617"/>
                <a:gd name="T19" fmla="*/ 2566 h 3429"/>
                <a:gd name="T20" fmla="*/ 176 w 3617"/>
                <a:gd name="T21" fmla="*/ 3141 h 3429"/>
                <a:gd name="T22" fmla="*/ 484 w 3617"/>
                <a:gd name="T23" fmla="*/ 3240 h 3429"/>
                <a:gd name="T24" fmla="*/ 1058 w 3617"/>
                <a:gd name="T25" fmla="*/ 3245 h 3429"/>
                <a:gd name="T26" fmla="*/ 1620 w 3617"/>
                <a:gd name="T27" fmla="*/ 3225 h 3429"/>
                <a:gd name="T28" fmla="*/ 2189 w 3617"/>
                <a:gd name="T29" fmla="*/ 3257 h 3429"/>
                <a:gd name="T30" fmla="*/ 2756 w 3617"/>
                <a:gd name="T31" fmla="*/ 3234 h 3429"/>
                <a:gd name="T32" fmla="*/ 3324 w 3617"/>
                <a:gd name="T33" fmla="*/ 3237 h 3429"/>
                <a:gd name="T34" fmla="*/ 3424 w 3617"/>
                <a:gd name="T35" fmla="*/ 2938 h 3429"/>
                <a:gd name="T36" fmla="*/ 3422 w 3617"/>
                <a:gd name="T37" fmla="*/ 2376 h 3429"/>
                <a:gd name="T38" fmla="*/ 3420 w 3617"/>
                <a:gd name="T39" fmla="*/ 1810 h 3429"/>
                <a:gd name="T40" fmla="*/ 3445 w 3617"/>
                <a:gd name="T41" fmla="*/ 1242 h 3429"/>
                <a:gd name="T42" fmla="*/ 3419 w 3617"/>
                <a:gd name="T43" fmla="*/ 856 h 3429"/>
                <a:gd name="T44" fmla="*/ 3447 w 3617"/>
                <a:gd name="T45" fmla="*/ 285 h 3429"/>
                <a:gd name="T46" fmla="*/ 3325 w 3617"/>
                <a:gd name="T47" fmla="*/ 0 h 3429"/>
                <a:gd name="T48" fmla="*/ 3586 w 3617"/>
                <a:gd name="T49" fmla="*/ 484 h 3429"/>
                <a:gd name="T50" fmla="*/ 3595 w 3617"/>
                <a:gd name="T51" fmla="*/ 1044 h 3429"/>
                <a:gd name="T52" fmla="*/ 3584 w 3617"/>
                <a:gd name="T53" fmla="*/ 1623 h 3429"/>
                <a:gd name="T54" fmla="*/ 3593 w 3617"/>
                <a:gd name="T55" fmla="*/ 2191 h 3429"/>
                <a:gd name="T56" fmla="*/ 3614 w 3617"/>
                <a:gd name="T57" fmla="*/ 2755 h 3429"/>
                <a:gd name="T58" fmla="*/ 3596 w 3617"/>
                <a:gd name="T59" fmla="*/ 3403 h 3429"/>
                <a:gd name="T60" fmla="*/ 2942 w 3617"/>
                <a:gd name="T61" fmla="*/ 3425 h 3429"/>
                <a:gd name="T62" fmla="*/ 2378 w 3617"/>
                <a:gd name="T63" fmla="*/ 3403 h 3429"/>
                <a:gd name="T64" fmla="*/ 1808 w 3617"/>
                <a:gd name="T65" fmla="*/ 3394 h 3429"/>
                <a:gd name="T66" fmla="*/ 1242 w 3617"/>
                <a:gd name="T67" fmla="*/ 3421 h 3429"/>
                <a:gd name="T68" fmla="*/ 676 w 3617"/>
                <a:gd name="T69" fmla="*/ 3413 h 3429"/>
                <a:gd name="T70" fmla="*/ 21 w 3617"/>
                <a:gd name="T71" fmla="*/ 3416 h 3429"/>
                <a:gd name="T72" fmla="*/ 17 w 3617"/>
                <a:gd name="T73" fmla="*/ 2759 h 3429"/>
                <a:gd name="T74" fmla="*/ 16 w 3617"/>
                <a:gd name="T75" fmla="*/ 2180 h 3429"/>
                <a:gd name="T76" fmla="*/ 6 w 3617"/>
                <a:gd name="T77" fmla="*/ 1621 h 3429"/>
                <a:gd name="T78" fmla="*/ 15 w 3617"/>
                <a:gd name="T79" fmla="*/ 1044 h 3429"/>
                <a:gd name="T80" fmla="*/ 10 w 3617"/>
                <a:gd name="T81" fmla="*/ 477 h 3429"/>
                <a:gd name="T82" fmla="*/ 299 w 3617"/>
                <a:gd name="T83" fmla="*/ 9 h 3429"/>
                <a:gd name="T84" fmla="*/ 861 w 3617"/>
                <a:gd name="T85" fmla="*/ 4 h 3429"/>
                <a:gd name="T86" fmla="*/ 1428 w 3617"/>
                <a:gd name="T87" fmla="*/ 12 h 3429"/>
                <a:gd name="T88" fmla="*/ 2001 w 3617"/>
                <a:gd name="T89" fmla="*/ 5 h 3429"/>
                <a:gd name="T90" fmla="*/ 2754 w 3617"/>
                <a:gd name="T91" fmla="*/ 0 h 3429"/>
                <a:gd name="T92" fmla="*/ 3325 w 3617"/>
                <a:gd name="T93" fmla="*/ 0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17" h="3429">
                  <a:moveTo>
                    <a:pt x="3325" y="169"/>
                  </a:moveTo>
                  <a:lnTo>
                    <a:pt x="3140" y="179"/>
                  </a:lnTo>
                  <a:lnTo>
                    <a:pt x="2944" y="184"/>
                  </a:lnTo>
                  <a:lnTo>
                    <a:pt x="2759" y="170"/>
                  </a:lnTo>
                  <a:lnTo>
                    <a:pt x="2572" y="193"/>
                  </a:lnTo>
                  <a:lnTo>
                    <a:pt x="2182" y="189"/>
                  </a:lnTo>
                  <a:lnTo>
                    <a:pt x="1997" y="174"/>
                  </a:lnTo>
                  <a:lnTo>
                    <a:pt x="1808" y="181"/>
                  </a:lnTo>
                  <a:lnTo>
                    <a:pt x="1620" y="170"/>
                  </a:lnTo>
                  <a:lnTo>
                    <a:pt x="1433" y="181"/>
                  </a:lnTo>
                  <a:lnTo>
                    <a:pt x="1236" y="180"/>
                  </a:lnTo>
                  <a:lnTo>
                    <a:pt x="1050" y="170"/>
                  </a:lnTo>
                  <a:lnTo>
                    <a:pt x="863" y="173"/>
                  </a:lnTo>
                  <a:lnTo>
                    <a:pt x="676" y="174"/>
                  </a:lnTo>
                  <a:lnTo>
                    <a:pt x="484" y="190"/>
                  </a:lnTo>
                  <a:lnTo>
                    <a:pt x="290" y="178"/>
                  </a:lnTo>
                  <a:lnTo>
                    <a:pt x="186" y="175"/>
                  </a:lnTo>
                  <a:lnTo>
                    <a:pt x="196" y="290"/>
                  </a:lnTo>
                  <a:lnTo>
                    <a:pt x="180" y="483"/>
                  </a:lnTo>
                  <a:lnTo>
                    <a:pt x="184" y="666"/>
                  </a:lnTo>
                  <a:lnTo>
                    <a:pt x="198" y="859"/>
                  </a:lnTo>
                  <a:lnTo>
                    <a:pt x="184" y="1052"/>
                  </a:lnTo>
                  <a:lnTo>
                    <a:pt x="182" y="1240"/>
                  </a:lnTo>
                  <a:lnTo>
                    <a:pt x="177" y="1431"/>
                  </a:lnTo>
                  <a:lnTo>
                    <a:pt x="175" y="1617"/>
                  </a:lnTo>
                  <a:lnTo>
                    <a:pt x="187" y="1803"/>
                  </a:lnTo>
                  <a:lnTo>
                    <a:pt x="203" y="1999"/>
                  </a:lnTo>
                  <a:lnTo>
                    <a:pt x="185" y="2193"/>
                  </a:lnTo>
                  <a:lnTo>
                    <a:pt x="180" y="2374"/>
                  </a:lnTo>
                  <a:lnTo>
                    <a:pt x="201" y="2566"/>
                  </a:lnTo>
                  <a:lnTo>
                    <a:pt x="187" y="2755"/>
                  </a:lnTo>
                  <a:lnTo>
                    <a:pt x="206" y="2950"/>
                  </a:lnTo>
                  <a:lnTo>
                    <a:pt x="176" y="3141"/>
                  </a:lnTo>
                  <a:lnTo>
                    <a:pt x="182" y="3243"/>
                  </a:lnTo>
                  <a:lnTo>
                    <a:pt x="292" y="3240"/>
                  </a:lnTo>
                  <a:lnTo>
                    <a:pt x="484" y="3240"/>
                  </a:lnTo>
                  <a:lnTo>
                    <a:pt x="670" y="3243"/>
                  </a:lnTo>
                  <a:lnTo>
                    <a:pt x="863" y="3226"/>
                  </a:lnTo>
                  <a:lnTo>
                    <a:pt x="1058" y="3245"/>
                  </a:lnTo>
                  <a:lnTo>
                    <a:pt x="1242" y="3251"/>
                  </a:lnTo>
                  <a:lnTo>
                    <a:pt x="1425" y="3247"/>
                  </a:lnTo>
                  <a:lnTo>
                    <a:pt x="1620" y="3225"/>
                  </a:lnTo>
                  <a:lnTo>
                    <a:pt x="1812" y="3225"/>
                  </a:lnTo>
                  <a:lnTo>
                    <a:pt x="2011" y="3233"/>
                  </a:lnTo>
                  <a:lnTo>
                    <a:pt x="2189" y="3257"/>
                  </a:lnTo>
                  <a:lnTo>
                    <a:pt x="2379" y="3231"/>
                  </a:lnTo>
                  <a:lnTo>
                    <a:pt x="2568" y="3258"/>
                  </a:lnTo>
                  <a:lnTo>
                    <a:pt x="2756" y="3234"/>
                  </a:lnTo>
                  <a:lnTo>
                    <a:pt x="2951" y="3256"/>
                  </a:lnTo>
                  <a:lnTo>
                    <a:pt x="3131" y="3254"/>
                  </a:lnTo>
                  <a:lnTo>
                    <a:pt x="3324" y="3237"/>
                  </a:lnTo>
                  <a:lnTo>
                    <a:pt x="3419" y="3236"/>
                  </a:lnTo>
                  <a:lnTo>
                    <a:pt x="3416" y="3137"/>
                  </a:lnTo>
                  <a:lnTo>
                    <a:pt x="3424" y="2938"/>
                  </a:lnTo>
                  <a:lnTo>
                    <a:pt x="3442" y="2758"/>
                  </a:lnTo>
                  <a:lnTo>
                    <a:pt x="3418" y="2571"/>
                  </a:lnTo>
                  <a:lnTo>
                    <a:pt x="3422" y="2376"/>
                  </a:lnTo>
                  <a:lnTo>
                    <a:pt x="3424" y="2180"/>
                  </a:lnTo>
                  <a:lnTo>
                    <a:pt x="3440" y="1998"/>
                  </a:lnTo>
                  <a:lnTo>
                    <a:pt x="3420" y="1810"/>
                  </a:lnTo>
                  <a:lnTo>
                    <a:pt x="3415" y="1612"/>
                  </a:lnTo>
                  <a:lnTo>
                    <a:pt x="3445" y="1421"/>
                  </a:lnTo>
                  <a:lnTo>
                    <a:pt x="3445" y="1242"/>
                  </a:lnTo>
                  <a:lnTo>
                    <a:pt x="3425" y="1051"/>
                  </a:lnTo>
                  <a:lnTo>
                    <a:pt x="3419" y="858"/>
                  </a:lnTo>
                  <a:lnTo>
                    <a:pt x="3419" y="856"/>
                  </a:lnTo>
                  <a:lnTo>
                    <a:pt x="3427" y="670"/>
                  </a:lnTo>
                  <a:lnTo>
                    <a:pt x="3416" y="475"/>
                  </a:lnTo>
                  <a:lnTo>
                    <a:pt x="3447" y="285"/>
                  </a:lnTo>
                  <a:lnTo>
                    <a:pt x="3441" y="174"/>
                  </a:lnTo>
                  <a:lnTo>
                    <a:pt x="3325" y="169"/>
                  </a:lnTo>
                  <a:close/>
                  <a:moveTo>
                    <a:pt x="3325" y="0"/>
                  </a:moveTo>
                  <a:lnTo>
                    <a:pt x="3603" y="12"/>
                  </a:lnTo>
                  <a:lnTo>
                    <a:pt x="3617" y="295"/>
                  </a:lnTo>
                  <a:lnTo>
                    <a:pt x="3586" y="484"/>
                  </a:lnTo>
                  <a:lnTo>
                    <a:pt x="3597" y="668"/>
                  </a:lnTo>
                  <a:lnTo>
                    <a:pt x="3589" y="859"/>
                  </a:lnTo>
                  <a:lnTo>
                    <a:pt x="3595" y="1044"/>
                  </a:lnTo>
                  <a:lnTo>
                    <a:pt x="3614" y="1239"/>
                  </a:lnTo>
                  <a:lnTo>
                    <a:pt x="3613" y="1441"/>
                  </a:lnTo>
                  <a:lnTo>
                    <a:pt x="3584" y="1623"/>
                  </a:lnTo>
                  <a:lnTo>
                    <a:pt x="3591" y="1802"/>
                  </a:lnTo>
                  <a:lnTo>
                    <a:pt x="3611" y="1997"/>
                  </a:lnTo>
                  <a:lnTo>
                    <a:pt x="3593" y="2191"/>
                  </a:lnTo>
                  <a:lnTo>
                    <a:pt x="3592" y="2378"/>
                  </a:lnTo>
                  <a:lnTo>
                    <a:pt x="3588" y="2562"/>
                  </a:lnTo>
                  <a:lnTo>
                    <a:pt x="3614" y="2755"/>
                  </a:lnTo>
                  <a:lnTo>
                    <a:pt x="3592" y="2952"/>
                  </a:lnTo>
                  <a:lnTo>
                    <a:pt x="3586" y="3137"/>
                  </a:lnTo>
                  <a:lnTo>
                    <a:pt x="3596" y="3403"/>
                  </a:lnTo>
                  <a:lnTo>
                    <a:pt x="3329" y="3406"/>
                  </a:lnTo>
                  <a:lnTo>
                    <a:pt x="3137" y="3423"/>
                  </a:lnTo>
                  <a:lnTo>
                    <a:pt x="2942" y="3425"/>
                  </a:lnTo>
                  <a:lnTo>
                    <a:pt x="2757" y="3404"/>
                  </a:lnTo>
                  <a:lnTo>
                    <a:pt x="2567" y="3429"/>
                  </a:lnTo>
                  <a:lnTo>
                    <a:pt x="2378" y="3403"/>
                  </a:lnTo>
                  <a:lnTo>
                    <a:pt x="2189" y="3427"/>
                  </a:lnTo>
                  <a:lnTo>
                    <a:pt x="1992" y="3402"/>
                  </a:lnTo>
                  <a:lnTo>
                    <a:pt x="1808" y="3394"/>
                  </a:lnTo>
                  <a:lnTo>
                    <a:pt x="1626" y="3395"/>
                  </a:lnTo>
                  <a:lnTo>
                    <a:pt x="1433" y="3416"/>
                  </a:lnTo>
                  <a:lnTo>
                    <a:pt x="1242" y="3421"/>
                  </a:lnTo>
                  <a:lnTo>
                    <a:pt x="1044" y="3414"/>
                  </a:lnTo>
                  <a:lnTo>
                    <a:pt x="862" y="3396"/>
                  </a:lnTo>
                  <a:lnTo>
                    <a:pt x="676" y="3413"/>
                  </a:lnTo>
                  <a:lnTo>
                    <a:pt x="483" y="3409"/>
                  </a:lnTo>
                  <a:lnTo>
                    <a:pt x="295" y="3409"/>
                  </a:lnTo>
                  <a:lnTo>
                    <a:pt x="21" y="3416"/>
                  </a:lnTo>
                  <a:lnTo>
                    <a:pt x="6" y="3132"/>
                  </a:lnTo>
                  <a:lnTo>
                    <a:pt x="36" y="2944"/>
                  </a:lnTo>
                  <a:lnTo>
                    <a:pt x="17" y="2759"/>
                  </a:lnTo>
                  <a:lnTo>
                    <a:pt x="30" y="2569"/>
                  </a:lnTo>
                  <a:lnTo>
                    <a:pt x="9" y="2381"/>
                  </a:lnTo>
                  <a:lnTo>
                    <a:pt x="16" y="2180"/>
                  </a:lnTo>
                  <a:lnTo>
                    <a:pt x="32" y="1998"/>
                  </a:lnTo>
                  <a:lnTo>
                    <a:pt x="18" y="1816"/>
                  </a:lnTo>
                  <a:lnTo>
                    <a:pt x="6" y="1621"/>
                  </a:lnTo>
                  <a:lnTo>
                    <a:pt x="8" y="1428"/>
                  </a:lnTo>
                  <a:lnTo>
                    <a:pt x="13" y="1237"/>
                  </a:lnTo>
                  <a:lnTo>
                    <a:pt x="15" y="1044"/>
                  </a:lnTo>
                  <a:lnTo>
                    <a:pt x="28" y="859"/>
                  </a:lnTo>
                  <a:lnTo>
                    <a:pt x="14" y="671"/>
                  </a:lnTo>
                  <a:lnTo>
                    <a:pt x="10" y="477"/>
                  </a:lnTo>
                  <a:lnTo>
                    <a:pt x="26" y="290"/>
                  </a:lnTo>
                  <a:lnTo>
                    <a:pt x="0" y="2"/>
                  </a:lnTo>
                  <a:lnTo>
                    <a:pt x="299" y="9"/>
                  </a:lnTo>
                  <a:lnTo>
                    <a:pt x="483" y="20"/>
                  </a:lnTo>
                  <a:lnTo>
                    <a:pt x="672" y="5"/>
                  </a:lnTo>
                  <a:lnTo>
                    <a:pt x="861" y="4"/>
                  </a:lnTo>
                  <a:lnTo>
                    <a:pt x="1053" y="0"/>
                  </a:lnTo>
                  <a:lnTo>
                    <a:pt x="1244" y="11"/>
                  </a:lnTo>
                  <a:lnTo>
                    <a:pt x="1428" y="12"/>
                  </a:lnTo>
                  <a:lnTo>
                    <a:pt x="1620" y="1"/>
                  </a:lnTo>
                  <a:lnTo>
                    <a:pt x="1810" y="12"/>
                  </a:lnTo>
                  <a:lnTo>
                    <a:pt x="2001" y="5"/>
                  </a:lnTo>
                  <a:lnTo>
                    <a:pt x="2192" y="20"/>
                  </a:lnTo>
                  <a:lnTo>
                    <a:pt x="2563" y="23"/>
                  </a:lnTo>
                  <a:lnTo>
                    <a:pt x="2754" y="0"/>
                  </a:lnTo>
                  <a:lnTo>
                    <a:pt x="2948" y="15"/>
                  </a:lnTo>
                  <a:lnTo>
                    <a:pt x="3133" y="9"/>
                  </a:lnTo>
                  <a:lnTo>
                    <a:pt x="3325" y="0"/>
                  </a:lnTo>
                  <a:close/>
                </a:path>
              </a:pathLst>
            </a:custGeom>
            <a:solidFill>
              <a:schemeClr val="accent5"/>
            </a:solidFill>
            <a:ln>
              <a:noFill/>
            </a:ln>
          </p:spPr>
          <p:txBody>
            <a:bodyPr/>
            <a:lstStyle/>
            <a:p>
              <a:endParaRPr lang="de-DE" dirty="0"/>
            </a:p>
          </p:txBody>
        </p:sp>
        <p:sp>
          <p:nvSpPr>
            <p:cNvPr id="1168" name="Freeform 326"/>
            <p:cNvSpPr>
              <a:spLocks/>
            </p:cNvSpPr>
            <p:nvPr/>
          </p:nvSpPr>
          <p:spPr bwMode="auto">
            <a:xfrm>
              <a:off x="10979110" y="5647306"/>
              <a:ext cx="55557" cy="15877"/>
            </a:xfrm>
            <a:custGeom>
              <a:avLst/>
              <a:gdLst>
                <a:gd name="T0" fmla="*/ 51 w 344"/>
                <a:gd name="T1" fmla="*/ 0 h 101"/>
                <a:gd name="T2" fmla="*/ 293 w 344"/>
                <a:gd name="T3" fmla="*/ 0 h 101"/>
                <a:gd name="T4" fmla="*/ 310 w 344"/>
                <a:gd name="T5" fmla="*/ 2 h 101"/>
                <a:gd name="T6" fmla="*/ 323 w 344"/>
                <a:gd name="T7" fmla="*/ 10 h 101"/>
                <a:gd name="T8" fmla="*/ 334 w 344"/>
                <a:gd name="T9" fmla="*/ 21 h 101"/>
                <a:gd name="T10" fmla="*/ 342 w 344"/>
                <a:gd name="T11" fmla="*/ 34 h 101"/>
                <a:gd name="T12" fmla="*/ 344 w 344"/>
                <a:gd name="T13" fmla="*/ 51 h 101"/>
                <a:gd name="T14" fmla="*/ 342 w 344"/>
                <a:gd name="T15" fmla="*/ 66 h 101"/>
                <a:gd name="T16" fmla="*/ 334 w 344"/>
                <a:gd name="T17" fmla="*/ 81 h 101"/>
                <a:gd name="T18" fmla="*/ 323 w 344"/>
                <a:gd name="T19" fmla="*/ 91 h 101"/>
                <a:gd name="T20" fmla="*/ 310 w 344"/>
                <a:gd name="T21" fmla="*/ 99 h 101"/>
                <a:gd name="T22" fmla="*/ 293 w 344"/>
                <a:gd name="T23" fmla="*/ 101 h 101"/>
                <a:gd name="T24" fmla="*/ 51 w 344"/>
                <a:gd name="T25" fmla="*/ 101 h 101"/>
                <a:gd name="T26" fmla="*/ 34 w 344"/>
                <a:gd name="T27" fmla="*/ 99 h 101"/>
                <a:gd name="T28" fmla="*/ 21 w 344"/>
                <a:gd name="T29" fmla="*/ 91 h 101"/>
                <a:gd name="T30" fmla="*/ 10 w 344"/>
                <a:gd name="T31" fmla="*/ 81 h 101"/>
                <a:gd name="T32" fmla="*/ 3 w 344"/>
                <a:gd name="T33" fmla="*/ 66 h 101"/>
                <a:gd name="T34" fmla="*/ 0 w 344"/>
                <a:gd name="T35" fmla="*/ 51 h 101"/>
                <a:gd name="T36" fmla="*/ 3 w 344"/>
                <a:gd name="T37" fmla="*/ 34 h 101"/>
                <a:gd name="T38" fmla="*/ 10 w 344"/>
                <a:gd name="T39" fmla="*/ 21 h 101"/>
                <a:gd name="T40" fmla="*/ 21 w 344"/>
                <a:gd name="T41" fmla="*/ 10 h 101"/>
                <a:gd name="T42" fmla="*/ 34 w 344"/>
                <a:gd name="T43" fmla="*/ 2 h 101"/>
                <a:gd name="T44" fmla="*/ 51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1" y="0"/>
                  </a:moveTo>
                  <a:lnTo>
                    <a:pt x="293" y="0"/>
                  </a:lnTo>
                  <a:lnTo>
                    <a:pt x="310" y="2"/>
                  </a:lnTo>
                  <a:lnTo>
                    <a:pt x="323" y="10"/>
                  </a:lnTo>
                  <a:lnTo>
                    <a:pt x="334" y="21"/>
                  </a:lnTo>
                  <a:lnTo>
                    <a:pt x="342" y="34"/>
                  </a:lnTo>
                  <a:lnTo>
                    <a:pt x="344" y="51"/>
                  </a:lnTo>
                  <a:lnTo>
                    <a:pt x="342" y="66"/>
                  </a:lnTo>
                  <a:lnTo>
                    <a:pt x="334" y="81"/>
                  </a:lnTo>
                  <a:lnTo>
                    <a:pt x="323" y="91"/>
                  </a:lnTo>
                  <a:lnTo>
                    <a:pt x="310" y="99"/>
                  </a:lnTo>
                  <a:lnTo>
                    <a:pt x="293" y="101"/>
                  </a:lnTo>
                  <a:lnTo>
                    <a:pt x="51" y="101"/>
                  </a:lnTo>
                  <a:lnTo>
                    <a:pt x="34" y="99"/>
                  </a:lnTo>
                  <a:lnTo>
                    <a:pt x="21" y="91"/>
                  </a:lnTo>
                  <a:lnTo>
                    <a:pt x="10" y="81"/>
                  </a:lnTo>
                  <a:lnTo>
                    <a:pt x="3" y="66"/>
                  </a:lnTo>
                  <a:lnTo>
                    <a:pt x="0" y="51"/>
                  </a:lnTo>
                  <a:lnTo>
                    <a:pt x="3"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1169" name="Freeform 327"/>
            <p:cNvSpPr>
              <a:spLocks/>
            </p:cNvSpPr>
            <p:nvPr/>
          </p:nvSpPr>
          <p:spPr bwMode="auto">
            <a:xfrm>
              <a:off x="11037842" y="5652069"/>
              <a:ext cx="55557" cy="17464"/>
            </a:xfrm>
            <a:custGeom>
              <a:avLst/>
              <a:gdLst>
                <a:gd name="T0" fmla="*/ 51 w 347"/>
                <a:gd name="T1" fmla="*/ 0 h 101"/>
                <a:gd name="T2" fmla="*/ 298 w 347"/>
                <a:gd name="T3" fmla="*/ 0 h 101"/>
                <a:gd name="T4" fmla="*/ 313 w 347"/>
                <a:gd name="T5" fmla="*/ 3 h 101"/>
                <a:gd name="T6" fmla="*/ 328 w 347"/>
                <a:gd name="T7" fmla="*/ 10 h 101"/>
                <a:gd name="T8" fmla="*/ 339 w 347"/>
                <a:gd name="T9" fmla="*/ 21 h 101"/>
                <a:gd name="T10" fmla="*/ 345 w 347"/>
                <a:gd name="T11" fmla="*/ 35 h 101"/>
                <a:gd name="T12" fmla="*/ 347 w 347"/>
                <a:gd name="T13" fmla="*/ 50 h 101"/>
                <a:gd name="T14" fmla="*/ 345 w 347"/>
                <a:gd name="T15" fmla="*/ 67 h 101"/>
                <a:gd name="T16" fmla="*/ 339 w 347"/>
                <a:gd name="T17" fmla="*/ 80 h 101"/>
                <a:gd name="T18" fmla="*/ 328 w 347"/>
                <a:gd name="T19" fmla="*/ 91 h 101"/>
                <a:gd name="T20" fmla="*/ 313 w 347"/>
                <a:gd name="T21" fmla="*/ 98 h 101"/>
                <a:gd name="T22" fmla="*/ 298 w 347"/>
                <a:gd name="T23" fmla="*/ 101 h 101"/>
                <a:gd name="T24" fmla="*/ 51 w 347"/>
                <a:gd name="T25" fmla="*/ 101 h 101"/>
                <a:gd name="T26" fmla="*/ 35 w 347"/>
                <a:gd name="T27" fmla="*/ 98 h 101"/>
                <a:gd name="T28" fmla="*/ 21 w 347"/>
                <a:gd name="T29" fmla="*/ 91 h 101"/>
                <a:gd name="T30" fmla="*/ 10 w 347"/>
                <a:gd name="T31" fmla="*/ 80 h 101"/>
                <a:gd name="T32" fmla="*/ 3 w 347"/>
                <a:gd name="T33" fmla="*/ 67 h 101"/>
                <a:gd name="T34" fmla="*/ 0 w 347"/>
                <a:gd name="T35" fmla="*/ 50 h 101"/>
                <a:gd name="T36" fmla="*/ 3 w 347"/>
                <a:gd name="T37" fmla="*/ 35 h 101"/>
                <a:gd name="T38" fmla="*/ 10 w 347"/>
                <a:gd name="T39" fmla="*/ 21 h 101"/>
                <a:gd name="T40" fmla="*/ 21 w 347"/>
                <a:gd name="T41" fmla="*/ 10 h 101"/>
                <a:gd name="T42" fmla="*/ 35 w 347"/>
                <a:gd name="T43" fmla="*/ 3 h 101"/>
                <a:gd name="T44" fmla="*/ 51 w 347"/>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7" h="101">
                  <a:moveTo>
                    <a:pt x="51" y="0"/>
                  </a:moveTo>
                  <a:lnTo>
                    <a:pt x="298" y="0"/>
                  </a:lnTo>
                  <a:lnTo>
                    <a:pt x="313" y="3"/>
                  </a:lnTo>
                  <a:lnTo>
                    <a:pt x="328" y="10"/>
                  </a:lnTo>
                  <a:lnTo>
                    <a:pt x="339" y="21"/>
                  </a:lnTo>
                  <a:lnTo>
                    <a:pt x="345" y="35"/>
                  </a:lnTo>
                  <a:lnTo>
                    <a:pt x="347" y="50"/>
                  </a:lnTo>
                  <a:lnTo>
                    <a:pt x="345" y="67"/>
                  </a:lnTo>
                  <a:lnTo>
                    <a:pt x="339" y="80"/>
                  </a:lnTo>
                  <a:lnTo>
                    <a:pt x="328" y="91"/>
                  </a:lnTo>
                  <a:lnTo>
                    <a:pt x="313" y="98"/>
                  </a:lnTo>
                  <a:lnTo>
                    <a:pt x="298" y="101"/>
                  </a:lnTo>
                  <a:lnTo>
                    <a:pt x="51" y="101"/>
                  </a:lnTo>
                  <a:lnTo>
                    <a:pt x="35" y="98"/>
                  </a:lnTo>
                  <a:lnTo>
                    <a:pt x="21" y="91"/>
                  </a:lnTo>
                  <a:lnTo>
                    <a:pt x="10" y="80"/>
                  </a:lnTo>
                  <a:lnTo>
                    <a:pt x="3" y="67"/>
                  </a:lnTo>
                  <a:lnTo>
                    <a:pt x="0" y="50"/>
                  </a:lnTo>
                  <a:lnTo>
                    <a:pt x="3" y="35"/>
                  </a:lnTo>
                  <a:lnTo>
                    <a:pt x="10" y="21"/>
                  </a:lnTo>
                  <a:lnTo>
                    <a:pt x="21" y="10"/>
                  </a:lnTo>
                  <a:lnTo>
                    <a:pt x="35" y="3"/>
                  </a:lnTo>
                  <a:lnTo>
                    <a:pt x="51" y="0"/>
                  </a:lnTo>
                  <a:close/>
                </a:path>
              </a:pathLst>
            </a:custGeom>
            <a:solidFill>
              <a:schemeClr val="accent5"/>
            </a:solidFill>
            <a:ln>
              <a:noFill/>
            </a:ln>
          </p:spPr>
          <p:txBody>
            <a:bodyPr/>
            <a:lstStyle/>
            <a:p>
              <a:endParaRPr lang="de-DE" dirty="0"/>
            </a:p>
          </p:txBody>
        </p:sp>
        <p:sp>
          <p:nvSpPr>
            <p:cNvPr id="1170" name="Freeform 328"/>
            <p:cNvSpPr>
              <a:spLocks/>
            </p:cNvSpPr>
            <p:nvPr/>
          </p:nvSpPr>
          <p:spPr bwMode="auto">
            <a:xfrm>
              <a:off x="11114034" y="5648893"/>
              <a:ext cx="52382" cy="15877"/>
            </a:xfrm>
            <a:custGeom>
              <a:avLst/>
              <a:gdLst>
                <a:gd name="T0" fmla="*/ 48 w 325"/>
                <a:gd name="T1" fmla="*/ 0 h 98"/>
                <a:gd name="T2" fmla="*/ 276 w 325"/>
                <a:gd name="T3" fmla="*/ 0 h 98"/>
                <a:gd name="T4" fmla="*/ 292 w 325"/>
                <a:gd name="T5" fmla="*/ 3 h 98"/>
                <a:gd name="T6" fmla="*/ 305 w 325"/>
                <a:gd name="T7" fmla="*/ 9 h 98"/>
                <a:gd name="T8" fmla="*/ 315 w 325"/>
                <a:gd name="T9" fmla="*/ 20 h 98"/>
                <a:gd name="T10" fmla="*/ 323 w 325"/>
                <a:gd name="T11" fmla="*/ 34 h 98"/>
                <a:gd name="T12" fmla="*/ 325 w 325"/>
                <a:gd name="T13" fmla="*/ 49 h 98"/>
                <a:gd name="T14" fmla="*/ 323 w 325"/>
                <a:gd name="T15" fmla="*/ 64 h 98"/>
                <a:gd name="T16" fmla="*/ 315 w 325"/>
                <a:gd name="T17" fmla="*/ 78 h 98"/>
                <a:gd name="T18" fmla="*/ 305 w 325"/>
                <a:gd name="T19" fmla="*/ 89 h 98"/>
                <a:gd name="T20" fmla="*/ 292 w 325"/>
                <a:gd name="T21" fmla="*/ 95 h 98"/>
                <a:gd name="T22" fmla="*/ 276 w 325"/>
                <a:gd name="T23" fmla="*/ 98 h 98"/>
                <a:gd name="T24" fmla="*/ 48 w 325"/>
                <a:gd name="T25" fmla="*/ 98 h 98"/>
                <a:gd name="T26" fmla="*/ 33 w 325"/>
                <a:gd name="T27" fmla="*/ 95 h 98"/>
                <a:gd name="T28" fmla="*/ 19 w 325"/>
                <a:gd name="T29" fmla="*/ 89 h 98"/>
                <a:gd name="T30" fmla="*/ 8 w 325"/>
                <a:gd name="T31" fmla="*/ 78 h 98"/>
                <a:gd name="T32" fmla="*/ 2 w 325"/>
                <a:gd name="T33" fmla="*/ 64 h 98"/>
                <a:gd name="T34" fmla="*/ 0 w 325"/>
                <a:gd name="T35" fmla="*/ 49 h 98"/>
                <a:gd name="T36" fmla="*/ 2 w 325"/>
                <a:gd name="T37" fmla="*/ 34 h 98"/>
                <a:gd name="T38" fmla="*/ 8 w 325"/>
                <a:gd name="T39" fmla="*/ 20 h 98"/>
                <a:gd name="T40" fmla="*/ 19 w 325"/>
                <a:gd name="T41" fmla="*/ 9 h 98"/>
                <a:gd name="T42" fmla="*/ 33 w 325"/>
                <a:gd name="T43" fmla="*/ 3 h 98"/>
                <a:gd name="T44" fmla="*/ 48 w 325"/>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5" h="98">
                  <a:moveTo>
                    <a:pt x="48" y="0"/>
                  </a:moveTo>
                  <a:lnTo>
                    <a:pt x="276" y="0"/>
                  </a:lnTo>
                  <a:lnTo>
                    <a:pt x="292" y="3"/>
                  </a:lnTo>
                  <a:lnTo>
                    <a:pt x="305" y="9"/>
                  </a:lnTo>
                  <a:lnTo>
                    <a:pt x="315" y="20"/>
                  </a:lnTo>
                  <a:lnTo>
                    <a:pt x="323" y="34"/>
                  </a:lnTo>
                  <a:lnTo>
                    <a:pt x="325" y="49"/>
                  </a:lnTo>
                  <a:lnTo>
                    <a:pt x="323" y="64"/>
                  </a:lnTo>
                  <a:lnTo>
                    <a:pt x="315" y="78"/>
                  </a:lnTo>
                  <a:lnTo>
                    <a:pt x="305" y="89"/>
                  </a:lnTo>
                  <a:lnTo>
                    <a:pt x="292" y="95"/>
                  </a:lnTo>
                  <a:lnTo>
                    <a:pt x="276" y="98"/>
                  </a:lnTo>
                  <a:lnTo>
                    <a:pt x="48" y="98"/>
                  </a:lnTo>
                  <a:lnTo>
                    <a:pt x="33" y="95"/>
                  </a:lnTo>
                  <a:lnTo>
                    <a:pt x="19" y="89"/>
                  </a:lnTo>
                  <a:lnTo>
                    <a:pt x="8" y="78"/>
                  </a:lnTo>
                  <a:lnTo>
                    <a:pt x="2" y="64"/>
                  </a:lnTo>
                  <a:lnTo>
                    <a:pt x="0" y="49"/>
                  </a:lnTo>
                  <a:lnTo>
                    <a:pt x="2" y="34"/>
                  </a:lnTo>
                  <a:lnTo>
                    <a:pt x="8" y="20"/>
                  </a:lnTo>
                  <a:lnTo>
                    <a:pt x="19" y="9"/>
                  </a:lnTo>
                  <a:lnTo>
                    <a:pt x="33" y="3"/>
                  </a:lnTo>
                  <a:lnTo>
                    <a:pt x="48" y="0"/>
                  </a:lnTo>
                  <a:close/>
                </a:path>
              </a:pathLst>
            </a:custGeom>
            <a:solidFill>
              <a:schemeClr val="accent5"/>
            </a:solidFill>
            <a:ln>
              <a:noFill/>
            </a:ln>
          </p:spPr>
          <p:txBody>
            <a:bodyPr/>
            <a:lstStyle/>
            <a:p>
              <a:endParaRPr lang="de-DE" dirty="0"/>
            </a:p>
          </p:txBody>
        </p:sp>
        <p:sp>
          <p:nvSpPr>
            <p:cNvPr id="1171" name="Freeform 329"/>
            <p:cNvSpPr>
              <a:spLocks/>
            </p:cNvSpPr>
            <p:nvPr/>
          </p:nvSpPr>
          <p:spPr bwMode="auto">
            <a:xfrm>
              <a:off x="11188639" y="5648893"/>
              <a:ext cx="41271" cy="12701"/>
            </a:xfrm>
            <a:custGeom>
              <a:avLst/>
              <a:gdLst>
                <a:gd name="T0" fmla="*/ 43 w 266"/>
                <a:gd name="T1" fmla="*/ 0 h 86"/>
                <a:gd name="T2" fmla="*/ 221 w 266"/>
                <a:gd name="T3" fmla="*/ 0 h 86"/>
                <a:gd name="T4" fmla="*/ 236 w 266"/>
                <a:gd name="T5" fmla="*/ 2 h 86"/>
                <a:gd name="T6" fmla="*/ 248 w 266"/>
                <a:gd name="T7" fmla="*/ 9 h 86"/>
                <a:gd name="T8" fmla="*/ 257 w 266"/>
                <a:gd name="T9" fmla="*/ 18 h 86"/>
                <a:gd name="T10" fmla="*/ 264 w 266"/>
                <a:gd name="T11" fmla="*/ 30 h 86"/>
                <a:gd name="T12" fmla="*/ 266 w 266"/>
                <a:gd name="T13" fmla="*/ 43 h 86"/>
                <a:gd name="T14" fmla="*/ 264 w 266"/>
                <a:gd name="T15" fmla="*/ 57 h 86"/>
                <a:gd name="T16" fmla="*/ 257 w 266"/>
                <a:gd name="T17" fmla="*/ 70 h 86"/>
                <a:gd name="T18" fmla="*/ 248 w 266"/>
                <a:gd name="T19" fmla="*/ 78 h 86"/>
                <a:gd name="T20" fmla="*/ 236 w 266"/>
                <a:gd name="T21" fmla="*/ 85 h 86"/>
                <a:gd name="T22" fmla="*/ 221 w 266"/>
                <a:gd name="T23" fmla="*/ 86 h 86"/>
                <a:gd name="T24" fmla="*/ 43 w 266"/>
                <a:gd name="T25" fmla="*/ 86 h 86"/>
                <a:gd name="T26" fmla="*/ 29 w 266"/>
                <a:gd name="T27" fmla="*/ 85 h 86"/>
                <a:gd name="T28" fmla="*/ 18 w 266"/>
                <a:gd name="T29" fmla="*/ 78 h 86"/>
                <a:gd name="T30" fmla="*/ 8 w 266"/>
                <a:gd name="T31" fmla="*/ 70 h 86"/>
                <a:gd name="T32" fmla="*/ 2 w 266"/>
                <a:gd name="T33" fmla="*/ 57 h 86"/>
                <a:gd name="T34" fmla="*/ 0 w 266"/>
                <a:gd name="T35" fmla="*/ 43 h 86"/>
                <a:gd name="T36" fmla="*/ 2 w 266"/>
                <a:gd name="T37" fmla="*/ 30 h 86"/>
                <a:gd name="T38" fmla="*/ 8 w 266"/>
                <a:gd name="T39" fmla="*/ 18 h 86"/>
                <a:gd name="T40" fmla="*/ 18 w 266"/>
                <a:gd name="T41" fmla="*/ 9 h 86"/>
                <a:gd name="T42" fmla="*/ 29 w 266"/>
                <a:gd name="T43" fmla="*/ 2 h 86"/>
                <a:gd name="T44" fmla="*/ 43 w 266"/>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86">
                  <a:moveTo>
                    <a:pt x="43" y="0"/>
                  </a:moveTo>
                  <a:lnTo>
                    <a:pt x="221" y="0"/>
                  </a:lnTo>
                  <a:lnTo>
                    <a:pt x="236" y="2"/>
                  </a:lnTo>
                  <a:lnTo>
                    <a:pt x="248" y="9"/>
                  </a:lnTo>
                  <a:lnTo>
                    <a:pt x="257" y="18"/>
                  </a:lnTo>
                  <a:lnTo>
                    <a:pt x="264" y="30"/>
                  </a:lnTo>
                  <a:lnTo>
                    <a:pt x="266" y="43"/>
                  </a:lnTo>
                  <a:lnTo>
                    <a:pt x="264" y="57"/>
                  </a:lnTo>
                  <a:lnTo>
                    <a:pt x="257" y="70"/>
                  </a:lnTo>
                  <a:lnTo>
                    <a:pt x="248" y="78"/>
                  </a:lnTo>
                  <a:lnTo>
                    <a:pt x="236" y="85"/>
                  </a:lnTo>
                  <a:lnTo>
                    <a:pt x="221" y="86"/>
                  </a:lnTo>
                  <a:lnTo>
                    <a:pt x="43" y="86"/>
                  </a:lnTo>
                  <a:lnTo>
                    <a:pt x="29" y="85"/>
                  </a:lnTo>
                  <a:lnTo>
                    <a:pt x="18" y="78"/>
                  </a:lnTo>
                  <a:lnTo>
                    <a:pt x="8" y="70"/>
                  </a:lnTo>
                  <a:lnTo>
                    <a:pt x="2" y="57"/>
                  </a:lnTo>
                  <a:lnTo>
                    <a:pt x="0" y="43"/>
                  </a:lnTo>
                  <a:lnTo>
                    <a:pt x="2" y="30"/>
                  </a:lnTo>
                  <a:lnTo>
                    <a:pt x="8" y="18"/>
                  </a:lnTo>
                  <a:lnTo>
                    <a:pt x="18" y="9"/>
                  </a:lnTo>
                  <a:lnTo>
                    <a:pt x="29" y="2"/>
                  </a:lnTo>
                  <a:lnTo>
                    <a:pt x="43" y="0"/>
                  </a:lnTo>
                  <a:close/>
                </a:path>
              </a:pathLst>
            </a:custGeom>
            <a:solidFill>
              <a:schemeClr val="accent5"/>
            </a:solidFill>
            <a:ln>
              <a:noFill/>
            </a:ln>
          </p:spPr>
          <p:txBody>
            <a:bodyPr/>
            <a:lstStyle/>
            <a:p>
              <a:endParaRPr lang="de-DE" dirty="0"/>
            </a:p>
          </p:txBody>
        </p:sp>
        <p:sp>
          <p:nvSpPr>
            <p:cNvPr id="1172" name="Freeform 330"/>
            <p:cNvSpPr>
              <a:spLocks/>
            </p:cNvSpPr>
            <p:nvPr/>
          </p:nvSpPr>
          <p:spPr bwMode="auto">
            <a:xfrm>
              <a:off x="11255308" y="5647306"/>
              <a:ext cx="53970" cy="15877"/>
            </a:xfrm>
            <a:custGeom>
              <a:avLst/>
              <a:gdLst>
                <a:gd name="T0" fmla="*/ 51 w 338"/>
                <a:gd name="T1" fmla="*/ 0 h 99"/>
                <a:gd name="T2" fmla="*/ 287 w 338"/>
                <a:gd name="T3" fmla="*/ 0 h 99"/>
                <a:gd name="T4" fmla="*/ 304 w 338"/>
                <a:gd name="T5" fmla="*/ 2 h 99"/>
                <a:gd name="T6" fmla="*/ 317 w 338"/>
                <a:gd name="T7" fmla="*/ 8 h 99"/>
                <a:gd name="T8" fmla="*/ 328 w 338"/>
                <a:gd name="T9" fmla="*/ 19 h 99"/>
                <a:gd name="T10" fmla="*/ 335 w 338"/>
                <a:gd name="T11" fmla="*/ 33 h 99"/>
                <a:gd name="T12" fmla="*/ 338 w 338"/>
                <a:gd name="T13" fmla="*/ 49 h 99"/>
                <a:gd name="T14" fmla="*/ 335 w 338"/>
                <a:gd name="T15" fmla="*/ 65 h 99"/>
                <a:gd name="T16" fmla="*/ 328 w 338"/>
                <a:gd name="T17" fmla="*/ 78 h 99"/>
                <a:gd name="T18" fmla="*/ 317 w 338"/>
                <a:gd name="T19" fmla="*/ 89 h 99"/>
                <a:gd name="T20" fmla="*/ 304 w 338"/>
                <a:gd name="T21" fmla="*/ 96 h 99"/>
                <a:gd name="T22" fmla="*/ 287 w 338"/>
                <a:gd name="T23" fmla="*/ 99 h 99"/>
                <a:gd name="T24" fmla="*/ 51 w 338"/>
                <a:gd name="T25" fmla="*/ 99 h 99"/>
                <a:gd name="T26" fmla="*/ 34 w 338"/>
                <a:gd name="T27" fmla="*/ 96 h 99"/>
                <a:gd name="T28" fmla="*/ 21 w 338"/>
                <a:gd name="T29" fmla="*/ 89 h 99"/>
                <a:gd name="T30" fmla="*/ 10 w 338"/>
                <a:gd name="T31" fmla="*/ 78 h 99"/>
                <a:gd name="T32" fmla="*/ 3 w 338"/>
                <a:gd name="T33" fmla="*/ 65 h 99"/>
                <a:gd name="T34" fmla="*/ 0 w 338"/>
                <a:gd name="T35" fmla="*/ 49 h 99"/>
                <a:gd name="T36" fmla="*/ 3 w 338"/>
                <a:gd name="T37" fmla="*/ 33 h 99"/>
                <a:gd name="T38" fmla="*/ 10 w 338"/>
                <a:gd name="T39" fmla="*/ 19 h 99"/>
                <a:gd name="T40" fmla="*/ 21 w 338"/>
                <a:gd name="T41" fmla="*/ 8 h 99"/>
                <a:gd name="T42" fmla="*/ 34 w 338"/>
                <a:gd name="T43" fmla="*/ 2 h 99"/>
                <a:gd name="T44" fmla="*/ 51 w 338"/>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8" h="99">
                  <a:moveTo>
                    <a:pt x="51" y="0"/>
                  </a:moveTo>
                  <a:lnTo>
                    <a:pt x="287" y="0"/>
                  </a:lnTo>
                  <a:lnTo>
                    <a:pt x="304" y="2"/>
                  </a:lnTo>
                  <a:lnTo>
                    <a:pt x="317" y="8"/>
                  </a:lnTo>
                  <a:lnTo>
                    <a:pt x="328" y="19"/>
                  </a:lnTo>
                  <a:lnTo>
                    <a:pt x="335" y="33"/>
                  </a:lnTo>
                  <a:lnTo>
                    <a:pt x="338" y="49"/>
                  </a:lnTo>
                  <a:lnTo>
                    <a:pt x="335" y="65"/>
                  </a:lnTo>
                  <a:lnTo>
                    <a:pt x="328" y="78"/>
                  </a:lnTo>
                  <a:lnTo>
                    <a:pt x="317" y="89"/>
                  </a:lnTo>
                  <a:lnTo>
                    <a:pt x="304" y="96"/>
                  </a:lnTo>
                  <a:lnTo>
                    <a:pt x="287" y="99"/>
                  </a:lnTo>
                  <a:lnTo>
                    <a:pt x="51" y="99"/>
                  </a:lnTo>
                  <a:lnTo>
                    <a:pt x="34" y="96"/>
                  </a:lnTo>
                  <a:lnTo>
                    <a:pt x="21" y="89"/>
                  </a:lnTo>
                  <a:lnTo>
                    <a:pt x="10" y="78"/>
                  </a:lnTo>
                  <a:lnTo>
                    <a:pt x="3" y="65"/>
                  </a:lnTo>
                  <a:lnTo>
                    <a:pt x="0" y="49"/>
                  </a:lnTo>
                  <a:lnTo>
                    <a:pt x="3" y="33"/>
                  </a:lnTo>
                  <a:lnTo>
                    <a:pt x="10" y="19"/>
                  </a:lnTo>
                  <a:lnTo>
                    <a:pt x="21" y="8"/>
                  </a:lnTo>
                  <a:lnTo>
                    <a:pt x="34" y="2"/>
                  </a:lnTo>
                  <a:lnTo>
                    <a:pt x="51" y="0"/>
                  </a:lnTo>
                  <a:close/>
                </a:path>
              </a:pathLst>
            </a:custGeom>
            <a:solidFill>
              <a:schemeClr val="accent5"/>
            </a:solidFill>
            <a:ln>
              <a:noFill/>
            </a:ln>
          </p:spPr>
          <p:txBody>
            <a:bodyPr/>
            <a:lstStyle/>
            <a:p>
              <a:endParaRPr lang="de-DE" dirty="0"/>
            </a:p>
          </p:txBody>
        </p:sp>
        <p:sp>
          <p:nvSpPr>
            <p:cNvPr id="1173" name="Freeform 331"/>
            <p:cNvSpPr>
              <a:spLocks/>
            </p:cNvSpPr>
            <p:nvPr/>
          </p:nvSpPr>
          <p:spPr bwMode="auto">
            <a:xfrm>
              <a:off x="11321976" y="5652069"/>
              <a:ext cx="46033" cy="14289"/>
            </a:xfrm>
            <a:custGeom>
              <a:avLst/>
              <a:gdLst>
                <a:gd name="T0" fmla="*/ 44 w 283"/>
                <a:gd name="T1" fmla="*/ 0 h 90"/>
                <a:gd name="T2" fmla="*/ 239 w 283"/>
                <a:gd name="T3" fmla="*/ 0 h 90"/>
                <a:gd name="T4" fmla="*/ 253 w 283"/>
                <a:gd name="T5" fmla="*/ 2 h 90"/>
                <a:gd name="T6" fmla="*/ 265 w 283"/>
                <a:gd name="T7" fmla="*/ 8 h 90"/>
                <a:gd name="T8" fmla="*/ 275 w 283"/>
                <a:gd name="T9" fmla="*/ 18 h 90"/>
                <a:gd name="T10" fmla="*/ 281 w 283"/>
                <a:gd name="T11" fmla="*/ 31 h 90"/>
                <a:gd name="T12" fmla="*/ 283 w 283"/>
                <a:gd name="T13" fmla="*/ 44 h 90"/>
                <a:gd name="T14" fmla="*/ 281 w 283"/>
                <a:gd name="T15" fmla="*/ 59 h 90"/>
                <a:gd name="T16" fmla="*/ 275 w 283"/>
                <a:gd name="T17" fmla="*/ 71 h 90"/>
                <a:gd name="T18" fmla="*/ 265 w 283"/>
                <a:gd name="T19" fmla="*/ 81 h 90"/>
                <a:gd name="T20" fmla="*/ 253 w 283"/>
                <a:gd name="T21" fmla="*/ 87 h 90"/>
                <a:gd name="T22" fmla="*/ 239 w 283"/>
                <a:gd name="T23" fmla="*/ 90 h 90"/>
                <a:gd name="T24" fmla="*/ 44 w 283"/>
                <a:gd name="T25" fmla="*/ 90 h 90"/>
                <a:gd name="T26" fmla="*/ 30 w 283"/>
                <a:gd name="T27" fmla="*/ 87 h 90"/>
                <a:gd name="T28" fmla="*/ 17 w 283"/>
                <a:gd name="T29" fmla="*/ 81 h 90"/>
                <a:gd name="T30" fmla="*/ 7 w 283"/>
                <a:gd name="T31" fmla="*/ 71 h 90"/>
                <a:gd name="T32" fmla="*/ 2 w 283"/>
                <a:gd name="T33" fmla="*/ 59 h 90"/>
                <a:gd name="T34" fmla="*/ 0 w 283"/>
                <a:gd name="T35" fmla="*/ 44 h 90"/>
                <a:gd name="T36" fmla="*/ 2 w 283"/>
                <a:gd name="T37" fmla="*/ 31 h 90"/>
                <a:gd name="T38" fmla="*/ 7 w 283"/>
                <a:gd name="T39" fmla="*/ 18 h 90"/>
                <a:gd name="T40" fmla="*/ 17 w 283"/>
                <a:gd name="T41" fmla="*/ 8 h 90"/>
                <a:gd name="T42" fmla="*/ 30 w 283"/>
                <a:gd name="T43" fmla="*/ 2 h 90"/>
                <a:gd name="T44" fmla="*/ 44 w 283"/>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90">
                  <a:moveTo>
                    <a:pt x="44" y="0"/>
                  </a:moveTo>
                  <a:lnTo>
                    <a:pt x="239" y="0"/>
                  </a:lnTo>
                  <a:lnTo>
                    <a:pt x="253" y="2"/>
                  </a:lnTo>
                  <a:lnTo>
                    <a:pt x="265" y="8"/>
                  </a:lnTo>
                  <a:lnTo>
                    <a:pt x="275" y="18"/>
                  </a:lnTo>
                  <a:lnTo>
                    <a:pt x="281" y="31"/>
                  </a:lnTo>
                  <a:lnTo>
                    <a:pt x="283" y="44"/>
                  </a:lnTo>
                  <a:lnTo>
                    <a:pt x="281" y="59"/>
                  </a:lnTo>
                  <a:lnTo>
                    <a:pt x="275" y="71"/>
                  </a:lnTo>
                  <a:lnTo>
                    <a:pt x="265" y="81"/>
                  </a:lnTo>
                  <a:lnTo>
                    <a:pt x="253" y="87"/>
                  </a:lnTo>
                  <a:lnTo>
                    <a:pt x="239" y="90"/>
                  </a:lnTo>
                  <a:lnTo>
                    <a:pt x="44" y="90"/>
                  </a:lnTo>
                  <a:lnTo>
                    <a:pt x="30" y="87"/>
                  </a:lnTo>
                  <a:lnTo>
                    <a:pt x="17" y="81"/>
                  </a:lnTo>
                  <a:lnTo>
                    <a:pt x="7" y="71"/>
                  </a:lnTo>
                  <a:lnTo>
                    <a:pt x="2" y="59"/>
                  </a:lnTo>
                  <a:lnTo>
                    <a:pt x="0" y="44"/>
                  </a:lnTo>
                  <a:lnTo>
                    <a:pt x="2" y="31"/>
                  </a:lnTo>
                  <a:lnTo>
                    <a:pt x="7" y="18"/>
                  </a:lnTo>
                  <a:lnTo>
                    <a:pt x="17" y="8"/>
                  </a:lnTo>
                  <a:lnTo>
                    <a:pt x="30" y="2"/>
                  </a:lnTo>
                  <a:lnTo>
                    <a:pt x="44" y="0"/>
                  </a:lnTo>
                  <a:close/>
                </a:path>
              </a:pathLst>
            </a:custGeom>
            <a:solidFill>
              <a:schemeClr val="accent5"/>
            </a:solidFill>
            <a:ln>
              <a:noFill/>
            </a:ln>
          </p:spPr>
          <p:txBody>
            <a:bodyPr/>
            <a:lstStyle/>
            <a:p>
              <a:endParaRPr lang="de-DE" dirty="0"/>
            </a:p>
          </p:txBody>
        </p:sp>
        <p:sp>
          <p:nvSpPr>
            <p:cNvPr id="1174" name="Freeform 332"/>
            <p:cNvSpPr>
              <a:spLocks/>
            </p:cNvSpPr>
            <p:nvPr/>
          </p:nvSpPr>
          <p:spPr bwMode="auto">
            <a:xfrm>
              <a:off x="11388644" y="5653656"/>
              <a:ext cx="47620" cy="14289"/>
            </a:xfrm>
            <a:custGeom>
              <a:avLst/>
              <a:gdLst>
                <a:gd name="T0" fmla="*/ 46 w 304"/>
                <a:gd name="T1" fmla="*/ 0 h 94"/>
                <a:gd name="T2" fmla="*/ 257 w 304"/>
                <a:gd name="T3" fmla="*/ 0 h 94"/>
                <a:gd name="T4" fmla="*/ 272 w 304"/>
                <a:gd name="T5" fmla="*/ 2 h 94"/>
                <a:gd name="T6" fmla="*/ 285 w 304"/>
                <a:gd name="T7" fmla="*/ 9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7 w 304"/>
                <a:gd name="T23" fmla="*/ 94 h 94"/>
                <a:gd name="T24" fmla="*/ 46 w 304"/>
                <a:gd name="T25" fmla="*/ 94 h 94"/>
                <a:gd name="T26" fmla="*/ 32 w 304"/>
                <a:gd name="T27" fmla="*/ 92 h 94"/>
                <a:gd name="T28" fmla="*/ 18 w 304"/>
                <a:gd name="T29" fmla="*/ 85 h 94"/>
                <a:gd name="T30" fmla="*/ 8 w 304"/>
                <a:gd name="T31" fmla="*/ 75 h 94"/>
                <a:gd name="T32" fmla="*/ 2 w 304"/>
                <a:gd name="T33" fmla="*/ 62 h 94"/>
                <a:gd name="T34" fmla="*/ 0 w 304"/>
                <a:gd name="T35" fmla="*/ 47 h 94"/>
                <a:gd name="T36" fmla="*/ 2 w 304"/>
                <a:gd name="T37" fmla="*/ 32 h 94"/>
                <a:gd name="T38" fmla="*/ 8 w 304"/>
                <a:gd name="T39" fmla="*/ 20 h 94"/>
                <a:gd name="T40" fmla="*/ 18 w 304"/>
                <a:gd name="T41" fmla="*/ 9 h 94"/>
                <a:gd name="T42" fmla="*/ 32 w 304"/>
                <a:gd name="T43" fmla="*/ 2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7" y="0"/>
                  </a:lnTo>
                  <a:lnTo>
                    <a:pt x="272" y="2"/>
                  </a:lnTo>
                  <a:lnTo>
                    <a:pt x="285" y="9"/>
                  </a:lnTo>
                  <a:lnTo>
                    <a:pt x="295" y="20"/>
                  </a:lnTo>
                  <a:lnTo>
                    <a:pt x="302" y="32"/>
                  </a:lnTo>
                  <a:lnTo>
                    <a:pt x="304" y="47"/>
                  </a:lnTo>
                  <a:lnTo>
                    <a:pt x="302" y="62"/>
                  </a:lnTo>
                  <a:lnTo>
                    <a:pt x="295" y="75"/>
                  </a:lnTo>
                  <a:lnTo>
                    <a:pt x="285" y="85"/>
                  </a:lnTo>
                  <a:lnTo>
                    <a:pt x="272" y="92"/>
                  </a:lnTo>
                  <a:lnTo>
                    <a:pt x="257" y="94"/>
                  </a:lnTo>
                  <a:lnTo>
                    <a:pt x="46" y="94"/>
                  </a:lnTo>
                  <a:lnTo>
                    <a:pt x="32" y="92"/>
                  </a:lnTo>
                  <a:lnTo>
                    <a:pt x="18" y="85"/>
                  </a:lnTo>
                  <a:lnTo>
                    <a:pt x="8" y="75"/>
                  </a:lnTo>
                  <a:lnTo>
                    <a:pt x="2" y="62"/>
                  </a:lnTo>
                  <a:lnTo>
                    <a:pt x="0" y="47"/>
                  </a:lnTo>
                  <a:lnTo>
                    <a:pt x="2" y="32"/>
                  </a:lnTo>
                  <a:lnTo>
                    <a:pt x="8" y="20"/>
                  </a:lnTo>
                  <a:lnTo>
                    <a:pt x="18" y="9"/>
                  </a:lnTo>
                  <a:lnTo>
                    <a:pt x="32" y="2"/>
                  </a:lnTo>
                  <a:lnTo>
                    <a:pt x="46" y="0"/>
                  </a:lnTo>
                  <a:close/>
                </a:path>
              </a:pathLst>
            </a:custGeom>
            <a:solidFill>
              <a:schemeClr val="accent5"/>
            </a:solidFill>
            <a:ln>
              <a:noFill/>
            </a:ln>
          </p:spPr>
          <p:txBody>
            <a:bodyPr/>
            <a:lstStyle/>
            <a:p>
              <a:endParaRPr lang="de-DE" dirty="0"/>
            </a:p>
          </p:txBody>
        </p:sp>
        <p:sp>
          <p:nvSpPr>
            <p:cNvPr id="1175" name="Freeform 333"/>
            <p:cNvSpPr>
              <a:spLocks/>
            </p:cNvSpPr>
            <p:nvPr/>
          </p:nvSpPr>
          <p:spPr bwMode="auto">
            <a:xfrm>
              <a:off x="10971173" y="5701287"/>
              <a:ext cx="53970" cy="15877"/>
            </a:xfrm>
            <a:custGeom>
              <a:avLst/>
              <a:gdLst>
                <a:gd name="T0" fmla="*/ 49 w 341"/>
                <a:gd name="T1" fmla="*/ 0 h 100"/>
                <a:gd name="T2" fmla="*/ 291 w 341"/>
                <a:gd name="T3" fmla="*/ 0 h 100"/>
                <a:gd name="T4" fmla="*/ 307 w 341"/>
                <a:gd name="T5" fmla="*/ 2 h 100"/>
                <a:gd name="T6" fmla="*/ 320 w 341"/>
                <a:gd name="T7" fmla="*/ 10 h 100"/>
                <a:gd name="T8" fmla="*/ 332 w 341"/>
                <a:gd name="T9" fmla="*/ 21 h 100"/>
                <a:gd name="T10" fmla="*/ 338 w 341"/>
                <a:gd name="T11" fmla="*/ 34 h 100"/>
                <a:gd name="T12" fmla="*/ 341 w 341"/>
                <a:gd name="T13" fmla="*/ 49 h 100"/>
                <a:gd name="T14" fmla="*/ 338 w 341"/>
                <a:gd name="T15" fmla="*/ 66 h 100"/>
                <a:gd name="T16" fmla="*/ 332 w 341"/>
                <a:gd name="T17" fmla="*/ 79 h 100"/>
                <a:gd name="T18" fmla="*/ 320 w 341"/>
                <a:gd name="T19" fmla="*/ 90 h 100"/>
                <a:gd name="T20" fmla="*/ 307 w 341"/>
                <a:gd name="T21" fmla="*/ 97 h 100"/>
                <a:gd name="T22" fmla="*/ 291 w 341"/>
                <a:gd name="T23" fmla="*/ 100 h 100"/>
                <a:gd name="T24" fmla="*/ 49 w 341"/>
                <a:gd name="T25" fmla="*/ 100 h 100"/>
                <a:gd name="T26" fmla="*/ 34 w 341"/>
                <a:gd name="T27" fmla="*/ 97 h 100"/>
                <a:gd name="T28" fmla="*/ 20 w 341"/>
                <a:gd name="T29" fmla="*/ 90 h 100"/>
                <a:gd name="T30" fmla="*/ 10 w 341"/>
                <a:gd name="T31" fmla="*/ 79 h 100"/>
                <a:gd name="T32" fmla="*/ 2 w 341"/>
                <a:gd name="T33" fmla="*/ 66 h 100"/>
                <a:gd name="T34" fmla="*/ 0 w 341"/>
                <a:gd name="T35" fmla="*/ 49 h 100"/>
                <a:gd name="T36" fmla="*/ 2 w 341"/>
                <a:gd name="T37" fmla="*/ 34 h 100"/>
                <a:gd name="T38" fmla="*/ 10 w 341"/>
                <a:gd name="T39" fmla="*/ 21 h 100"/>
                <a:gd name="T40" fmla="*/ 20 w 341"/>
                <a:gd name="T41" fmla="*/ 10 h 100"/>
                <a:gd name="T42" fmla="*/ 34 w 341"/>
                <a:gd name="T43" fmla="*/ 2 h 100"/>
                <a:gd name="T44" fmla="*/ 49 w 341"/>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1" h="100">
                  <a:moveTo>
                    <a:pt x="49" y="0"/>
                  </a:moveTo>
                  <a:lnTo>
                    <a:pt x="291" y="0"/>
                  </a:lnTo>
                  <a:lnTo>
                    <a:pt x="307" y="2"/>
                  </a:lnTo>
                  <a:lnTo>
                    <a:pt x="320" y="10"/>
                  </a:lnTo>
                  <a:lnTo>
                    <a:pt x="332" y="21"/>
                  </a:lnTo>
                  <a:lnTo>
                    <a:pt x="338" y="34"/>
                  </a:lnTo>
                  <a:lnTo>
                    <a:pt x="341" y="49"/>
                  </a:lnTo>
                  <a:lnTo>
                    <a:pt x="338" y="66"/>
                  </a:lnTo>
                  <a:lnTo>
                    <a:pt x="332" y="79"/>
                  </a:lnTo>
                  <a:lnTo>
                    <a:pt x="320" y="90"/>
                  </a:lnTo>
                  <a:lnTo>
                    <a:pt x="307" y="97"/>
                  </a:lnTo>
                  <a:lnTo>
                    <a:pt x="291" y="100"/>
                  </a:lnTo>
                  <a:lnTo>
                    <a:pt x="49" y="100"/>
                  </a:lnTo>
                  <a:lnTo>
                    <a:pt x="34" y="97"/>
                  </a:lnTo>
                  <a:lnTo>
                    <a:pt x="20" y="90"/>
                  </a:lnTo>
                  <a:lnTo>
                    <a:pt x="10" y="79"/>
                  </a:lnTo>
                  <a:lnTo>
                    <a:pt x="2" y="66"/>
                  </a:lnTo>
                  <a:lnTo>
                    <a:pt x="0" y="49"/>
                  </a:lnTo>
                  <a:lnTo>
                    <a:pt x="2" y="34"/>
                  </a:lnTo>
                  <a:lnTo>
                    <a:pt x="10" y="21"/>
                  </a:lnTo>
                  <a:lnTo>
                    <a:pt x="20" y="10"/>
                  </a:lnTo>
                  <a:lnTo>
                    <a:pt x="34" y="2"/>
                  </a:lnTo>
                  <a:lnTo>
                    <a:pt x="49" y="0"/>
                  </a:lnTo>
                  <a:close/>
                </a:path>
              </a:pathLst>
            </a:custGeom>
            <a:solidFill>
              <a:schemeClr val="accent5"/>
            </a:solidFill>
            <a:ln>
              <a:noFill/>
            </a:ln>
          </p:spPr>
          <p:txBody>
            <a:bodyPr/>
            <a:lstStyle/>
            <a:p>
              <a:endParaRPr lang="de-DE" dirty="0"/>
            </a:p>
          </p:txBody>
        </p:sp>
        <p:sp>
          <p:nvSpPr>
            <p:cNvPr id="1176" name="Freeform 334"/>
            <p:cNvSpPr>
              <a:spLocks/>
            </p:cNvSpPr>
            <p:nvPr/>
          </p:nvSpPr>
          <p:spPr bwMode="auto">
            <a:xfrm>
              <a:off x="11053715" y="5704462"/>
              <a:ext cx="41271" cy="14289"/>
            </a:xfrm>
            <a:custGeom>
              <a:avLst/>
              <a:gdLst>
                <a:gd name="T0" fmla="*/ 43 w 261"/>
                <a:gd name="T1" fmla="*/ 0 h 87"/>
                <a:gd name="T2" fmla="*/ 218 w 261"/>
                <a:gd name="T3" fmla="*/ 0 h 87"/>
                <a:gd name="T4" fmla="*/ 231 w 261"/>
                <a:gd name="T5" fmla="*/ 3 h 87"/>
                <a:gd name="T6" fmla="*/ 243 w 261"/>
                <a:gd name="T7" fmla="*/ 9 h 87"/>
                <a:gd name="T8" fmla="*/ 252 w 261"/>
                <a:gd name="T9" fmla="*/ 18 h 87"/>
                <a:gd name="T10" fmla="*/ 259 w 261"/>
                <a:gd name="T11" fmla="*/ 30 h 87"/>
                <a:gd name="T12" fmla="*/ 261 w 261"/>
                <a:gd name="T13" fmla="*/ 43 h 87"/>
                <a:gd name="T14" fmla="*/ 259 w 261"/>
                <a:gd name="T15" fmla="*/ 57 h 87"/>
                <a:gd name="T16" fmla="*/ 252 w 261"/>
                <a:gd name="T17" fmla="*/ 69 h 87"/>
                <a:gd name="T18" fmla="*/ 243 w 261"/>
                <a:gd name="T19" fmla="*/ 78 h 87"/>
                <a:gd name="T20" fmla="*/ 231 w 261"/>
                <a:gd name="T21" fmla="*/ 84 h 87"/>
                <a:gd name="T22" fmla="*/ 218 w 261"/>
                <a:gd name="T23" fmla="*/ 87 h 87"/>
                <a:gd name="T24" fmla="*/ 43 w 261"/>
                <a:gd name="T25" fmla="*/ 87 h 87"/>
                <a:gd name="T26" fmla="*/ 28 w 261"/>
                <a:gd name="T27" fmla="*/ 84 h 87"/>
                <a:gd name="T28" fmla="*/ 17 w 261"/>
                <a:gd name="T29" fmla="*/ 78 h 87"/>
                <a:gd name="T30" fmla="*/ 7 w 261"/>
                <a:gd name="T31" fmla="*/ 69 h 87"/>
                <a:gd name="T32" fmla="*/ 2 w 261"/>
                <a:gd name="T33" fmla="*/ 57 h 87"/>
                <a:gd name="T34" fmla="*/ 0 w 261"/>
                <a:gd name="T35" fmla="*/ 43 h 87"/>
                <a:gd name="T36" fmla="*/ 2 w 261"/>
                <a:gd name="T37" fmla="*/ 30 h 87"/>
                <a:gd name="T38" fmla="*/ 7 w 261"/>
                <a:gd name="T39" fmla="*/ 18 h 87"/>
                <a:gd name="T40" fmla="*/ 17 w 261"/>
                <a:gd name="T41" fmla="*/ 9 h 87"/>
                <a:gd name="T42" fmla="*/ 28 w 261"/>
                <a:gd name="T43" fmla="*/ 3 h 87"/>
                <a:gd name="T44" fmla="*/ 43 w 26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7">
                  <a:moveTo>
                    <a:pt x="43" y="0"/>
                  </a:moveTo>
                  <a:lnTo>
                    <a:pt x="218" y="0"/>
                  </a:lnTo>
                  <a:lnTo>
                    <a:pt x="231" y="3"/>
                  </a:lnTo>
                  <a:lnTo>
                    <a:pt x="243" y="9"/>
                  </a:lnTo>
                  <a:lnTo>
                    <a:pt x="252" y="18"/>
                  </a:lnTo>
                  <a:lnTo>
                    <a:pt x="259" y="30"/>
                  </a:lnTo>
                  <a:lnTo>
                    <a:pt x="261" y="43"/>
                  </a:lnTo>
                  <a:lnTo>
                    <a:pt x="259" y="57"/>
                  </a:lnTo>
                  <a:lnTo>
                    <a:pt x="252" y="69"/>
                  </a:lnTo>
                  <a:lnTo>
                    <a:pt x="243" y="78"/>
                  </a:lnTo>
                  <a:lnTo>
                    <a:pt x="231" y="84"/>
                  </a:lnTo>
                  <a:lnTo>
                    <a:pt x="218" y="87"/>
                  </a:lnTo>
                  <a:lnTo>
                    <a:pt x="43" y="87"/>
                  </a:lnTo>
                  <a:lnTo>
                    <a:pt x="28" y="84"/>
                  </a:lnTo>
                  <a:lnTo>
                    <a:pt x="17" y="78"/>
                  </a:lnTo>
                  <a:lnTo>
                    <a:pt x="7" y="69"/>
                  </a:lnTo>
                  <a:lnTo>
                    <a:pt x="2" y="57"/>
                  </a:lnTo>
                  <a:lnTo>
                    <a:pt x="0" y="43"/>
                  </a:lnTo>
                  <a:lnTo>
                    <a:pt x="2" y="30"/>
                  </a:lnTo>
                  <a:lnTo>
                    <a:pt x="7" y="18"/>
                  </a:lnTo>
                  <a:lnTo>
                    <a:pt x="17" y="9"/>
                  </a:lnTo>
                  <a:lnTo>
                    <a:pt x="28" y="3"/>
                  </a:lnTo>
                  <a:lnTo>
                    <a:pt x="43" y="0"/>
                  </a:lnTo>
                  <a:close/>
                </a:path>
              </a:pathLst>
            </a:custGeom>
            <a:solidFill>
              <a:schemeClr val="accent5"/>
            </a:solidFill>
            <a:ln>
              <a:noFill/>
            </a:ln>
          </p:spPr>
          <p:txBody>
            <a:bodyPr/>
            <a:lstStyle/>
            <a:p>
              <a:endParaRPr lang="de-DE" dirty="0"/>
            </a:p>
          </p:txBody>
        </p:sp>
        <p:sp>
          <p:nvSpPr>
            <p:cNvPr id="1177" name="Freeform 335"/>
            <p:cNvSpPr>
              <a:spLocks/>
            </p:cNvSpPr>
            <p:nvPr/>
          </p:nvSpPr>
          <p:spPr bwMode="auto">
            <a:xfrm>
              <a:off x="11110859" y="5701287"/>
              <a:ext cx="47620" cy="14289"/>
            </a:xfrm>
            <a:custGeom>
              <a:avLst/>
              <a:gdLst>
                <a:gd name="T0" fmla="*/ 46 w 295"/>
                <a:gd name="T1" fmla="*/ 0 h 91"/>
                <a:gd name="T2" fmla="*/ 249 w 295"/>
                <a:gd name="T3" fmla="*/ 0 h 91"/>
                <a:gd name="T4" fmla="*/ 263 w 295"/>
                <a:gd name="T5" fmla="*/ 2 h 91"/>
                <a:gd name="T6" fmla="*/ 276 w 295"/>
                <a:gd name="T7" fmla="*/ 9 h 91"/>
                <a:gd name="T8" fmla="*/ 286 w 295"/>
                <a:gd name="T9" fmla="*/ 18 h 91"/>
                <a:gd name="T10" fmla="*/ 293 w 295"/>
                <a:gd name="T11" fmla="*/ 31 h 91"/>
                <a:gd name="T12" fmla="*/ 295 w 295"/>
                <a:gd name="T13" fmla="*/ 45 h 91"/>
                <a:gd name="T14" fmla="*/ 293 w 295"/>
                <a:gd name="T15" fmla="*/ 60 h 91"/>
                <a:gd name="T16" fmla="*/ 286 w 295"/>
                <a:gd name="T17" fmla="*/ 73 h 91"/>
                <a:gd name="T18" fmla="*/ 276 w 295"/>
                <a:gd name="T19" fmla="*/ 83 h 91"/>
                <a:gd name="T20" fmla="*/ 263 w 295"/>
                <a:gd name="T21" fmla="*/ 89 h 91"/>
                <a:gd name="T22" fmla="*/ 249 w 295"/>
                <a:gd name="T23" fmla="*/ 91 h 91"/>
                <a:gd name="T24" fmla="*/ 46 w 295"/>
                <a:gd name="T25" fmla="*/ 91 h 91"/>
                <a:gd name="T26" fmla="*/ 32 w 295"/>
                <a:gd name="T27" fmla="*/ 89 h 91"/>
                <a:gd name="T28" fmla="*/ 18 w 295"/>
                <a:gd name="T29" fmla="*/ 83 h 91"/>
                <a:gd name="T30" fmla="*/ 8 w 295"/>
                <a:gd name="T31" fmla="*/ 73 h 91"/>
                <a:gd name="T32" fmla="*/ 3 w 295"/>
                <a:gd name="T33" fmla="*/ 60 h 91"/>
                <a:gd name="T34" fmla="*/ 0 w 295"/>
                <a:gd name="T35" fmla="*/ 45 h 91"/>
                <a:gd name="T36" fmla="*/ 3 w 295"/>
                <a:gd name="T37" fmla="*/ 31 h 91"/>
                <a:gd name="T38" fmla="*/ 8 w 295"/>
                <a:gd name="T39" fmla="*/ 18 h 91"/>
                <a:gd name="T40" fmla="*/ 18 w 295"/>
                <a:gd name="T41" fmla="*/ 9 h 91"/>
                <a:gd name="T42" fmla="*/ 32 w 295"/>
                <a:gd name="T43" fmla="*/ 2 h 91"/>
                <a:gd name="T44" fmla="*/ 46 w 295"/>
                <a:gd name="T4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5" h="91">
                  <a:moveTo>
                    <a:pt x="46" y="0"/>
                  </a:moveTo>
                  <a:lnTo>
                    <a:pt x="249" y="0"/>
                  </a:lnTo>
                  <a:lnTo>
                    <a:pt x="263" y="2"/>
                  </a:lnTo>
                  <a:lnTo>
                    <a:pt x="276" y="9"/>
                  </a:lnTo>
                  <a:lnTo>
                    <a:pt x="286" y="18"/>
                  </a:lnTo>
                  <a:lnTo>
                    <a:pt x="293" y="31"/>
                  </a:lnTo>
                  <a:lnTo>
                    <a:pt x="295" y="45"/>
                  </a:lnTo>
                  <a:lnTo>
                    <a:pt x="293" y="60"/>
                  </a:lnTo>
                  <a:lnTo>
                    <a:pt x="286" y="73"/>
                  </a:lnTo>
                  <a:lnTo>
                    <a:pt x="276" y="83"/>
                  </a:lnTo>
                  <a:lnTo>
                    <a:pt x="263" y="89"/>
                  </a:lnTo>
                  <a:lnTo>
                    <a:pt x="249" y="91"/>
                  </a:lnTo>
                  <a:lnTo>
                    <a:pt x="46" y="91"/>
                  </a:lnTo>
                  <a:lnTo>
                    <a:pt x="32" y="89"/>
                  </a:lnTo>
                  <a:lnTo>
                    <a:pt x="18" y="83"/>
                  </a:lnTo>
                  <a:lnTo>
                    <a:pt x="8" y="73"/>
                  </a:lnTo>
                  <a:lnTo>
                    <a:pt x="3" y="60"/>
                  </a:lnTo>
                  <a:lnTo>
                    <a:pt x="0" y="45"/>
                  </a:lnTo>
                  <a:lnTo>
                    <a:pt x="3" y="31"/>
                  </a:lnTo>
                  <a:lnTo>
                    <a:pt x="8" y="18"/>
                  </a:lnTo>
                  <a:lnTo>
                    <a:pt x="18" y="9"/>
                  </a:lnTo>
                  <a:lnTo>
                    <a:pt x="32" y="2"/>
                  </a:lnTo>
                  <a:lnTo>
                    <a:pt x="46" y="0"/>
                  </a:lnTo>
                  <a:close/>
                </a:path>
              </a:pathLst>
            </a:custGeom>
            <a:solidFill>
              <a:schemeClr val="accent5"/>
            </a:solidFill>
            <a:ln>
              <a:noFill/>
            </a:ln>
          </p:spPr>
          <p:txBody>
            <a:bodyPr/>
            <a:lstStyle/>
            <a:p>
              <a:endParaRPr lang="de-DE" dirty="0"/>
            </a:p>
          </p:txBody>
        </p:sp>
        <p:sp>
          <p:nvSpPr>
            <p:cNvPr id="1178" name="Freeform 336"/>
            <p:cNvSpPr>
              <a:spLocks/>
            </p:cNvSpPr>
            <p:nvPr/>
          </p:nvSpPr>
          <p:spPr bwMode="auto">
            <a:xfrm>
              <a:off x="11188639" y="5706050"/>
              <a:ext cx="46033" cy="14289"/>
            </a:xfrm>
            <a:custGeom>
              <a:avLst/>
              <a:gdLst>
                <a:gd name="T0" fmla="*/ 46 w 292"/>
                <a:gd name="T1" fmla="*/ 0 h 90"/>
                <a:gd name="T2" fmla="*/ 246 w 292"/>
                <a:gd name="T3" fmla="*/ 0 h 90"/>
                <a:gd name="T4" fmla="*/ 261 w 292"/>
                <a:gd name="T5" fmla="*/ 2 h 90"/>
                <a:gd name="T6" fmla="*/ 273 w 292"/>
                <a:gd name="T7" fmla="*/ 8 h 90"/>
                <a:gd name="T8" fmla="*/ 283 w 292"/>
                <a:gd name="T9" fmla="*/ 17 h 90"/>
                <a:gd name="T10" fmla="*/ 289 w 292"/>
                <a:gd name="T11" fmla="*/ 31 h 90"/>
                <a:gd name="T12" fmla="*/ 292 w 292"/>
                <a:gd name="T13" fmla="*/ 45 h 90"/>
                <a:gd name="T14" fmla="*/ 289 w 292"/>
                <a:gd name="T15" fmla="*/ 59 h 90"/>
                <a:gd name="T16" fmla="*/ 283 w 292"/>
                <a:gd name="T17" fmla="*/ 71 h 90"/>
                <a:gd name="T18" fmla="*/ 273 w 292"/>
                <a:gd name="T19" fmla="*/ 81 h 90"/>
                <a:gd name="T20" fmla="*/ 261 w 292"/>
                <a:gd name="T21" fmla="*/ 88 h 90"/>
                <a:gd name="T22" fmla="*/ 246 w 292"/>
                <a:gd name="T23" fmla="*/ 90 h 90"/>
                <a:gd name="T24" fmla="*/ 46 w 292"/>
                <a:gd name="T25" fmla="*/ 90 h 90"/>
                <a:gd name="T26" fmla="*/ 32 w 292"/>
                <a:gd name="T27" fmla="*/ 88 h 90"/>
                <a:gd name="T28" fmla="*/ 18 w 292"/>
                <a:gd name="T29" fmla="*/ 81 h 90"/>
                <a:gd name="T30" fmla="*/ 8 w 292"/>
                <a:gd name="T31" fmla="*/ 71 h 90"/>
                <a:gd name="T32" fmla="*/ 3 w 292"/>
                <a:gd name="T33" fmla="*/ 59 h 90"/>
                <a:gd name="T34" fmla="*/ 0 w 292"/>
                <a:gd name="T35" fmla="*/ 45 h 90"/>
                <a:gd name="T36" fmla="*/ 3 w 292"/>
                <a:gd name="T37" fmla="*/ 31 h 90"/>
                <a:gd name="T38" fmla="*/ 8 w 292"/>
                <a:gd name="T39" fmla="*/ 17 h 90"/>
                <a:gd name="T40" fmla="*/ 18 w 292"/>
                <a:gd name="T41" fmla="*/ 8 h 90"/>
                <a:gd name="T42" fmla="*/ 32 w 292"/>
                <a:gd name="T43" fmla="*/ 2 h 90"/>
                <a:gd name="T44" fmla="*/ 46 w 292"/>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0">
                  <a:moveTo>
                    <a:pt x="46" y="0"/>
                  </a:moveTo>
                  <a:lnTo>
                    <a:pt x="246" y="0"/>
                  </a:lnTo>
                  <a:lnTo>
                    <a:pt x="261" y="2"/>
                  </a:lnTo>
                  <a:lnTo>
                    <a:pt x="273" y="8"/>
                  </a:lnTo>
                  <a:lnTo>
                    <a:pt x="283" y="17"/>
                  </a:lnTo>
                  <a:lnTo>
                    <a:pt x="289" y="31"/>
                  </a:lnTo>
                  <a:lnTo>
                    <a:pt x="292" y="45"/>
                  </a:lnTo>
                  <a:lnTo>
                    <a:pt x="289" y="59"/>
                  </a:lnTo>
                  <a:lnTo>
                    <a:pt x="283" y="71"/>
                  </a:lnTo>
                  <a:lnTo>
                    <a:pt x="273" y="81"/>
                  </a:lnTo>
                  <a:lnTo>
                    <a:pt x="261" y="88"/>
                  </a:lnTo>
                  <a:lnTo>
                    <a:pt x="246" y="90"/>
                  </a:lnTo>
                  <a:lnTo>
                    <a:pt x="46" y="90"/>
                  </a:lnTo>
                  <a:lnTo>
                    <a:pt x="32" y="88"/>
                  </a:lnTo>
                  <a:lnTo>
                    <a:pt x="18" y="81"/>
                  </a:lnTo>
                  <a:lnTo>
                    <a:pt x="8" y="71"/>
                  </a:lnTo>
                  <a:lnTo>
                    <a:pt x="3" y="59"/>
                  </a:lnTo>
                  <a:lnTo>
                    <a:pt x="0" y="45"/>
                  </a:lnTo>
                  <a:lnTo>
                    <a:pt x="3" y="31"/>
                  </a:lnTo>
                  <a:lnTo>
                    <a:pt x="8" y="17"/>
                  </a:lnTo>
                  <a:lnTo>
                    <a:pt x="18" y="8"/>
                  </a:lnTo>
                  <a:lnTo>
                    <a:pt x="32" y="2"/>
                  </a:lnTo>
                  <a:lnTo>
                    <a:pt x="46" y="0"/>
                  </a:lnTo>
                  <a:close/>
                </a:path>
              </a:pathLst>
            </a:custGeom>
            <a:solidFill>
              <a:schemeClr val="accent5"/>
            </a:solidFill>
            <a:ln>
              <a:noFill/>
            </a:ln>
          </p:spPr>
          <p:txBody>
            <a:bodyPr/>
            <a:lstStyle/>
            <a:p>
              <a:endParaRPr lang="de-DE" dirty="0"/>
            </a:p>
          </p:txBody>
        </p:sp>
        <p:sp>
          <p:nvSpPr>
            <p:cNvPr id="1179" name="Freeform 337"/>
            <p:cNvSpPr>
              <a:spLocks/>
            </p:cNvSpPr>
            <p:nvPr/>
          </p:nvSpPr>
          <p:spPr bwMode="auto">
            <a:xfrm>
              <a:off x="11245784" y="5704462"/>
              <a:ext cx="52382" cy="15877"/>
            </a:xfrm>
            <a:custGeom>
              <a:avLst/>
              <a:gdLst>
                <a:gd name="T0" fmla="*/ 48 w 329"/>
                <a:gd name="T1" fmla="*/ 0 h 99"/>
                <a:gd name="T2" fmla="*/ 281 w 329"/>
                <a:gd name="T3" fmla="*/ 0 h 99"/>
                <a:gd name="T4" fmla="*/ 296 w 329"/>
                <a:gd name="T5" fmla="*/ 4 h 99"/>
                <a:gd name="T6" fmla="*/ 309 w 329"/>
                <a:gd name="T7" fmla="*/ 10 h 99"/>
                <a:gd name="T8" fmla="*/ 320 w 329"/>
                <a:gd name="T9" fmla="*/ 21 h 99"/>
                <a:gd name="T10" fmla="*/ 327 w 329"/>
                <a:gd name="T11" fmla="*/ 35 h 99"/>
                <a:gd name="T12" fmla="*/ 329 w 329"/>
                <a:gd name="T13" fmla="*/ 50 h 99"/>
                <a:gd name="T14" fmla="*/ 327 w 329"/>
                <a:gd name="T15" fmla="*/ 65 h 99"/>
                <a:gd name="T16" fmla="*/ 320 w 329"/>
                <a:gd name="T17" fmla="*/ 79 h 99"/>
                <a:gd name="T18" fmla="*/ 309 w 329"/>
                <a:gd name="T19" fmla="*/ 90 h 99"/>
                <a:gd name="T20" fmla="*/ 296 w 329"/>
                <a:gd name="T21" fmla="*/ 96 h 99"/>
                <a:gd name="T22" fmla="*/ 281 w 329"/>
                <a:gd name="T23" fmla="*/ 99 h 99"/>
                <a:gd name="T24" fmla="*/ 48 w 329"/>
                <a:gd name="T25" fmla="*/ 99 h 99"/>
                <a:gd name="T26" fmla="*/ 33 w 329"/>
                <a:gd name="T27" fmla="*/ 96 h 99"/>
                <a:gd name="T28" fmla="*/ 19 w 329"/>
                <a:gd name="T29" fmla="*/ 90 h 99"/>
                <a:gd name="T30" fmla="*/ 8 w 329"/>
                <a:gd name="T31" fmla="*/ 79 h 99"/>
                <a:gd name="T32" fmla="*/ 2 w 329"/>
                <a:gd name="T33" fmla="*/ 65 h 99"/>
                <a:gd name="T34" fmla="*/ 0 w 329"/>
                <a:gd name="T35" fmla="*/ 50 h 99"/>
                <a:gd name="T36" fmla="*/ 2 w 329"/>
                <a:gd name="T37" fmla="*/ 35 h 99"/>
                <a:gd name="T38" fmla="*/ 8 w 329"/>
                <a:gd name="T39" fmla="*/ 21 h 99"/>
                <a:gd name="T40" fmla="*/ 19 w 329"/>
                <a:gd name="T41" fmla="*/ 10 h 99"/>
                <a:gd name="T42" fmla="*/ 33 w 329"/>
                <a:gd name="T43" fmla="*/ 4 h 99"/>
                <a:gd name="T44" fmla="*/ 48 w 329"/>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99">
                  <a:moveTo>
                    <a:pt x="48" y="0"/>
                  </a:moveTo>
                  <a:lnTo>
                    <a:pt x="281" y="0"/>
                  </a:lnTo>
                  <a:lnTo>
                    <a:pt x="296" y="4"/>
                  </a:lnTo>
                  <a:lnTo>
                    <a:pt x="309" y="10"/>
                  </a:lnTo>
                  <a:lnTo>
                    <a:pt x="320" y="21"/>
                  </a:lnTo>
                  <a:lnTo>
                    <a:pt x="327" y="35"/>
                  </a:lnTo>
                  <a:lnTo>
                    <a:pt x="329" y="50"/>
                  </a:lnTo>
                  <a:lnTo>
                    <a:pt x="327" y="65"/>
                  </a:lnTo>
                  <a:lnTo>
                    <a:pt x="320" y="79"/>
                  </a:lnTo>
                  <a:lnTo>
                    <a:pt x="309" y="90"/>
                  </a:lnTo>
                  <a:lnTo>
                    <a:pt x="296" y="96"/>
                  </a:lnTo>
                  <a:lnTo>
                    <a:pt x="281" y="99"/>
                  </a:lnTo>
                  <a:lnTo>
                    <a:pt x="48" y="99"/>
                  </a:lnTo>
                  <a:lnTo>
                    <a:pt x="33" y="96"/>
                  </a:lnTo>
                  <a:lnTo>
                    <a:pt x="19" y="90"/>
                  </a:lnTo>
                  <a:lnTo>
                    <a:pt x="8" y="79"/>
                  </a:lnTo>
                  <a:lnTo>
                    <a:pt x="2" y="65"/>
                  </a:lnTo>
                  <a:lnTo>
                    <a:pt x="0" y="50"/>
                  </a:lnTo>
                  <a:lnTo>
                    <a:pt x="2" y="35"/>
                  </a:lnTo>
                  <a:lnTo>
                    <a:pt x="8" y="21"/>
                  </a:lnTo>
                  <a:lnTo>
                    <a:pt x="19" y="10"/>
                  </a:lnTo>
                  <a:lnTo>
                    <a:pt x="33" y="4"/>
                  </a:lnTo>
                  <a:lnTo>
                    <a:pt x="48" y="0"/>
                  </a:lnTo>
                  <a:close/>
                </a:path>
              </a:pathLst>
            </a:custGeom>
            <a:solidFill>
              <a:schemeClr val="accent5"/>
            </a:solidFill>
            <a:ln>
              <a:noFill/>
            </a:ln>
          </p:spPr>
          <p:txBody>
            <a:bodyPr/>
            <a:lstStyle/>
            <a:p>
              <a:endParaRPr lang="de-DE" dirty="0"/>
            </a:p>
          </p:txBody>
        </p:sp>
        <p:sp>
          <p:nvSpPr>
            <p:cNvPr id="1180" name="Freeform 338"/>
            <p:cNvSpPr>
              <a:spLocks/>
            </p:cNvSpPr>
            <p:nvPr/>
          </p:nvSpPr>
          <p:spPr bwMode="auto">
            <a:xfrm>
              <a:off x="11310865" y="5706050"/>
              <a:ext cx="55557" cy="15877"/>
            </a:xfrm>
            <a:custGeom>
              <a:avLst/>
              <a:gdLst>
                <a:gd name="T0" fmla="*/ 50 w 348"/>
                <a:gd name="T1" fmla="*/ 0 h 102"/>
                <a:gd name="T2" fmla="*/ 297 w 348"/>
                <a:gd name="T3" fmla="*/ 0 h 102"/>
                <a:gd name="T4" fmla="*/ 313 w 348"/>
                <a:gd name="T5" fmla="*/ 3 h 102"/>
                <a:gd name="T6" fmla="*/ 327 w 348"/>
                <a:gd name="T7" fmla="*/ 10 h 102"/>
                <a:gd name="T8" fmla="*/ 338 w 348"/>
                <a:gd name="T9" fmla="*/ 21 h 102"/>
                <a:gd name="T10" fmla="*/ 345 w 348"/>
                <a:gd name="T11" fmla="*/ 35 h 102"/>
                <a:gd name="T12" fmla="*/ 348 w 348"/>
                <a:gd name="T13" fmla="*/ 51 h 102"/>
                <a:gd name="T14" fmla="*/ 345 w 348"/>
                <a:gd name="T15" fmla="*/ 68 h 102"/>
                <a:gd name="T16" fmla="*/ 338 w 348"/>
                <a:gd name="T17" fmla="*/ 81 h 102"/>
                <a:gd name="T18" fmla="*/ 327 w 348"/>
                <a:gd name="T19" fmla="*/ 92 h 102"/>
                <a:gd name="T20" fmla="*/ 313 w 348"/>
                <a:gd name="T21" fmla="*/ 100 h 102"/>
                <a:gd name="T22" fmla="*/ 297 w 348"/>
                <a:gd name="T23" fmla="*/ 102 h 102"/>
                <a:gd name="T24" fmla="*/ 50 w 348"/>
                <a:gd name="T25" fmla="*/ 102 h 102"/>
                <a:gd name="T26" fmla="*/ 34 w 348"/>
                <a:gd name="T27" fmla="*/ 100 h 102"/>
                <a:gd name="T28" fmla="*/ 20 w 348"/>
                <a:gd name="T29" fmla="*/ 92 h 102"/>
                <a:gd name="T30" fmla="*/ 10 w 348"/>
                <a:gd name="T31" fmla="*/ 81 h 102"/>
                <a:gd name="T32" fmla="*/ 2 w 348"/>
                <a:gd name="T33" fmla="*/ 68 h 102"/>
                <a:gd name="T34" fmla="*/ 0 w 348"/>
                <a:gd name="T35" fmla="*/ 51 h 102"/>
                <a:gd name="T36" fmla="*/ 2 w 348"/>
                <a:gd name="T37" fmla="*/ 35 h 102"/>
                <a:gd name="T38" fmla="*/ 10 w 348"/>
                <a:gd name="T39" fmla="*/ 21 h 102"/>
                <a:gd name="T40" fmla="*/ 20 w 348"/>
                <a:gd name="T41" fmla="*/ 10 h 102"/>
                <a:gd name="T42" fmla="*/ 34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3" y="3"/>
                  </a:lnTo>
                  <a:lnTo>
                    <a:pt x="327" y="10"/>
                  </a:lnTo>
                  <a:lnTo>
                    <a:pt x="338" y="21"/>
                  </a:lnTo>
                  <a:lnTo>
                    <a:pt x="345" y="35"/>
                  </a:lnTo>
                  <a:lnTo>
                    <a:pt x="348" y="51"/>
                  </a:lnTo>
                  <a:lnTo>
                    <a:pt x="345" y="68"/>
                  </a:lnTo>
                  <a:lnTo>
                    <a:pt x="338" y="81"/>
                  </a:lnTo>
                  <a:lnTo>
                    <a:pt x="327" y="92"/>
                  </a:lnTo>
                  <a:lnTo>
                    <a:pt x="313" y="100"/>
                  </a:lnTo>
                  <a:lnTo>
                    <a:pt x="297" y="102"/>
                  </a:lnTo>
                  <a:lnTo>
                    <a:pt x="50" y="102"/>
                  </a:lnTo>
                  <a:lnTo>
                    <a:pt x="34" y="100"/>
                  </a:lnTo>
                  <a:lnTo>
                    <a:pt x="20" y="92"/>
                  </a:lnTo>
                  <a:lnTo>
                    <a:pt x="10" y="81"/>
                  </a:lnTo>
                  <a:lnTo>
                    <a:pt x="2" y="68"/>
                  </a:lnTo>
                  <a:lnTo>
                    <a:pt x="0" y="51"/>
                  </a:lnTo>
                  <a:lnTo>
                    <a:pt x="2" y="35"/>
                  </a:lnTo>
                  <a:lnTo>
                    <a:pt x="10" y="21"/>
                  </a:lnTo>
                  <a:lnTo>
                    <a:pt x="20" y="10"/>
                  </a:lnTo>
                  <a:lnTo>
                    <a:pt x="34" y="3"/>
                  </a:lnTo>
                  <a:lnTo>
                    <a:pt x="50" y="0"/>
                  </a:lnTo>
                  <a:close/>
                </a:path>
              </a:pathLst>
            </a:custGeom>
            <a:solidFill>
              <a:schemeClr val="accent5"/>
            </a:solidFill>
            <a:ln>
              <a:noFill/>
            </a:ln>
          </p:spPr>
          <p:txBody>
            <a:bodyPr/>
            <a:lstStyle/>
            <a:p>
              <a:endParaRPr lang="de-DE" dirty="0"/>
            </a:p>
          </p:txBody>
        </p:sp>
        <p:sp>
          <p:nvSpPr>
            <p:cNvPr id="1181" name="Freeform 339"/>
            <p:cNvSpPr>
              <a:spLocks/>
            </p:cNvSpPr>
            <p:nvPr/>
          </p:nvSpPr>
          <p:spPr bwMode="auto">
            <a:xfrm>
              <a:off x="11390232" y="5707637"/>
              <a:ext cx="41271" cy="14289"/>
            </a:xfrm>
            <a:custGeom>
              <a:avLst/>
              <a:gdLst>
                <a:gd name="T0" fmla="*/ 43 w 268"/>
                <a:gd name="T1" fmla="*/ 0 h 88"/>
                <a:gd name="T2" fmla="*/ 225 w 268"/>
                <a:gd name="T3" fmla="*/ 0 h 88"/>
                <a:gd name="T4" fmla="*/ 238 w 268"/>
                <a:gd name="T5" fmla="*/ 3 h 88"/>
                <a:gd name="T6" fmla="*/ 250 w 268"/>
                <a:gd name="T7" fmla="*/ 9 h 88"/>
                <a:gd name="T8" fmla="*/ 260 w 268"/>
                <a:gd name="T9" fmla="*/ 18 h 88"/>
                <a:gd name="T10" fmla="*/ 266 w 268"/>
                <a:gd name="T11" fmla="*/ 30 h 88"/>
                <a:gd name="T12" fmla="*/ 268 w 268"/>
                <a:gd name="T13" fmla="*/ 43 h 88"/>
                <a:gd name="T14" fmla="*/ 266 w 268"/>
                <a:gd name="T15" fmla="*/ 58 h 88"/>
                <a:gd name="T16" fmla="*/ 260 w 268"/>
                <a:gd name="T17" fmla="*/ 70 h 88"/>
                <a:gd name="T18" fmla="*/ 250 w 268"/>
                <a:gd name="T19" fmla="*/ 79 h 88"/>
                <a:gd name="T20" fmla="*/ 238 w 268"/>
                <a:gd name="T21" fmla="*/ 85 h 88"/>
                <a:gd name="T22" fmla="*/ 225 w 268"/>
                <a:gd name="T23" fmla="*/ 88 h 88"/>
                <a:gd name="T24" fmla="*/ 43 w 268"/>
                <a:gd name="T25" fmla="*/ 88 h 88"/>
                <a:gd name="T26" fmla="*/ 30 w 268"/>
                <a:gd name="T27" fmla="*/ 85 h 88"/>
                <a:gd name="T28" fmla="*/ 18 w 268"/>
                <a:gd name="T29" fmla="*/ 79 h 88"/>
                <a:gd name="T30" fmla="*/ 8 w 268"/>
                <a:gd name="T31" fmla="*/ 70 h 88"/>
                <a:gd name="T32" fmla="*/ 2 w 268"/>
                <a:gd name="T33" fmla="*/ 58 h 88"/>
                <a:gd name="T34" fmla="*/ 0 w 268"/>
                <a:gd name="T35" fmla="*/ 43 h 88"/>
                <a:gd name="T36" fmla="*/ 2 w 268"/>
                <a:gd name="T37" fmla="*/ 30 h 88"/>
                <a:gd name="T38" fmla="*/ 8 w 268"/>
                <a:gd name="T39" fmla="*/ 18 h 88"/>
                <a:gd name="T40" fmla="*/ 18 w 268"/>
                <a:gd name="T41" fmla="*/ 9 h 88"/>
                <a:gd name="T42" fmla="*/ 30 w 268"/>
                <a:gd name="T43" fmla="*/ 3 h 88"/>
                <a:gd name="T44" fmla="*/ 43 w 268"/>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8" h="88">
                  <a:moveTo>
                    <a:pt x="43" y="0"/>
                  </a:moveTo>
                  <a:lnTo>
                    <a:pt x="225" y="0"/>
                  </a:lnTo>
                  <a:lnTo>
                    <a:pt x="238" y="3"/>
                  </a:lnTo>
                  <a:lnTo>
                    <a:pt x="250" y="9"/>
                  </a:lnTo>
                  <a:lnTo>
                    <a:pt x="260" y="18"/>
                  </a:lnTo>
                  <a:lnTo>
                    <a:pt x="266" y="30"/>
                  </a:lnTo>
                  <a:lnTo>
                    <a:pt x="268" y="43"/>
                  </a:lnTo>
                  <a:lnTo>
                    <a:pt x="266" y="58"/>
                  </a:lnTo>
                  <a:lnTo>
                    <a:pt x="260" y="70"/>
                  </a:lnTo>
                  <a:lnTo>
                    <a:pt x="250" y="79"/>
                  </a:lnTo>
                  <a:lnTo>
                    <a:pt x="238" y="85"/>
                  </a:lnTo>
                  <a:lnTo>
                    <a:pt x="225" y="88"/>
                  </a:lnTo>
                  <a:lnTo>
                    <a:pt x="43" y="88"/>
                  </a:lnTo>
                  <a:lnTo>
                    <a:pt x="30" y="85"/>
                  </a:lnTo>
                  <a:lnTo>
                    <a:pt x="18" y="79"/>
                  </a:lnTo>
                  <a:lnTo>
                    <a:pt x="8" y="70"/>
                  </a:lnTo>
                  <a:lnTo>
                    <a:pt x="2" y="58"/>
                  </a:lnTo>
                  <a:lnTo>
                    <a:pt x="0" y="43"/>
                  </a:lnTo>
                  <a:lnTo>
                    <a:pt x="2" y="30"/>
                  </a:lnTo>
                  <a:lnTo>
                    <a:pt x="8" y="18"/>
                  </a:lnTo>
                  <a:lnTo>
                    <a:pt x="18" y="9"/>
                  </a:lnTo>
                  <a:lnTo>
                    <a:pt x="30" y="3"/>
                  </a:lnTo>
                  <a:lnTo>
                    <a:pt x="43" y="0"/>
                  </a:lnTo>
                  <a:close/>
                </a:path>
              </a:pathLst>
            </a:custGeom>
            <a:solidFill>
              <a:schemeClr val="accent5"/>
            </a:solidFill>
            <a:ln>
              <a:noFill/>
            </a:ln>
          </p:spPr>
          <p:txBody>
            <a:bodyPr/>
            <a:lstStyle/>
            <a:p>
              <a:endParaRPr lang="de-DE" dirty="0"/>
            </a:p>
          </p:txBody>
        </p:sp>
        <p:sp>
          <p:nvSpPr>
            <p:cNvPr id="1182" name="Freeform 340"/>
            <p:cNvSpPr>
              <a:spLocks/>
            </p:cNvSpPr>
            <p:nvPr/>
          </p:nvSpPr>
          <p:spPr bwMode="auto">
            <a:xfrm>
              <a:off x="10974348" y="5760031"/>
              <a:ext cx="53970" cy="15877"/>
            </a:xfrm>
            <a:custGeom>
              <a:avLst/>
              <a:gdLst>
                <a:gd name="T0" fmla="*/ 50 w 344"/>
                <a:gd name="T1" fmla="*/ 0 h 101"/>
                <a:gd name="T2" fmla="*/ 294 w 344"/>
                <a:gd name="T3" fmla="*/ 0 h 101"/>
                <a:gd name="T4" fmla="*/ 309 w 344"/>
                <a:gd name="T5" fmla="*/ 3 h 101"/>
                <a:gd name="T6" fmla="*/ 324 w 344"/>
                <a:gd name="T7" fmla="*/ 10 h 101"/>
                <a:gd name="T8" fmla="*/ 335 w 344"/>
                <a:gd name="T9" fmla="*/ 21 h 101"/>
                <a:gd name="T10" fmla="*/ 341 w 344"/>
                <a:gd name="T11" fmla="*/ 35 h 101"/>
                <a:gd name="T12" fmla="*/ 344 w 344"/>
                <a:gd name="T13" fmla="*/ 51 h 101"/>
                <a:gd name="T14" fmla="*/ 341 w 344"/>
                <a:gd name="T15" fmla="*/ 66 h 101"/>
                <a:gd name="T16" fmla="*/ 335 w 344"/>
                <a:gd name="T17" fmla="*/ 80 h 101"/>
                <a:gd name="T18" fmla="*/ 324 w 344"/>
                <a:gd name="T19" fmla="*/ 91 h 101"/>
                <a:gd name="T20" fmla="*/ 309 w 344"/>
                <a:gd name="T21" fmla="*/ 98 h 101"/>
                <a:gd name="T22" fmla="*/ 294 w 344"/>
                <a:gd name="T23" fmla="*/ 101 h 101"/>
                <a:gd name="T24" fmla="*/ 50 w 344"/>
                <a:gd name="T25" fmla="*/ 101 h 101"/>
                <a:gd name="T26" fmla="*/ 35 w 344"/>
                <a:gd name="T27" fmla="*/ 98 h 101"/>
                <a:gd name="T28" fmla="*/ 21 w 344"/>
                <a:gd name="T29" fmla="*/ 91 h 101"/>
                <a:gd name="T30" fmla="*/ 9 w 344"/>
                <a:gd name="T31" fmla="*/ 80 h 101"/>
                <a:gd name="T32" fmla="*/ 3 w 344"/>
                <a:gd name="T33" fmla="*/ 66 h 101"/>
                <a:gd name="T34" fmla="*/ 0 w 344"/>
                <a:gd name="T35" fmla="*/ 51 h 101"/>
                <a:gd name="T36" fmla="*/ 3 w 344"/>
                <a:gd name="T37" fmla="*/ 35 h 101"/>
                <a:gd name="T38" fmla="*/ 9 w 344"/>
                <a:gd name="T39" fmla="*/ 21 h 101"/>
                <a:gd name="T40" fmla="*/ 21 w 344"/>
                <a:gd name="T41" fmla="*/ 10 h 101"/>
                <a:gd name="T42" fmla="*/ 35 w 344"/>
                <a:gd name="T43" fmla="*/ 3 h 101"/>
                <a:gd name="T44" fmla="*/ 50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0" y="0"/>
                  </a:moveTo>
                  <a:lnTo>
                    <a:pt x="294" y="0"/>
                  </a:lnTo>
                  <a:lnTo>
                    <a:pt x="309" y="3"/>
                  </a:lnTo>
                  <a:lnTo>
                    <a:pt x="324" y="10"/>
                  </a:lnTo>
                  <a:lnTo>
                    <a:pt x="335" y="21"/>
                  </a:lnTo>
                  <a:lnTo>
                    <a:pt x="341" y="35"/>
                  </a:lnTo>
                  <a:lnTo>
                    <a:pt x="344" y="51"/>
                  </a:lnTo>
                  <a:lnTo>
                    <a:pt x="341" y="66"/>
                  </a:lnTo>
                  <a:lnTo>
                    <a:pt x="335" y="80"/>
                  </a:lnTo>
                  <a:lnTo>
                    <a:pt x="324" y="91"/>
                  </a:lnTo>
                  <a:lnTo>
                    <a:pt x="309" y="98"/>
                  </a:lnTo>
                  <a:lnTo>
                    <a:pt x="294" y="101"/>
                  </a:lnTo>
                  <a:lnTo>
                    <a:pt x="50" y="101"/>
                  </a:lnTo>
                  <a:lnTo>
                    <a:pt x="35" y="98"/>
                  </a:lnTo>
                  <a:lnTo>
                    <a:pt x="21" y="91"/>
                  </a:lnTo>
                  <a:lnTo>
                    <a:pt x="9" y="80"/>
                  </a:lnTo>
                  <a:lnTo>
                    <a:pt x="3" y="66"/>
                  </a:lnTo>
                  <a:lnTo>
                    <a:pt x="0" y="51"/>
                  </a:lnTo>
                  <a:lnTo>
                    <a:pt x="3" y="35"/>
                  </a:lnTo>
                  <a:lnTo>
                    <a:pt x="9" y="21"/>
                  </a:lnTo>
                  <a:lnTo>
                    <a:pt x="21" y="10"/>
                  </a:lnTo>
                  <a:lnTo>
                    <a:pt x="35" y="3"/>
                  </a:lnTo>
                  <a:lnTo>
                    <a:pt x="50" y="0"/>
                  </a:lnTo>
                  <a:close/>
                </a:path>
              </a:pathLst>
            </a:custGeom>
            <a:solidFill>
              <a:schemeClr val="accent5"/>
            </a:solidFill>
            <a:ln>
              <a:noFill/>
            </a:ln>
          </p:spPr>
          <p:txBody>
            <a:bodyPr/>
            <a:lstStyle/>
            <a:p>
              <a:endParaRPr lang="de-DE" dirty="0"/>
            </a:p>
          </p:txBody>
        </p:sp>
        <p:sp>
          <p:nvSpPr>
            <p:cNvPr id="1183" name="Freeform 341"/>
            <p:cNvSpPr>
              <a:spLocks/>
            </p:cNvSpPr>
            <p:nvPr/>
          </p:nvSpPr>
          <p:spPr bwMode="auto">
            <a:xfrm>
              <a:off x="11048953" y="5756856"/>
              <a:ext cx="50795" cy="15877"/>
            </a:xfrm>
            <a:custGeom>
              <a:avLst/>
              <a:gdLst>
                <a:gd name="T0" fmla="*/ 48 w 312"/>
                <a:gd name="T1" fmla="*/ 0 h 95"/>
                <a:gd name="T2" fmla="*/ 265 w 312"/>
                <a:gd name="T3" fmla="*/ 0 h 95"/>
                <a:gd name="T4" fmla="*/ 279 w 312"/>
                <a:gd name="T5" fmla="*/ 3 h 95"/>
                <a:gd name="T6" fmla="*/ 292 w 312"/>
                <a:gd name="T7" fmla="*/ 10 h 95"/>
                <a:gd name="T8" fmla="*/ 302 w 312"/>
                <a:gd name="T9" fmla="*/ 20 h 95"/>
                <a:gd name="T10" fmla="*/ 309 w 312"/>
                <a:gd name="T11" fmla="*/ 33 h 95"/>
                <a:gd name="T12" fmla="*/ 312 w 312"/>
                <a:gd name="T13" fmla="*/ 48 h 95"/>
                <a:gd name="T14" fmla="*/ 309 w 312"/>
                <a:gd name="T15" fmla="*/ 63 h 95"/>
                <a:gd name="T16" fmla="*/ 302 w 312"/>
                <a:gd name="T17" fmla="*/ 76 h 95"/>
                <a:gd name="T18" fmla="*/ 292 w 312"/>
                <a:gd name="T19" fmla="*/ 86 h 95"/>
                <a:gd name="T20" fmla="*/ 279 w 312"/>
                <a:gd name="T21" fmla="*/ 92 h 95"/>
                <a:gd name="T22" fmla="*/ 265 w 312"/>
                <a:gd name="T23" fmla="*/ 95 h 95"/>
                <a:gd name="T24" fmla="*/ 48 w 312"/>
                <a:gd name="T25" fmla="*/ 95 h 95"/>
                <a:gd name="T26" fmla="*/ 32 w 312"/>
                <a:gd name="T27" fmla="*/ 92 h 95"/>
                <a:gd name="T28" fmla="*/ 20 w 312"/>
                <a:gd name="T29" fmla="*/ 86 h 95"/>
                <a:gd name="T30" fmla="*/ 9 w 312"/>
                <a:gd name="T31" fmla="*/ 76 h 95"/>
                <a:gd name="T32" fmla="*/ 2 w 312"/>
                <a:gd name="T33" fmla="*/ 63 h 95"/>
                <a:gd name="T34" fmla="*/ 0 w 312"/>
                <a:gd name="T35" fmla="*/ 48 h 95"/>
                <a:gd name="T36" fmla="*/ 2 w 312"/>
                <a:gd name="T37" fmla="*/ 33 h 95"/>
                <a:gd name="T38" fmla="*/ 9 w 312"/>
                <a:gd name="T39" fmla="*/ 20 h 95"/>
                <a:gd name="T40" fmla="*/ 20 w 312"/>
                <a:gd name="T41" fmla="*/ 10 h 95"/>
                <a:gd name="T42" fmla="*/ 32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5" y="0"/>
                  </a:lnTo>
                  <a:lnTo>
                    <a:pt x="279" y="3"/>
                  </a:lnTo>
                  <a:lnTo>
                    <a:pt x="292" y="10"/>
                  </a:lnTo>
                  <a:lnTo>
                    <a:pt x="302" y="20"/>
                  </a:lnTo>
                  <a:lnTo>
                    <a:pt x="309" y="33"/>
                  </a:lnTo>
                  <a:lnTo>
                    <a:pt x="312" y="48"/>
                  </a:lnTo>
                  <a:lnTo>
                    <a:pt x="309" y="63"/>
                  </a:lnTo>
                  <a:lnTo>
                    <a:pt x="302" y="76"/>
                  </a:lnTo>
                  <a:lnTo>
                    <a:pt x="292" y="86"/>
                  </a:lnTo>
                  <a:lnTo>
                    <a:pt x="279" y="92"/>
                  </a:lnTo>
                  <a:lnTo>
                    <a:pt x="265" y="95"/>
                  </a:lnTo>
                  <a:lnTo>
                    <a:pt x="48" y="95"/>
                  </a:lnTo>
                  <a:lnTo>
                    <a:pt x="32" y="92"/>
                  </a:lnTo>
                  <a:lnTo>
                    <a:pt x="20" y="86"/>
                  </a:lnTo>
                  <a:lnTo>
                    <a:pt x="9" y="76"/>
                  </a:lnTo>
                  <a:lnTo>
                    <a:pt x="2" y="63"/>
                  </a:lnTo>
                  <a:lnTo>
                    <a:pt x="0" y="48"/>
                  </a:lnTo>
                  <a:lnTo>
                    <a:pt x="2" y="33"/>
                  </a:lnTo>
                  <a:lnTo>
                    <a:pt x="9" y="20"/>
                  </a:lnTo>
                  <a:lnTo>
                    <a:pt x="20" y="10"/>
                  </a:lnTo>
                  <a:lnTo>
                    <a:pt x="32" y="3"/>
                  </a:lnTo>
                  <a:lnTo>
                    <a:pt x="48" y="0"/>
                  </a:lnTo>
                  <a:close/>
                </a:path>
              </a:pathLst>
            </a:custGeom>
            <a:solidFill>
              <a:schemeClr val="accent5"/>
            </a:solidFill>
            <a:ln>
              <a:noFill/>
            </a:ln>
          </p:spPr>
          <p:txBody>
            <a:bodyPr/>
            <a:lstStyle/>
            <a:p>
              <a:endParaRPr lang="de-DE" dirty="0"/>
            </a:p>
          </p:txBody>
        </p:sp>
        <p:sp>
          <p:nvSpPr>
            <p:cNvPr id="1184" name="Freeform 342"/>
            <p:cNvSpPr>
              <a:spLocks/>
            </p:cNvSpPr>
            <p:nvPr/>
          </p:nvSpPr>
          <p:spPr bwMode="auto">
            <a:xfrm>
              <a:off x="11112447" y="5761619"/>
              <a:ext cx="49208" cy="14289"/>
            </a:xfrm>
            <a:custGeom>
              <a:avLst/>
              <a:gdLst>
                <a:gd name="T0" fmla="*/ 48 w 310"/>
                <a:gd name="T1" fmla="*/ 0 h 95"/>
                <a:gd name="T2" fmla="*/ 262 w 310"/>
                <a:gd name="T3" fmla="*/ 0 h 95"/>
                <a:gd name="T4" fmla="*/ 278 w 310"/>
                <a:gd name="T5" fmla="*/ 3 h 95"/>
                <a:gd name="T6" fmla="*/ 290 w 310"/>
                <a:gd name="T7" fmla="*/ 9 h 95"/>
                <a:gd name="T8" fmla="*/ 301 w 310"/>
                <a:gd name="T9" fmla="*/ 19 h 95"/>
                <a:gd name="T10" fmla="*/ 308 w 310"/>
                <a:gd name="T11" fmla="*/ 32 h 95"/>
                <a:gd name="T12" fmla="*/ 310 w 310"/>
                <a:gd name="T13" fmla="*/ 48 h 95"/>
                <a:gd name="T14" fmla="*/ 308 w 310"/>
                <a:gd name="T15" fmla="*/ 62 h 95"/>
                <a:gd name="T16" fmla="*/ 301 w 310"/>
                <a:gd name="T17" fmla="*/ 76 h 95"/>
                <a:gd name="T18" fmla="*/ 290 w 310"/>
                <a:gd name="T19" fmla="*/ 85 h 95"/>
                <a:gd name="T20" fmla="*/ 278 w 310"/>
                <a:gd name="T21" fmla="*/ 92 h 95"/>
                <a:gd name="T22" fmla="*/ 262 w 310"/>
                <a:gd name="T23" fmla="*/ 95 h 95"/>
                <a:gd name="T24" fmla="*/ 48 w 310"/>
                <a:gd name="T25" fmla="*/ 95 h 95"/>
                <a:gd name="T26" fmla="*/ 32 w 310"/>
                <a:gd name="T27" fmla="*/ 92 h 95"/>
                <a:gd name="T28" fmla="*/ 19 w 310"/>
                <a:gd name="T29" fmla="*/ 85 h 95"/>
                <a:gd name="T30" fmla="*/ 9 w 310"/>
                <a:gd name="T31" fmla="*/ 76 h 95"/>
                <a:gd name="T32" fmla="*/ 2 w 310"/>
                <a:gd name="T33" fmla="*/ 62 h 95"/>
                <a:gd name="T34" fmla="*/ 0 w 310"/>
                <a:gd name="T35" fmla="*/ 48 h 95"/>
                <a:gd name="T36" fmla="*/ 2 w 310"/>
                <a:gd name="T37" fmla="*/ 32 h 95"/>
                <a:gd name="T38" fmla="*/ 9 w 310"/>
                <a:gd name="T39" fmla="*/ 19 h 95"/>
                <a:gd name="T40" fmla="*/ 19 w 310"/>
                <a:gd name="T41" fmla="*/ 9 h 95"/>
                <a:gd name="T42" fmla="*/ 32 w 310"/>
                <a:gd name="T43" fmla="*/ 3 h 95"/>
                <a:gd name="T44" fmla="*/ 48 w 310"/>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0" h="95">
                  <a:moveTo>
                    <a:pt x="48" y="0"/>
                  </a:moveTo>
                  <a:lnTo>
                    <a:pt x="262" y="0"/>
                  </a:lnTo>
                  <a:lnTo>
                    <a:pt x="278" y="3"/>
                  </a:lnTo>
                  <a:lnTo>
                    <a:pt x="290" y="9"/>
                  </a:lnTo>
                  <a:lnTo>
                    <a:pt x="301" y="19"/>
                  </a:lnTo>
                  <a:lnTo>
                    <a:pt x="308" y="32"/>
                  </a:lnTo>
                  <a:lnTo>
                    <a:pt x="310" y="48"/>
                  </a:lnTo>
                  <a:lnTo>
                    <a:pt x="308" y="62"/>
                  </a:lnTo>
                  <a:lnTo>
                    <a:pt x="301" y="76"/>
                  </a:lnTo>
                  <a:lnTo>
                    <a:pt x="290" y="85"/>
                  </a:lnTo>
                  <a:lnTo>
                    <a:pt x="278" y="92"/>
                  </a:lnTo>
                  <a:lnTo>
                    <a:pt x="262" y="95"/>
                  </a:lnTo>
                  <a:lnTo>
                    <a:pt x="48" y="95"/>
                  </a:lnTo>
                  <a:lnTo>
                    <a:pt x="32" y="92"/>
                  </a:lnTo>
                  <a:lnTo>
                    <a:pt x="19" y="85"/>
                  </a:lnTo>
                  <a:lnTo>
                    <a:pt x="9" y="76"/>
                  </a:lnTo>
                  <a:lnTo>
                    <a:pt x="2" y="62"/>
                  </a:lnTo>
                  <a:lnTo>
                    <a:pt x="0" y="48"/>
                  </a:lnTo>
                  <a:lnTo>
                    <a:pt x="2" y="32"/>
                  </a:lnTo>
                  <a:lnTo>
                    <a:pt x="9" y="19"/>
                  </a:lnTo>
                  <a:lnTo>
                    <a:pt x="19" y="9"/>
                  </a:lnTo>
                  <a:lnTo>
                    <a:pt x="32" y="3"/>
                  </a:lnTo>
                  <a:lnTo>
                    <a:pt x="48" y="0"/>
                  </a:lnTo>
                  <a:close/>
                </a:path>
              </a:pathLst>
            </a:custGeom>
            <a:solidFill>
              <a:schemeClr val="accent5"/>
            </a:solidFill>
            <a:ln>
              <a:noFill/>
            </a:ln>
          </p:spPr>
          <p:txBody>
            <a:bodyPr/>
            <a:lstStyle/>
            <a:p>
              <a:endParaRPr lang="de-DE" dirty="0"/>
            </a:p>
          </p:txBody>
        </p:sp>
        <p:sp>
          <p:nvSpPr>
            <p:cNvPr id="1185" name="Freeform 343"/>
            <p:cNvSpPr>
              <a:spLocks/>
            </p:cNvSpPr>
            <p:nvPr/>
          </p:nvSpPr>
          <p:spPr bwMode="auto">
            <a:xfrm>
              <a:off x="11190227" y="5761619"/>
              <a:ext cx="39684" cy="12701"/>
            </a:xfrm>
            <a:custGeom>
              <a:avLst/>
              <a:gdLst>
                <a:gd name="T0" fmla="*/ 41 w 249"/>
                <a:gd name="T1" fmla="*/ 0 h 83"/>
                <a:gd name="T2" fmla="*/ 207 w 249"/>
                <a:gd name="T3" fmla="*/ 0 h 83"/>
                <a:gd name="T4" fmla="*/ 223 w 249"/>
                <a:gd name="T5" fmla="*/ 3 h 83"/>
                <a:gd name="T6" fmla="*/ 237 w 249"/>
                <a:gd name="T7" fmla="*/ 12 h 83"/>
                <a:gd name="T8" fmla="*/ 246 w 249"/>
                <a:gd name="T9" fmla="*/ 25 h 83"/>
                <a:gd name="T10" fmla="*/ 249 w 249"/>
                <a:gd name="T11" fmla="*/ 42 h 83"/>
                <a:gd name="T12" fmla="*/ 246 w 249"/>
                <a:gd name="T13" fmla="*/ 57 h 83"/>
                <a:gd name="T14" fmla="*/ 237 w 249"/>
                <a:gd name="T15" fmla="*/ 71 h 83"/>
                <a:gd name="T16" fmla="*/ 223 w 249"/>
                <a:gd name="T17" fmla="*/ 80 h 83"/>
                <a:gd name="T18" fmla="*/ 207 w 249"/>
                <a:gd name="T19" fmla="*/ 83 h 83"/>
                <a:gd name="T20" fmla="*/ 41 w 249"/>
                <a:gd name="T21" fmla="*/ 83 h 83"/>
                <a:gd name="T22" fmla="*/ 25 w 249"/>
                <a:gd name="T23" fmla="*/ 80 h 83"/>
                <a:gd name="T24" fmla="*/ 12 w 249"/>
                <a:gd name="T25" fmla="*/ 71 h 83"/>
                <a:gd name="T26" fmla="*/ 3 w 249"/>
                <a:gd name="T27" fmla="*/ 57 h 83"/>
                <a:gd name="T28" fmla="*/ 0 w 249"/>
                <a:gd name="T29" fmla="*/ 42 h 83"/>
                <a:gd name="T30" fmla="*/ 3 w 249"/>
                <a:gd name="T31" fmla="*/ 25 h 83"/>
                <a:gd name="T32" fmla="*/ 12 w 249"/>
                <a:gd name="T33" fmla="*/ 12 h 83"/>
                <a:gd name="T34" fmla="*/ 25 w 249"/>
                <a:gd name="T35" fmla="*/ 3 h 83"/>
                <a:gd name="T36" fmla="*/ 41 w 24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83">
                  <a:moveTo>
                    <a:pt x="41" y="0"/>
                  </a:moveTo>
                  <a:lnTo>
                    <a:pt x="207" y="0"/>
                  </a:lnTo>
                  <a:lnTo>
                    <a:pt x="223" y="3"/>
                  </a:lnTo>
                  <a:lnTo>
                    <a:pt x="237" y="12"/>
                  </a:lnTo>
                  <a:lnTo>
                    <a:pt x="246" y="25"/>
                  </a:lnTo>
                  <a:lnTo>
                    <a:pt x="249" y="42"/>
                  </a:lnTo>
                  <a:lnTo>
                    <a:pt x="246" y="57"/>
                  </a:lnTo>
                  <a:lnTo>
                    <a:pt x="237" y="71"/>
                  </a:lnTo>
                  <a:lnTo>
                    <a:pt x="223" y="80"/>
                  </a:lnTo>
                  <a:lnTo>
                    <a:pt x="207" y="83"/>
                  </a:lnTo>
                  <a:lnTo>
                    <a:pt x="41" y="83"/>
                  </a:lnTo>
                  <a:lnTo>
                    <a:pt x="25" y="80"/>
                  </a:lnTo>
                  <a:lnTo>
                    <a:pt x="12" y="71"/>
                  </a:lnTo>
                  <a:lnTo>
                    <a:pt x="3" y="57"/>
                  </a:lnTo>
                  <a:lnTo>
                    <a:pt x="0" y="42"/>
                  </a:lnTo>
                  <a:lnTo>
                    <a:pt x="3" y="25"/>
                  </a:lnTo>
                  <a:lnTo>
                    <a:pt x="12" y="12"/>
                  </a:lnTo>
                  <a:lnTo>
                    <a:pt x="25" y="3"/>
                  </a:lnTo>
                  <a:lnTo>
                    <a:pt x="41" y="0"/>
                  </a:lnTo>
                  <a:close/>
                </a:path>
              </a:pathLst>
            </a:custGeom>
            <a:solidFill>
              <a:schemeClr val="accent5"/>
            </a:solidFill>
            <a:ln>
              <a:noFill/>
            </a:ln>
          </p:spPr>
          <p:txBody>
            <a:bodyPr/>
            <a:lstStyle/>
            <a:p>
              <a:endParaRPr lang="de-DE" dirty="0"/>
            </a:p>
          </p:txBody>
        </p:sp>
        <p:sp>
          <p:nvSpPr>
            <p:cNvPr id="1186" name="Freeform 344"/>
            <p:cNvSpPr>
              <a:spLocks/>
            </p:cNvSpPr>
            <p:nvPr/>
          </p:nvSpPr>
          <p:spPr bwMode="auto">
            <a:xfrm>
              <a:off x="11245784" y="5755268"/>
              <a:ext cx="50795" cy="15877"/>
            </a:xfrm>
            <a:custGeom>
              <a:avLst/>
              <a:gdLst>
                <a:gd name="T0" fmla="*/ 48 w 323"/>
                <a:gd name="T1" fmla="*/ 0 h 97"/>
                <a:gd name="T2" fmla="*/ 274 w 323"/>
                <a:gd name="T3" fmla="*/ 0 h 97"/>
                <a:gd name="T4" fmla="*/ 290 w 323"/>
                <a:gd name="T5" fmla="*/ 2 h 97"/>
                <a:gd name="T6" fmla="*/ 303 w 323"/>
                <a:gd name="T7" fmla="*/ 9 h 97"/>
                <a:gd name="T8" fmla="*/ 313 w 323"/>
                <a:gd name="T9" fmla="*/ 20 h 97"/>
                <a:gd name="T10" fmla="*/ 321 w 323"/>
                <a:gd name="T11" fmla="*/ 33 h 97"/>
                <a:gd name="T12" fmla="*/ 323 w 323"/>
                <a:gd name="T13" fmla="*/ 48 h 97"/>
                <a:gd name="T14" fmla="*/ 321 w 323"/>
                <a:gd name="T15" fmla="*/ 64 h 97"/>
                <a:gd name="T16" fmla="*/ 313 w 323"/>
                <a:gd name="T17" fmla="*/ 77 h 97"/>
                <a:gd name="T18" fmla="*/ 303 w 323"/>
                <a:gd name="T19" fmla="*/ 87 h 97"/>
                <a:gd name="T20" fmla="*/ 290 w 323"/>
                <a:gd name="T21" fmla="*/ 94 h 97"/>
                <a:gd name="T22" fmla="*/ 274 w 323"/>
                <a:gd name="T23" fmla="*/ 97 h 97"/>
                <a:gd name="T24" fmla="*/ 48 w 323"/>
                <a:gd name="T25" fmla="*/ 97 h 97"/>
                <a:gd name="T26" fmla="*/ 33 w 323"/>
                <a:gd name="T27" fmla="*/ 94 h 97"/>
                <a:gd name="T28" fmla="*/ 20 w 323"/>
                <a:gd name="T29" fmla="*/ 87 h 97"/>
                <a:gd name="T30" fmla="*/ 9 w 323"/>
                <a:gd name="T31" fmla="*/ 77 h 97"/>
                <a:gd name="T32" fmla="*/ 2 w 323"/>
                <a:gd name="T33" fmla="*/ 64 h 97"/>
                <a:gd name="T34" fmla="*/ 0 w 323"/>
                <a:gd name="T35" fmla="*/ 48 h 97"/>
                <a:gd name="T36" fmla="*/ 2 w 323"/>
                <a:gd name="T37" fmla="*/ 33 h 97"/>
                <a:gd name="T38" fmla="*/ 9 w 323"/>
                <a:gd name="T39" fmla="*/ 20 h 97"/>
                <a:gd name="T40" fmla="*/ 20 w 323"/>
                <a:gd name="T41" fmla="*/ 9 h 97"/>
                <a:gd name="T42" fmla="*/ 33 w 323"/>
                <a:gd name="T43" fmla="*/ 2 h 97"/>
                <a:gd name="T44" fmla="*/ 48 w 323"/>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97">
                  <a:moveTo>
                    <a:pt x="48" y="0"/>
                  </a:moveTo>
                  <a:lnTo>
                    <a:pt x="274" y="0"/>
                  </a:lnTo>
                  <a:lnTo>
                    <a:pt x="290" y="2"/>
                  </a:lnTo>
                  <a:lnTo>
                    <a:pt x="303" y="9"/>
                  </a:lnTo>
                  <a:lnTo>
                    <a:pt x="313" y="20"/>
                  </a:lnTo>
                  <a:lnTo>
                    <a:pt x="321" y="33"/>
                  </a:lnTo>
                  <a:lnTo>
                    <a:pt x="323" y="48"/>
                  </a:lnTo>
                  <a:lnTo>
                    <a:pt x="321" y="64"/>
                  </a:lnTo>
                  <a:lnTo>
                    <a:pt x="313" y="77"/>
                  </a:lnTo>
                  <a:lnTo>
                    <a:pt x="303" y="87"/>
                  </a:lnTo>
                  <a:lnTo>
                    <a:pt x="290" y="94"/>
                  </a:lnTo>
                  <a:lnTo>
                    <a:pt x="274" y="97"/>
                  </a:lnTo>
                  <a:lnTo>
                    <a:pt x="48" y="97"/>
                  </a:lnTo>
                  <a:lnTo>
                    <a:pt x="33" y="94"/>
                  </a:lnTo>
                  <a:lnTo>
                    <a:pt x="20" y="87"/>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1187" name="Freeform 345"/>
            <p:cNvSpPr>
              <a:spLocks/>
            </p:cNvSpPr>
            <p:nvPr/>
          </p:nvSpPr>
          <p:spPr bwMode="auto">
            <a:xfrm>
              <a:off x="11310865" y="5755268"/>
              <a:ext cx="57144" cy="15877"/>
            </a:xfrm>
            <a:custGeom>
              <a:avLst/>
              <a:gdLst>
                <a:gd name="T0" fmla="*/ 52 w 356"/>
                <a:gd name="T1" fmla="*/ 0 h 102"/>
                <a:gd name="T2" fmla="*/ 304 w 356"/>
                <a:gd name="T3" fmla="*/ 0 h 102"/>
                <a:gd name="T4" fmla="*/ 321 w 356"/>
                <a:gd name="T5" fmla="*/ 3 h 102"/>
                <a:gd name="T6" fmla="*/ 335 w 356"/>
                <a:gd name="T7" fmla="*/ 10 h 102"/>
                <a:gd name="T8" fmla="*/ 346 w 356"/>
                <a:gd name="T9" fmla="*/ 21 h 102"/>
                <a:gd name="T10" fmla="*/ 353 w 356"/>
                <a:gd name="T11" fmla="*/ 35 h 102"/>
                <a:gd name="T12" fmla="*/ 356 w 356"/>
                <a:gd name="T13" fmla="*/ 51 h 102"/>
                <a:gd name="T14" fmla="*/ 353 w 356"/>
                <a:gd name="T15" fmla="*/ 68 h 102"/>
                <a:gd name="T16" fmla="*/ 346 w 356"/>
                <a:gd name="T17" fmla="*/ 81 h 102"/>
                <a:gd name="T18" fmla="*/ 335 w 356"/>
                <a:gd name="T19" fmla="*/ 92 h 102"/>
                <a:gd name="T20" fmla="*/ 321 w 356"/>
                <a:gd name="T21" fmla="*/ 100 h 102"/>
                <a:gd name="T22" fmla="*/ 304 w 356"/>
                <a:gd name="T23" fmla="*/ 102 h 102"/>
                <a:gd name="T24" fmla="*/ 52 w 356"/>
                <a:gd name="T25" fmla="*/ 102 h 102"/>
                <a:gd name="T26" fmla="*/ 35 w 356"/>
                <a:gd name="T27" fmla="*/ 100 h 102"/>
                <a:gd name="T28" fmla="*/ 21 w 356"/>
                <a:gd name="T29" fmla="*/ 92 h 102"/>
                <a:gd name="T30" fmla="*/ 10 w 356"/>
                <a:gd name="T31" fmla="*/ 81 h 102"/>
                <a:gd name="T32" fmla="*/ 3 w 356"/>
                <a:gd name="T33" fmla="*/ 68 h 102"/>
                <a:gd name="T34" fmla="*/ 0 w 356"/>
                <a:gd name="T35" fmla="*/ 51 h 102"/>
                <a:gd name="T36" fmla="*/ 3 w 356"/>
                <a:gd name="T37" fmla="*/ 35 h 102"/>
                <a:gd name="T38" fmla="*/ 10 w 356"/>
                <a:gd name="T39" fmla="*/ 21 h 102"/>
                <a:gd name="T40" fmla="*/ 21 w 356"/>
                <a:gd name="T41" fmla="*/ 10 h 102"/>
                <a:gd name="T42" fmla="*/ 35 w 356"/>
                <a:gd name="T43" fmla="*/ 3 h 102"/>
                <a:gd name="T44" fmla="*/ 52 w 356"/>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6" h="102">
                  <a:moveTo>
                    <a:pt x="52" y="0"/>
                  </a:moveTo>
                  <a:lnTo>
                    <a:pt x="304" y="0"/>
                  </a:lnTo>
                  <a:lnTo>
                    <a:pt x="321" y="3"/>
                  </a:lnTo>
                  <a:lnTo>
                    <a:pt x="335" y="10"/>
                  </a:lnTo>
                  <a:lnTo>
                    <a:pt x="346" y="21"/>
                  </a:lnTo>
                  <a:lnTo>
                    <a:pt x="353" y="35"/>
                  </a:lnTo>
                  <a:lnTo>
                    <a:pt x="356" y="51"/>
                  </a:lnTo>
                  <a:lnTo>
                    <a:pt x="353" y="68"/>
                  </a:lnTo>
                  <a:lnTo>
                    <a:pt x="346" y="81"/>
                  </a:lnTo>
                  <a:lnTo>
                    <a:pt x="335" y="92"/>
                  </a:lnTo>
                  <a:lnTo>
                    <a:pt x="321" y="100"/>
                  </a:lnTo>
                  <a:lnTo>
                    <a:pt x="304" y="102"/>
                  </a:lnTo>
                  <a:lnTo>
                    <a:pt x="52" y="102"/>
                  </a:lnTo>
                  <a:lnTo>
                    <a:pt x="35" y="100"/>
                  </a:lnTo>
                  <a:lnTo>
                    <a:pt x="21" y="92"/>
                  </a:lnTo>
                  <a:lnTo>
                    <a:pt x="10" y="81"/>
                  </a:lnTo>
                  <a:lnTo>
                    <a:pt x="3" y="68"/>
                  </a:lnTo>
                  <a:lnTo>
                    <a:pt x="0" y="51"/>
                  </a:lnTo>
                  <a:lnTo>
                    <a:pt x="3" y="35"/>
                  </a:lnTo>
                  <a:lnTo>
                    <a:pt x="10" y="21"/>
                  </a:lnTo>
                  <a:lnTo>
                    <a:pt x="21" y="10"/>
                  </a:lnTo>
                  <a:lnTo>
                    <a:pt x="35" y="3"/>
                  </a:lnTo>
                  <a:lnTo>
                    <a:pt x="52" y="0"/>
                  </a:lnTo>
                  <a:close/>
                </a:path>
              </a:pathLst>
            </a:custGeom>
            <a:solidFill>
              <a:schemeClr val="accent5"/>
            </a:solidFill>
            <a:ln>
              <a:noFill/>
            </a:ln>
          </p:spPr>
          <p:txBody>
            <a:bodyPr/>
            <a:lstStyle/>
            <a:p>
              <a:endParaRPr lang="de-DE" dirty="0"/>
            </a:p>
          </p:txBody>
        </p:sp>
        <p:sp>
          <p:nvSpPr>
            <p:cNvPr id="1188" name="Freeform 346"/>
            <p:cNvSpPr>
              <a:spLocks/>
            </p:cNvSpPr>
            <p:nvPr/>
          </p:nvSpPr>
          <p:spPr bwMode="auto">
            <a:xfrm>
              <a:off x="11396581" y="5756856"/>
              <a:ext cx="44446" cy="14289"/>
            </a:xfrm>
            <a:custGeom>
              <a:avLst/>
              <a:gdLst>
                <a:gd name="T0" fmla="*/ 44 w 282"/>
                <a:gd name="T1" fmla="*/ 0 h 89"/>
                <a:gd name="T2" fmla="*/ 238 w 282"/>
                <a:gd name="T3" fmla="*/ 0 h 89"/>
                <a:gd name="T4" fmla="*/ 252 w 282"/>
                <a:gd name="T5" fmla="*/ 2 h 89"/>
                <a:gd name="T6" fmla="*/ 265 w 282"/>
                <a:gd name="T7" fmla="*/ 9 h 89"/>
                <a:gd name="T8" fmla="*/ 274 w 282"/>
                <a:gd name="T9" fmla="*/ 19 h 89"/>
                <a:gd name="T10" fmla="*/ 280 w 282"/>
                <a:gd name="T11" fmla="*/ 31 h 89"/>
                <a:gd name="T12" fmla="*/ 282 w 282"/>
                <a:gd name="T13" fmla="*/ 44 h 89"/>
                <a:gd name="T14" fmla="*/ 280 w 282"/>
                <a:gd name="T15" fmla="*/ 58 h 89"/>
                <a:gd name="T16" fmla="*/ 274 w 282"/>
                <a:gd name="T17" fmla="*/ 71 h 89"/>
                <a:gd name="T18" fmla="*/ 265 w 282"/>
                <a:gd name="T19" fmla="*/ 80 h 89"/>
                <a:gd name="T20" fmla="*/ 252 w 282"/>
                <a:gd name="T21" fmla="*/ 87 h 89"/>
                <a:gd name="T22" fmla="*/ 238 w 282"/>
                <a:gd name="T23" fmla="*/ 89 h 89"/>
                <a:gd name="T24" fmla="*/ 44 w 282"/>
                <a:gd name="T25" fmla="*/ 89 h 89"/>
                <a:gd name="T26" fmla="*/ 30 w 282"/>
                <a:gd name="T27" fmla="*/ 87 h 89"/>
                <a:gd name="T28" fmla="*/ 18 w 282"/>
                <a:gd name="T29" fmla="*/ 80 h 89"/>
                <a:gd name="T30" fmla="*/ 9 w 282"/>
                <a:gd name="T31" fmla="*/ 71 h 89"/>
                <a:gd name="T32" fmla="*/ 2 w 282"/>
                <a:gd name="T33" fmla="*/ 58 h 89"/>
                <a:gd name="T34" fmla="*/ 0 w 282"/>
                <a:gd name="T35" fmla="*/ 44 h 89"/>
                <a:gd name="T36" fmla="*/ 2 w 282"/>
                <a:gd name="T37" fmla="*/ 31 h 89"/>
                <a:gd name="T38" fmla="*/ 9 w 282"/>
                <a:gd name="T39" fmla="*/ 19 h 89"/>
                <a:gd name="T40" fmla="*/ 18 w 282"/>
                <a:gd name="T41" fmla="*/ 9 h 89"/>
                <a:gd name="T42" fmla="*/ 30 w 282"/>
                <a:gd name="T43" fmla="*/ 2 h 89"/>
                <a:gd name="T44" fmla="*/ 44 w 282"/>
                <a:gd name="T4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2" h="89">
                  <a:moveTo>
                    <a:pt x="44" y="0"/>
                  </a:moveTo>
                  <a:lnTo>
                    <a:pt x="238" y="0"/>
                  </a:lnTo>
                  <a:lnTo>
                    <a:pt x="252" y="2"/>
                  </a:lnTo>
                  <a:lnTo>
                    <a:pt x="265" y="9"/>
                  </a:lnTo>
                  <a:lnTo>
                    <a:pt x="274" y="19"/>
                  </a:lnTo>
                  <a:lnTo>
                    <a:pt x="280" y="31"/>
                  </a:lnTo>
                  <a:lnTo>
                    <a:pt x="282" y="44"/>
                  </a:lnTo>
                  <a:lnTo>
                    <a:pt x="280" y="58"/>
                  </a:lnTo>
                  <a:lnTo>
                    <a:pt x="274" y="71"/>
                  </a:lnTo>
                  <a:lnTo>
                    <a:pt x="265" y="80"/>
                  </a:lnTo>
                  <a:lnTo>
                    <a:pt x="252" y="87"/>
                  </a:lnTo>
                  <a:lnTo>
                    <a:pt x="238" y="89"/>
                  </a:lnTo>
                  <a:lnTo>
                    <a:pt x="44" y="89"/>
                  </a:lnTo>
                  <a:lnTo>
                    <a:pt x="30" y="87"/>
                  </a:lnTo>
                  <a:lnTo>
                    <a:pt x="18" y="80"/>
                  </a:lnTo>
                  <a:lnTo>
                    <a:pt x="9" y="71"/>
                  </a:lnTo>
                  <a:lnTo>
                    <a:pt x="2" y="58"/>
                  </a:lnTo>
                  <a:lnTo>
                    <a:pt x="0" y="44"/>
                  </a:lnTo>
                  <a:lnTo>
                    <a:pt x="2" y="31"/>
                  </a:lnTo>
                  <a:lnTo>
                    <a:pt x="9" y="19"/>
                  </a:lnTo>
                  <a:lnTo>
                    <a:pt x="18" y="9"/>
                  </a:lnTo>
                  <a:lnTo>
                    <a:pt x="30" y="2"/>
                  </a:lnTo>
                  <a:lnTo>
                    <a:pt x="44" y="0"/>
                  </a:lnTo>
                  <a:close/>
                </a:path>
              </a:pathLst>
            </a:custGeom>
            <a:solidFill>
              <a:schemeClr val="accent5"/>
            </a:solidFill>
            <a:ln>
              <a:noFill/>
            </a:ln>
          </p:spPr>
          <p:txBody>
            <a:bodyPr/>
            <a:lstStyle/>
            <a:p>
              <a:endParaRPr lang="de-DE" dirty="0"/>
            </a:p>
          </p:txBody>
        </p:sp>
        <p:sp>
          <p:nvSpPr>
            <p:cNvPr id="1189" name="Freeform 347"/>
            <p:cNvSpPr>
              <a:spLocks/>
            </p:cNvSpPr>
            <p:nvPr/>
          </p:nvSpPr>
          <p:spPr bwMode="auto">
            <a:xfrm>
              <a:off x="10975935" y="5815600"/>
              <a:ext cx="42858" cy="14289"/>
            </a:xfrm>
            <a:custGeom>
              <a:avLst/>
              <a:gdLst>
                <a:gd name="T0" fmla="*/ 44 w 273"/>
                <a:gd name="T1" fmla="*/ 0 h 88"/>
                <a:gd name="T2" fmla="*/ 228 w 273"/>
                <a:gd name="T3" fmla="*/ 0 h 88"/>
                <a:gd name="T4" fmla="*/ 243 w 273"/>
                <a:gd name="T5" fmla="*/ 3 h 88"/>
                <a:gd name="T6" fmla="*/ 255 w 273"/>
                <a:gd name="T7" fmla="*/ 9 h 88"/>
                <a:gd name="T8" fmla="*/ 264 w 273"/>
                <a:gd name="T9" fmla="*/ 18 h 88"/>
                <a:gd name="T10" fmla="*/ 270 w 273"/>
                <a:gd name="T11" fmla="*/ 30 h 88"/>
                <a:gd name="T12" fmla="*/ 273 w 273"/>
                <a:gd name="T13" fmla="*/ 45 h 88"/>
                <a:gd name="T14" fmla="*/ 270 w 273"/>
                <a:gd name="T15" fmla="*/ 58 h 88"/>
                <a:gd name="T16" fmla="*/ 264 w 273"/>
                <a:gd name="T17" fmla="*/ 70 h 88"/>
                <a:gd name="T18" fmla="*/ 255 w 273"/>
                <a:gd name="T19" fmla="*/ 80 h 88"/>
                <a:gd name="T20" fmla="*/ 243 w 273"/>
                <a:gd name="T21" fmla="*/ 86 h 88"/>
                <a:gd name="T22" fmla="*/ 228 w 273"/>
                <a:gd name="T23" fmla="*/ 88 h 88"/>
                <a:gd name="T24" fmla="*/ 44 w 273"/>
                <a:gd name="T25" fmla="*/ 88 h 88"/>
                <a:gd name="T26" fmla="*/ 30 w 273"/>
                <a:gd name="T27" fmla="*/ 86 h 88"/>
                <a:gd name="T28" fmla="*/ 18 w 273"/>
                <a:gd name="T29" fmla="*/ 80 h 88"/>
                <a:gd name="T30" fmla="*/ 8 w 273"/>
                <a:gd name="T31" fmla="*/ 70 h 88"/>
                <a:gd name="T32" fmla="*/ 3 w 273"/>
                <a:gd name="T33" fmla="*/ 58 h 88"/>
                <a:gd name="T34" fmla="*/ 0 w 273"/>
                <a:gd name="T35" fmla="*/ 45 h 88"/>
                <a:gd name="T36" fmla="*/ 3 w 273"/>
                <a:gd name="T37" fmla="*/ 30 h 88"/>
                <a:gd name="T38" fmla="*/ 8 w 273"/>
                <a:gd name="T39" fmla="*/ 18 h 88"/>
                <a:gd name="T40" fmla="*/ 18 w 273"/>
                <a:gd name="T41" fmla="*/ 9 h 88"/>
                <a:gd name="T42" fmla="*/ 30 w 273"/>
                <a:gd name="T43" fmla="*/ 3 h 88"/>
                <a:gd name="T44" fmla="*/ 44 w 273"/>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88">
                  <a:moveTo>
                    <a:pt x="44" y="0"/>
                  </a:moveTo>
                  <a:lnTo>
                    <a:pt x="228" y="0"/>
                  </a:lnTo>
                  <a:lnTo>
                    <a:pt x="243" y="3"/>
                  </a:lnTo>
                  <a:lnTo>
                    <a:pt x="255" y="9"/>
                  </a:lnTo>
                  <a:lnTo>
                    <a:pt x="264" y="18"/>
                  </a:lnTo>
                  <a:lnTo>
                    <a:pt x="270" y="30"/>
                  </a:lnTo>
                  <a:lnTo>
                    <a:pt x="273" y="45"/>
                  </a:lnTo>
                  <a:lnTo>
                    <a:pt x="270" y="58"/>
                  </a:lnTo>
                  <a:lnTo>
                    <a:pt x="264" y="70"/>
                  </a:lnTo>
                  <a:lnTo>
                    <a:pt x="255" y="80"/>
                  </a:lnTo>
                  <a:lnTo>
                    <a:pt x="243" y="86"/>
                  </a:lnTo>
                  <a:lnTo>
                    <a:pt x="228" y="88"/>
                  </a:lnTo>
                  <a:lnTo>
                    <a:pt x="44" y="88"/>
                  </a:lnTo>
                  <a:lnTo>
                    <a:pt x="30" y="86"/>
                  </a:lnTo>
                  <a:lnTo>
                    <a:pt x="18" y="80"/>
                  </a:lnTo>
                  <a:lnTo>
                    <a:pt x="8" y="70"/>
                  </a:lnTo>
                  <a:lnTo>
                    <a:pt x="3" y="58"/>
                  </a:lnTo>
                  <a:lnTo>
                    <a:pt x="0" y="45"/>
                  </a:lnTo>
                  <a:lnTo>
                    <a:pt x="3" y="30"/>
                  </a:lnTo>
                  <a:lnTo>
                    <a:pt x="8" y="18"/>
                  </a:lnTo>
                  <a:lnTo>
                    <a:pt x="18" y="9"/>
                  </a:lnTo>
                  <a:lnTo>
                    <a:pt x="30" y="3"/>
                  </a:lnTo>
                  <a:lnTo>
                    <a:pt x="44" y="0"/>
                  </a:lnTo>
                  <a:close/>
                </a:path>
              </a:pathLst>
            </a:custGeom>
            <a:solidFill>
              <a:schemeClr val="accent5"/>
            </a:solidFill>
            <a:ln>
              <a:noFill/>
            </a:ln>
          </p:spPr>
          <p:txBody>
            <a:bodyPr/>
            <a:lstStyle/>
            <a:p>
              <a:endParaRPr lang="de-DE" dirty="0"/>
            </a:p>
          </p:txBody>
        </p:sp>
        <p:sp>
          <p:nvSpPr>
            <p:cNvPr id="1190" name="Freeform 348"/>
            <p:cNvSpPr>
              <a:spLocks/>
            </p:cNvSpPr>
            <p:nvPr/>
          </p:nvSpPr>
          <p:spPr bwMode="auto">
            <a:xfrm>
              <a:off x="11045778" y="5810837"/>
              <a:ext cx="52382" cy="15877"/>
            </a:xfrm>
            <a:custGeom>
              <a:avLst/>
              <a:gdLst>
                <a:gd name="T0" fmla="*/ 48 w 327"/>
                <a:gd name="T1" fmla="*/ 0 h 97"/>
                <a:gd name="T2" fmla="*/ 279 w 327"/>
                <a:gd name="T3" fmla="*/ 0 h 97"/>
                <a:gd name="T4" fmla="*/ 294 w 327"/>
                <a:gd name="T5" fmla="*/ 2 h 97"/>
                <a:gd name="T6" fmla="*/ 307 w 327"/>
                <a:gd name="T7" fmla="*/ 9 h 97"/>
                <a:gd name="T8" fmla="*/ 317 w 327"/>
                <a:gd name="T9" fmla="*/ 20 h 97"/>
                <a:gd name="T10" fmla="*/ 325 w 327"/>
                <a:gd name="T11" fmla="*/ 33 h 97"/>
                <a:gd name="T12" fmla="*/ 327 w 327"/>
                <a:gd name="T13" fmla="*/ 48 h 97"/>
                <a:gd name="T14" fmla="*/ 325 w 327"/>
                <a:gd name="T15" fmla="*/ 64 h 97"/>
                <a:gd name="T16" fmla="*/ 317 w 327"/>
                <a:gd name="T17" fmla="*/ 77 h 97"/>
                <a:gd name="T18" fmla="*/ 307 w 327"/>
                <a:gd name="T19" fmla="*/ 88 h 97"/>
                <a:gd name="T20" fmla="*/ 294 w 327"/>
                <a:gd name="T21" fmla="*/ 95 h 97"/>
                <a:gd name="T22" fmla="*/ 279 w 327"/>
                <a:gd name="T23" fmla="*/ 97 h 97"/>
                <a:gd name="T24" fmla="*/ 48 w 327"/>
                <a:gd name="T25" fmla="*/ 97 h 97"/>
                <a:gd name="T26" fmla="*/ 33 w 327"/>
                <a:gd name="T27" fmla="*/ 95 h 97"/>
                <a:gd name="T28" fmla="*/ 20 w 327"/>
                <a:gd name="T29" fmla="*/ 88 h 97"/>
                <a:gd name="T30" fmla="*/ 9 w 327"/>
                <a:gd name="T31" fmla="*/ 77 h 97"/>
                <a:gd name="T32" fmla="*/ 2 w 327"/>
                <a:gd name="T33" fmla="*/ 64 h 97"/>
                <a:gd name="T34" fmla="*/ 0 w 327"/>
                <a:gd name="T35" fmla="*/ 48 h 97"/>
                <a:gd name="T36" fmla="*/ 2 w 327"/>
                <a:gd name="T37" fmla="*/ 33 h 97"/>
                <a:gd name="T38" fmla="*/ 9 w 327"/>
                <a:gd name="T39" fmla="*/ 20 h 97"/>
                <a:gd name="T40" fmla="*/ 20 w 327"/>
                <a:gd name="T41" fmla="*/ 9 h 97"/>
                <a:gd name="T42" fmla="*/ 33 w 327"/>
                <a:gd name="T43" fmla="*/ 2 h 97"/>
                <a:gd name="T44" fmla="*/ 48 w 327"/>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7" h="97">
                  <a:moveTo>
                    <a:pt x="48" y="0"/>
                  </a:moveTo>
                  <a:lnTo>
                    <a:pt x="279" y="0"/>
                  </a:lnTo>
                  <a:lnTo>
                    <a:pt x="294" y="2"/>
                  </a:lnTo>
                  <a:lnTo>
                    <a:pt x="307" y="9"/>
                  </a:lnTo>
                  <a:lnTo>
                    <a:pt x="317" y="20"/>
                  </a:lnTo>
                  <a:lnTo>
                    <a:pt x="325" y="33"/>
                  </a:lnTo>
                  <a:lnTo>
                    <a:pt x="327" y="48"/>
                  </a:lnTo>
                  <a:lnTo>
                    <a:pt x="325" y="64"/>
                  </a:lnTo>
                  <a:lnTo>
                    <a:pt x="317" y="77"/>
                  </a:lnTo>
                  <a:lnTo>
                    <a:pt x="307" y="88"/>
                  </a:lnTo>
                  <a:lnTo>
                    <a:pt x="294" y="95"/>
                  </a:lnTo>
                  <a:lnTo>
                    <a:pt x="279" y="97"/>
                  </a:lnTo>
                  <a:lnTo>
                    <a:pt x="48" y="97"/>
                  </a:lnTo>
                  <a:lnTo>
                    <a:pt x="33" y="95"/>
                  </a:lnTo>
                  <a:lnTo>
                    <a:pt x="20" y="88"/>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1191" name="Freeform 349"/>
            <p:cNvSpPr>
              <a:spLocks/>
            </p:cNvSpPr>
            <p:nvPr/>
          </p:nvSpPr>
          <p:spPr bwMode="auto">
            <a:xfrm>
              <a:off x="11117209" y="5814012"/>
              <a:ext cx="50795" cy="14289"/>
            </a:xfrm>
            <a:custGeom>
              <a:avLst/>
              <a:gdLst>
                <a:gd name="T0" fmla="*/ 50 w 326"/>
                <a:gd name="T1" fmla="*/ 0 h 98"/>
                <a:gd name="T2" fmla="*/ 278 w 326"/>
                <a:gd name="T3" fmla="*/ 0 h 98"/>
                <a:gd name="T4" fmla="*/ 293 w 326"/>
                <a:gd name="T5" fmla="*/ 3 h 98"/>
                <a:gd name="T6" fmla="*/ 306 w 326"/>
                <a:gd name="T7" fmla="*/ 9 h 98"/>
                <a:gd name="T8" fmla="*/ 317 w 326"/>
                <a:gd name="T9" fmla="*/ 20 h 98"/>
                <a:gd name="T10" fmla="*/ 324 w 326"/>
                <a:gd name="T11" fmla="*/ 34 h 98"/>
                <a:gd name="T12" fmla="*/ 326 w 326"/>
                <a:gd name="T13" fmla="*/ 49 h 98"/>
                <a:gd name="T14" fmla="*/ 324 w 326"/>
                <a:gd name="T15" fmla="*/ 65 h 98"/>
                <a:gd name="T16" fmla="*/ 317 w 326"/>
                <a:gd name="T17" fmla="*/ 78 h 98"/>
                <a:gd name="T18" fmla="*/ 306 w 326"/>
                <a:gd name="T19" fmla="*/ 89 h 98"/>
                <a:gd name="T20" fmla="*/ 293 w 326"/>
                <a:gd name="T21" fmla="*/ 95 h 98"/>
                <a:gd name="T22" fmla="*/ 278 w 326"/>
                <a:gd name="T23" fmla="*/ 98 h 98"/>
                <a:gd name="T24" fmla="*/ 50 w 326"/>
                <a:gd name="T25" fmla="*/ 98 h 98"/>
                <a:gd name="T26" fmla="*/ 34 w 326"/>
                <a:gd name="T27" fmla="*/ 95 h 98"/>
                <a:gd name="T28" fmla="*/ 20 w 326"/>
                <a:gd name="T29" fmla="*/ 89 h 98"/>
                <a:gd name="T30" fmla="*/ 10 w 326"/>
                <a:gd name="T31" fmla="*/ 78 h 98"/>
                <a:gd name="T32" fmla="*/ 3 w 326"/>
                <a:gd name="T33" fmla="*/ 65 h 98"/>
                <a:gd name="T34" fmla="*/ 0 w 326"/>
                <a:gd name="T35" fmla="*/ 49 h 98"/>
                <a:gd name="T36" fmla="*/ 3 w 326"/>
                <a:gd name="T37" fmla="*/ 34 h 98"/>
                <a:gd name="T38" fmla="*/ 10 w 326"/>
                <a:gd name="T39" fmla="*/ 20 h 98"/>
                <a:gd name="T40" fmla="*/ 20 w 326"/>
                <a:gd name="T41" fmla="*/ 9 h 98"/>
                <a:gd name="T42" fmla="*/ 34 w 326"/>
                <a:gd name="T43" fmla="*/ 3 h 98"/>
                <a:gd name="T44" fmla="*/ 50 w 326"/>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6" h="98">
                  <a:moveTo>
                    <a:pt x="50" y="0"/>
                  </a:moveTo>
                  <a:lnTo>
                    <a:pt x="278" y="0"/>
                  </a:lnTo>
                  <a:lnTo>
                    <a:pt x="293" y="3"/>
                  </a:lnTo>
                  <a:lnTo>
                    <a:pt x="306" y="9"/>
                  </a:lnTo>
                  <a:lnTo>
                    <a:pt x="317" y="20"/>
                  </a:lnTo>
                  <a:lnTo>
                    <a:pt x="324" y="34"/>
                  </a:lnTo>
                  <a:lnTo>
                    <a:pt x="326" y="49"/>
                  </a:lnTo>
                  <a:lnTo>
                    <a:pt x="324" y="65"/>
                  </a:lnTo>
                  <a:lnTo>
                    <a:pt x="317" y="78"/>
                  </a:lnTo>
                  <a:lnTo>
                    <a:pt x="306" y="89"/>
                  </a:lnTo>
                  <a:lnTo>
                    <a:pt x="293" y="95"/>
                  </a:lnTo>
                  <a:lnTo>
                    <a:pt x="278" y="98"/>
                  </a:lnTo>
                  <a:lnTo>
                    <a:pt x="50" y="98"/>
                  </a:lnTo>
                  <a:lnTo>
                    <a:pt x="34" y="95"/>
                  </a:lnTo>
                  <a:lnTo>
                    <a:pt x="20" y="89"/>
                  </a:lnTo>
                  <a:lnTo>
                    <a:pt x="10" y="78"/>
                  </a:lnTo>
                  <a:lnTo>
                    <a:pt x="3" y="65"/>
                  </a:lnTo>
                  <a:lnTo>
                    <a:pt x="0" y="49"/>
                  </a:lnTo>
                  <a:lnTo>
                    <a:pt x="3" y="34"/>
                  </a:lnTo>
                  <a:lnTo>
                    <a:pt x="10" y="20"/>
                  </a:lnTo>
                  <a:lnTo>
                    <a:pt x="20" y="9"/>
                  </a:lnTo>
                  <a:lnTo>
                    <a:pt x="34" y="3"/>
                  </a:lnTo>
                  <a:lnTo>
                    <a:pt x="50" y="0"/>
                  </a:lnTo>
                  <a:close/>
                </a:path>
              </a:pathLst>
            </a:custGeom>
            <a:solidFill>
              <a:schemeClr val="accent5"/>
            </a:solidFill>
            <a:ln>
              <a:noFill/>
            </a:ln>
          </p:spPr>
          <p:txBody>
            <a:bodyPr/>
            <a:lstStyle/>
            <a:p>
              <a:endParaRPr lang="de-DE" dirty="0"/>
            </a:p>
          </p:txBody>
        </p:sp>
        <p:sp>
          <p:nvSpPr>
            <p:cNvPr id="1192" name="Freeform 350"/>
            <p:cNvSpPr>
              <a:spLocks/>
            </p:cNvSpPr>
            <p:nvPr/>
          </p:nvSpPr>
          <p:spPr bwMode="auto">
            <a:xfrm>
              <a:off x="11182290" y="5814012"/>
              <a:ext cx="42858" cy="14289"/>
            </a:xfrm>
            <a:custGeom>
              <a:avLst/>
              <a:gdLst>
                <a:gd name="T0" fmla="*/ 43 w 265"/>
                <a:gd name="T1" fmla="*/ 0 h 87"/>
                <a:gd name="T2" fmla="*/ 222 w 265"/>
                <a:gd name="T3" fmla="*/ 0 h 87"/>
                <a:gd name="T4" fmla="*/ 235 w 265"/>
                <a:gd name="T5" fmla="*/ 2 h 87"/>
                <a:gd name="T6" fmla="*/ 247 w 265"/>
                <a:gd name="T7" fmla="*/ 9 h 87"/>
                <a:gd name="T8" fmla="*/ 257 w 265"/>
                <a:gd name="T9" fmla="*/ 17 h 87"/>
                <a:gd name="T10" fmla="*/ 263 w 265"/>
                <a:gd name="T11" fmla="*/ 30 h 87"/>
                <a:gd name="T12" fmla="*/ 265 w 265"/>
                <a:gd name="T13" fmla="*/ 44 h 87"/>
                <a:gd name="T14" fmla="*/ 263 w 265"/>
                <a:gd name="T15" fmla="*/ 57 h 87"/>
                <a:gd name="T16" fmla="*/ 257 w 265"/>
                <a:gd name="T17" fmla="*/ 69 h 87"/>
                <a:gd name="T18" fmla="*/ 247 w 265"/>
                <a:gd name="T19" fmla="*/ 78 h 87"/>
                <a:gd name="T20" fmla="*/ 235 w 265"/>
                <a:gd name="T21" fmla="*/ 85 h 87"/>
                <a:gd name="T22" fmla="*/ 222 w 265"/>
                <a:gd name="T23" fmla="*/ 87 h 87"/>
                <a:gd name="T24" fmla="*/ 43 w 265"/>
                <a:gd name="T25" fmla="*/ 87 h 87"/>
                <a:gd name="T26" fmla="*/ 29 w 265"/>
                <a:gd name="T27" fmla="*/ 85 h 87"/>
                <a:gd name="T28" fmla="*/ 17 w 265"/>
                <a:gd name="T29" fmla="*/ 78 h 87"/>
                <a:gd name="T30" fmla="*/ 8 w 265"/>
                <a:gd name="T31" fmla="*/ 69 h 87"/>
                <a:gd name="T32" fmla="*/ 2 w 265"/>
                <a:gd name="T33" fmla="*/ 57 h 87"/>
                <a:gd name="T34" fmla="*/ 0 w 265"/>
                <a:gd name="T35" fmla="*/ 44 h 87"/>
                <a:gd name="T36" fmla="*/ 2 w 265"/>
                <a:gd name="T37" fmla="*/ 30 h 87"/>
                <a:gd name="T38" fmla="*/ 8 w 265"/>
                <a:gd name="T39" fmla="*/ 17 h 87"/>
                <a:gd name="T40" fmla="*/ 17 w 265"/>
                <a:gd name="T41" fmla="*/ 9 h 87"/>
                <a:gd name="T42" fmla="*/ 29 w 265"/>
                <a:gd name="T43" fmla="*/ 2 h 87"/>
                <a:gd name="T44" fmla="*/ 43 w 265"/>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5" h="87">
                  <a:moveTo>
                    <a:pt x="43" y="0"/>
                  </a:moveTo>
                  <a:lnTo>
                    <a:pt x="222" y="0"/>
                  </a:lnTo>
                  <a:lnTo>
                    <a:pt x="235" y="2"/>
                  </a:lnTo>
                  <a:lnTo>
                    <a:pt x="247" y="9"/>
                  </a:lnTo>
                  <a:lnTo>
                    <a:pt x="257" y="17"/>
                  </a:lnTo>
                  <a:lnTo>
                    <a:pt x="263" y="30"/>
                  </a:lnTo>
                  <a:lnTo>
                    <a:pt x="265" y="44"/>
                  </a:lnTo>
                  <a:lnTo>
                    <a:pt x="263" y="57"/>
                  </a:lnTo>
                  <a:lnTo>
                    <a:pt x="257" y="69"/>
                  </a:lnTo>
                  <a:lnTo>
                    <a:pt x="247" y="78"/>
                  </a:lnTo>
                  <a:lnTo>
                    <a:pt x="235" y="85"/>
                  </a:lnTo>
                  <a:lnTo>
                    <a:pt x="222" y="87"/>
                  </a:lnTo>
                  <a:lnTo>
                    <a:pt x="43" y="87"/>
                  </a:lnTo>
                  <a:lnTo>
                    <a:pt x="29" y="85"/>
                  </a:lnTo>
                  <a:lnTo>
                    <a:pt x="17" y="78"/>
                  </a:lnTo>
                  <a:lnTo>
                    <a:pt x="8" y="69"/>
                  </a:lnTo>
                  <a:lnTo>
                    <a:pt x="2" y="57"/>
                  </a:lnTo>
                  <a:lnTo>
                    <a:pt x="0" y="44"/>
                  </a:lnTo>
                  <a:lnTo>
                    <a:pt x="2" y="30"/>
                  </a:lnTo>
                  <a:lnTo>
                    <a:pt x="8" y="17"/>
                  </a:lnTo>
                  <a:lnTo>
                    <a:pt x="17" y="9"/>
                  </a:lnTo>
                  <a:lnTo>
                    <a:pt x="29" y="2"/>
                  </a:lnTo>
                  <a:lnTo>
                    <a:pt x="43" y="0"/>
                  </a:lnTo>
                  <a:close/>
                </a:path>
              </a:pathLst>
            </a:custGeom>
            <a:solidFill>
              <a:schemeClr val="accent5"/>
            </a:solidFill>
            <a:ln>
              <a:noFill/>
            </a:ln>
          </p:spPr>
          <p:txBody>
            <a:bodyPr/>
            <a:lstStyle/>
            <a:p>
              <a:endParaRPr lang="de-DE" dirty="0"/>
            </a:p>
          </p:txBody>
        </p:sp>
        <p:sp>
          <p:nvSpPr>
            <p:cNvPr id="1193" name="Freeform 351"/>
            <p:cNvSpPr>
              <a:spLocks/>
            </p:cNvSpPr>
            <p:nvPr/>
          </p:nvSpPr>
          <p:spPr bwMode="auto">
            <a:xfrm>
              <a:off x="11253720" y="5810837"/>
              <a:ext cx="55557" cy="15877"/>
            </a:xfrm>
            <a:custGeom>
              <a:avLst/>
              <a:gdLst>
                <a:gd name="T0" fmla="*/ 51 w 350"/>
                <a:gd name="T1" fmla="*/ 0 h 101"/>
                <a:gd name="T2" fmla="*/ 300 w 350"/>
                <a:gd name="T3" fmla="*/ 0 h 101"/>
                <a:gd name="T4" fmla="*/ 315 w 350"/>
                <a:gd name="T5" fmla="*/ 2 h 101"/>
                <a:gd name="T6" fmla="*/ 329 w 350"/>
                <a:gd name="T7" fmla="*/ 10 h 101"/>
                <a:gd name="T8" fmla="*/ 340 w 350"/>
                <a:gd name="T9" fmla="*/ 21 h 101"/>
                <a:gd name="T10" fmla="*/ 348 w 350"/>
                <a:gd name="T11" fmla="*/ 34 h 101"/>
                <a:gd name="T12" fmla="*/ 350 w 350"/>
                <a:gd name="T13" fmla="*/ 50 h 101"/>
                <a:gd name="T14" fmla="*/ 348 w 350"/>
                <a:gd name="T15" fmla="*/ 66 h 101"/>
                <a:gd name="T16" fmla="*/ 340 w 350"/>
                <a:gd name="T17" fmla="*/ 80 h 101"/>
                <a:gd name="T18" fmla="*/ 329 w 350"/>
                <a:gd name="T19" fmla="*/ 91 h 101"/>
                <a:gd name="T20" fmla="*/ 315 w 350"/>
                <a:gd name="T21" fmla="*/ 99 h 101"/>
                <a:gd name="T22" fmla="*/ 300 w 350"/>
                <a:gd name="T23" fmla="*/ 101 h 101"/>
                <a:gd name="T24" fmla="*/ 51 w 350"/>
                <a:gd name="T25" fmla="*/ 101 h 101"/>
                <a:gd name="T26" fmla="*/ 34 w 350"/>
                <a:gd name="T27" fmla="*/ 99 h 101"/>
                <a:gd name="T28" fmla="*/ 21 w 350"/>
                <a:gd name="T29" fmla="*/ 91 h 101"/>
                <a:gd name="T30" fmla="*/ 10 w 350"/>
                <a:gd name="T31" fmla="*/ 80 h 101"/>
                <a:gd name="T32" fmla="*/ 2 w 350"/>
                <a:gd name="T33" fmla="*/ 66 h 101"/>
                <a:gd name="T34" fmla="*/ 0 w 350"/>
                <a:gd name="T35" fmla="*/ 50 h 101"/>
                <a:gd name="T36" fmla="*/ 2 w 350"/>
                <a:gd name="T37" fmla="*/ 34 h 101"/>
                <a:gd name="T38" fmla="*/ 10 w 350"/>
                <a:gd name="T39" fmla="*/ 21 h 101"/>
                <a:gd name="T40" fmla="*/ 21 w 350"/>
                <a:gd name="T41" fmla="*/ 10 h 101"/>
                <a:gd name="T42" fmla="*/ 34 w 350"/>
                <a:gd name="T43" fmla="*/ 2 h 101"/>
                <a:gd name="T44" fmla="*/ 51 w 350"/>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0" h="101">
                  <a:moveTo>
                    <a:pt x="51" y="0"/>
                  </a:moveTo>
                  <a:lnTo>
                    <a:pt x="300" y="0"/>
                  </a:lnTo>
                  <a:lnTo>
                    <a:pt x="315" y="2"/>
                  </a:lnTo>
                  <a:lnTo>
                    <a:pt x="329" y="10"/>
                  </a:lnTo>
                  <a:lnTo>
                    <a:pt x="340" y="21"/>
                  </a:lnTo>
                  <a:lnTo>
                    <a:pt x="348" y="34"/>
                  </a:lnTo>
                  <a:lnTo>
                    <a:pt x="350" y="50"/>
                  </a:lnTo>
                  <a:lnTo>
                    <a:pt x="348" y="66"/>
                  </a:lnTo>
                  <a:lnTo>
                    <a:pt x="340" y="80"/>
                  </a:lnTo>
                  <a:lnTo>
                    <a:pt x="329" y="91"/>
                  </a:lnTo>
                  <a:lnTo>
                    <a:pt x="315" y="99"/>
                  </a:lnTo>
                  <a:lnTo>
                    <a:pt x="300" y="101"/>
                  </a:lnTo>
                  <a:lnTo>
                    <a:pt x="51" y="101"/>
                  </a:lnTo>
                  <a:lnTo>
                    <a:pt x="34" y="99"/>
                  </a:lnTo>
                  <a:lnTo>
                    <a:pt x="21" y="91"/>
                  </a:lnTo>
                  <a:lnTo>
                    <a:pt x="10" y="80"/>
                  </a:lnTo>
                  <a:lnTo>
                    <a:pt x="2" y="66"/>
                  </a:lnTo>
                  <a:lnTo>
                    <a:pt x="0" y="50"/>
                  </a:lnTo>
                  <a:lnTo>
                    <a:pt x="2"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1194" name="Freeform 352"/>
            <p:cNvSpPr>
              <a:spLocks/>
            </p:cNvSpPr>
            <p:nvPr/>
          </p:nvSpPr>
          <p:spPr bwMode="auto">
            <a:xfrm>
              <a:off x="11329913" y="5812424"/>
              <a:ext cx="41271" cy="12701"/>
            </a:xfrm>
            <a:custGeom>
              <a:avLst/>
              <a:gdLst>
                <a:gd name="T0" fmla="*/ 43 w 259"/>
                <a:gd name="T1" fmla="*/ 0 h 85"/>
                <a:gd name="T2" fmla="*/ 217 w 259"/>
                <a:gd name="T3" fmla="*/ 0 h 85"/>
                <a:gd name="T4" fmla="*/ 234 w 259"/>
                <a:gd name="T5" fmla="*/ 3 h 85"/>
                <a:gd name="T6" fmla="*/ 247 w 259"/>
                <a:gd name="T7" fmla="*/ 12 h 85"/>
                <a:gd name="T8" fmla="*/ 256 w 259"/>
                <a:gd name="T9" fmla="*/ 25 h 85"/>
                <a:gd name="T10" fmla="*/ 259 w 259"/>
                <a:gd name="T11" fmla="*/ 41 h 85"/>
                <a:gd name="T12" fmla="*/ 256 w 259"/>
                <a:gd name="T13" fmla="*/ 58 h 85"/>
                <a:gd name="T14" fmla="*/ 247 w 259"/>
                <a:gd name="T15" fmla="*/ 72 h 85"/>
                <a:gd name="T16" fmla="*/ 234 w 259"/>
                <a:gd name="T17" fmla="*/ 81 h 85"/>
                <a:gd name="T18" fmla="*/ 217 w 259"/>
                <a:gd name="T19" fmla="*/ 85 h 85"/>
                <a:gd name="T20" fmla="*/ 43 w 259"/>
                <a:gd name="T21" fmla="*/ 85 h 85"/>
                <a:gd name="T22" fmla="*/ 29 w 259"/>
                <a:gd name="T23" fmla="*/ 82 h 85"/>
                <a:gd name="T24" fmla="*/ 18 w 259"/>
                <a:gd name="T25" fmla="*/ 76 h 85"/>
                <a:gd name="T26" fmla="*/ 8 w 259"/>
                <a:gd name="T27" fmla="*/ 67 h 85"/>
                <a:gd name="T28" fmla="*/ 2 w 259"/>
                <a:gd name="T29" fmla="*/ 55 h 85"/>
                <a:gd name="T30" fmla="*/ 0 w 259"/>
                <a:gd name="T31" fmla="*/ 41 h 85"/>
                <a:gd name="T32" fmla="*/ 2 w 259"/>
                <a:gd name="T33" fmla="*/ 28 h 85"/>
                <a:gd name="T34" fmla="*/ 8 w 259"/>
                <a:gd name="T35" fmla="*/ 16 h 85"/>
                <a:gd name="T36" fmla="*/ 18 w 259"/>
                <a:gd name="T37" fmla="*/ 7 h 85"/>
                <a:gd name="T38" fmla="*/ 29 w 259"/>
                <a:gd name="T39" fmla="*/ 2 h 85"/>
                <a:gd name="T40" fmla="*/ 43 w 259"/>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85">
                  <a:moveTo>
                    <a:pt x="43" y="0"/>
                  </a:moveTo>
                  <a:lnTo>
                    <a:pt x="217" y="0"/>
                  </a:lnTo>
                  <a:lnTo>
                    <a:pt x="234" y="3"/>
                  </a:lnTo>
                  <a:lnTo>
                    <a:pt x="247" y="12"/>
                  </a:lnTo>
                  <a:lnTo>
                    <a:pt x="256" y="25"/>
                  </a:lnTo>
                  <a:lnTo>
                    <a:pt x="259" y="41"/>
                  </a:lnTo>
                  <a:lnTo>
                    <a:pt x="256" y="58"/>
                  </a:lnTo>
                  <a:lnTo>
                    <a:pt x="247" y="72"/>
                  </a:lnTo>
                  <a:lnTo>
                    <a:pt x="234" y="81"/>
                  </a:lnTo>
                  <a:lnTo>
                    <a:pt x="217" y="85"/>
                  </a:lnTo>
                  <a:lnTo>
                    <a:pt x="43" y="85"/>
                  </a:lnTo>
                  <a:lnTo>
                    <a:pt x="29" y="82"/>
                  </a:lnTo>
                  <a:lnTo>
                    <a:pt x="18" y="76"/>
                  </a:lnTo>
                  <a:lnTo>
                    <a:pt x="8" y="67"/>
                  </a:lnTo>
                  <a:lnTo>
                    <a:pt x="2" y="55"/>
                  </a:lnTo>
                  <a:lnTo>
                    <a:pt x="0" y="41"/>
                  </a:lnTo>
                  <a:lnTo>
                    <a:pt x="2" y="28"/>
                  </a:lnTo>
                  <a:lnTo>
                    <a:pt x="8" y="16"/>
                  </a:lnTo>
                  <a:lnTo>
                    <a:pt x="18" y="7"/>
                  </a:lnTo>
                  <a:lnTo>
                    <a:pt x="29" y="2"/>
                  </a:lnTo>
                  <a:lnTo>
                    <a:pt x="43" y="0"/>
                  </a:lnTo>
                  <a:close/>
                </a:path>
              </a:pathLst>
            </a:custGeom>
            <a:solidFill>
              <a:schemeClr val="accent5"/>
            </a:solidFill>
            <a:ln>
              <a:noFill/>
            </a:ln>
          </p:spPr>
          <p:txBody>
            <a:bodyPr/>
            <a:lstStyle/>
            <a:p>
              <a:endParaRPr lang="de-DE" dirty="0"/>
            </a:p>
          </p:txBody>
        </p:sp>
        <p:sp>
          <p:nvSpPr>
            <p:cNvPr id="1195" name="Freeform 353"/>
            <p:cNvSpPr>
              <a:spLocks/>
            </p:cNvSpPr>
            <p:nvPr/>
          </p:nvSpPr>
          <p:spPr bwMode="auto">
            <a:xfrm>
              <a:off x="11388644" y="5810837"/>
              <a:ext cx="57144" cy="15877"/>
            </a:xfrm>
            <a:custGeom>
              <a:avLst/>
              <a:gdLst>
                <a:gd name="T0" fmla="*/ 52 w 359"/>
                <a:gd name="T1" fmla="*/ 0 h 103"/>
                <a:gd name="T2" fmla="*/ 307 w 359"/>
                <a:gd name="T3" fmla="*/ 0 h 103"/>
                <a:gd name="T4" fmla="*/ 324 w 359"/>
                <a:gd name="T5" fmla="*/ 3 h 103"/>
                <a:gd name="T6" fmla="*/ 338 w 359"/>
                <a:gd name="T7" fmla="*/ 10 h 103"/>
                <a:gd name="T8" fmla="*/ 349 w 359"/>
                <a:gd name="T9" fmla="*/ 22 h 103"/>
                <a:gd name="T10" fmla="*/ 356 w 359"/>
                <a:gd name="T11" fmla="*/ 35 h 103"/>
                <a:gd name="T12" fmla="*/ 359 w 359"/>
                <a:gd name="T13" fmla="*/ 51 h 103"/>
                <a:gd name="T14" fmla="*/ 356 w 359"/>
                <a:gd name="T15" fmla="*/ 68 h 103"/>
                <a:gd name="T16" fmla="*/ 349 w 359"/>
                <a:gd name="T17" fmla="*/ 82 h 103"/>
                <a:gd name="T18" fmla="*/ 338 w 359"/>
                <a:gd name="T19" fmla="*/ 93 h 103"/>
                <a:gd name="T20" fmla="*/ 324 w 359"/>
                <a:gd name="T21" fmla="*/ 100 h 103"/>
                <a:gd name="T22" fmla="*/ 307 w 359"/>
                <a:gd name="T23" fmla="*/ 103 h 103"/>
                <a:gd name="T24" fmla="*/ 52 w 359"/>
                <a:gd name="T25" fmla="*/ 103 h 103"/>
                <a:gd name="T26" fmla="*/ 35 w 359"/>
                <a:gd name="T27" fmla="*/ 100 h 103"/>
                <a:gd name="T28" fmla="*/ 21 w 359"/>
                <a:gd name="T29" fmla="*/ 93 h 103"/>
                <a:gd name="T30" fmla="*/ 10 w 359"/>
                <a:gd name="T31" fmla="*/ 82 h 103"/>
                <a:gd name="T32" fmla="*/ 3 w 359"/>
                <a:gd name="T33" fmla="*/ 68 h 103"/>
                <a:gd name="T34" fmla="*/ 0 w 359"/>
                <a:gd name="T35" fmla="*/ 51 h 103"/>
                <a:gd name="T36" fmla="*/ 3 w 359"/>
                <a:gd name="T37" fmla="*/ 35 h 103"/>
                <a:gd name="T38" fmla="*/ 10 w 359"/>
                <a:gd name="T39" fmla="*/ 22 h 103"/>
                <a:gd name="T40" fmla="*/ 21 w 359"/>
                <a:gd name="T41" fmla="*/ 10 h 103"/>
                <a:gd name="T42" fmla="*/ 35 w 359"/>
                <a:gd name="T43" fmla="*/ 3 h 103"/>
                <a:gd name="T44" fmla="*/ 52 w 359"/>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9" h="103">
                  <a:moveTo>
                    <a:pt x="52" y="0"/>
                  </a:moveTo>
                  <a:lnTo>
                    <a:pt x="307" y="0"/>
                  </a:lnTo>
                  <a:lnTo>
                    <a:pt x="324" y="3"/>
                  </a:lnTo>
                  <a:lnTo>
                    <a:pt x="338" y="10"/>
                  </a:lnTo>
                  <a:lnTo>
                    <a:pt x="349" y="22"/>
                  </a:lnTo>
                  <a:lnTo>
                    <a:pt x="356" y="35"/>
                  </a:lnTo>
                  <a:lnTo>
                    <a:pt x="359" y="51"/>
                  </a:lnTo>
                  <a:lnTo>
                    <a:pt x="356" y="68"/>
                  </a:lnTo>
                  <a:lnTo>
                    <a:pt x="349" y="82"/>
                  </a:lnTo>
                  <a:lnTo>
                    <a:pt x="338" y="93"/>
                  </a:lnTo>
                  <a:lnTo>
                    <a:pt x="324" y="100"/>
                  </a:lnTo>
                  <a:lnTo>
                    <a:pt x="307" y="103"/>
                  </a:lnTo>
                  <a:lnTo>
                    <a:pt x="52" y="103"/>
                  </a:lnTo>
                  <a:lnTo>
                    <a:pt x="35" y="100"/>
                  </a:lnTo>
                  <a:lnTo>
                    <a:pt x="21" y="93"/>
                  </a:lnTo>
                  <a:lnTo>
                    <a:pt x="10" y="82"/>
                  </a:lnTo>
                  <a:lnTo>
                    <a:pt x="3" y="68"/>
                  </a:lnTo>
                  <a:lnTo>
                    <a:pt x="0" y="51"/>
                  </a:lnTo>
                  <a:lnTo>
                    <a:pt x="3" y="35"/>
                  </a:lnTo>
                  <a:lnTo>
                    <a:pt x="10" y="22"/>
                  </a:lnTo>
                  <a:lnTo>
                    <a:pt x="21" y="10"/>
                  </a:lnTo>
                  <a:lnTo>
                    <a:pt x="35" y="3"/>
                  </a:lnTo>
                  <a:lnTo>
                    <a:pt x="52" y="0"/>
                  </a:lnTo>
                  <a:close/>
                </a:path>
              </a:pathLst>
            </a:custGeom>
            <a:solidFill>
              <a:schemeClr val="accent5"/>
            </a:solidFill>
            <a:ln>
              <a:noFill/>
            </a:ln>
          </p:spPr>
          <p:txBody>
            <a:bodyPr/>
            <a:lstStyle/>
            <a:p>
              <a:endParaRPr lang="de-DE" dirty="0"/>
            </a:p>
          </p:txBody>
        </p:sp>
        <p:sp>
          <p:nvSpPr>
            <p:cNvPr id="1196" name="Freeform 354"/>
            <p:cNvSpPr>
              <a:spLocks/>
            </p:cNvSpPr>
            <p:nvPr/>
          </p:nvSpPr>
          <p:spPr bwMode="auto">
            <a:xfrm>
              <a:off x="10974348" y="5864818"/>
              <a:ext cx="49208" cy="14289"/>
            </a:xfrm>
            <a:custGeom>
              <a:avLst/>
              <a:gdLst>
                <a:gd name="T0" fmla="*/ 47 w 312"/>
                <a:gd name="T1" fmla="*/ 0 h 95"/>
                <a:gd name="T2" fmla="*/ 264 w 312"/>
                <a:gd name="T3" fmla="*/ 0 h 95"/>
                <a:gd name="T4" fmla="*/ 280 w 312"/>
                <a:gd name="T5" fmla="*/ 2 h 95"/>
                <a:gd name="T6" fmla="*/ 293 w 312"/>
                <a:gd name="T7" fmla="*/ 8 h 95"/>
                <a:gd name="T8" fmla="*/ 303 w 312"/>
                <a:gd name="T9" fmla="*/ 20 h 95"/>
                <a:gd name="T10" fmla="*/ 310 w 312"/>
                <a:gd name="T11" fmla="*/ 32 h 95"/>
                <a:gd name="T12" fmla="*/ 312 w 312"/>
                <a:gd name="T13" fmla="*/ 47 h 95"/>
                <a:gd name="T14" fmla="*/ 310 w 312"/>
                <a:gd name="T15" fmla="*/ 63 h 95"/>
                <a:gd name="T16" fmla="*/ 303 w 312"/>
                <a:gd name="T17" fmla="*/ 76 h 95"/>
                <a:gd name="T18" fmla="*/ 293 w 312"/>
                <a:gd name="T19" fmla="*/ 86 h 95"/>
                <a:gd name="T20" fmla="*/ 280 w 312"/>
                <a:gd name="T21" fmla="*/ 92 h 95"/>
                <a:gd name="T22" fmla="*/ 264 w 312"/>
                <a:gd name="T23" fmla="*/ 95 h 95"/>
                <a:gd name="T24" fmla="*/ 47 w 312"/>
                <a:gd name="T25" fmla="*/ 95 h 95"/>
                <a:gd name="T26" fmla="*/ 32 w 312"/>
                <a:gd name="T27" fmla="*/ 92 h 95"/>
                <a:gd name="T28" fmla="*/ 19 w 312"/>
                <a:gd name="T29" fmla="*/ 86 h 95"/>
                <a:gd name="T30" fmla="*/ 9 w 312"/>
                <a:gd name="T31" fmla="*/ 76 h 95"/>
                <a:gd name="T32" fmla="*/ 2 w 312"/>
                <a:gd name="T33" fmla="*/ 63 h 95"/>
                <a:gd name="T34" fmla="*/ 0 w 312"/>
                <a:gd name="T35" fmla="*/ 47 h 95"/>
                <a:gd name="T36" fmla="*/ 2 w 312"/>
                <a:gd name="T37" fmla="*/ 32 h 95"/>
                <a:gd name="T38" fmla="*/ 9 w 312"/>
                <a:gd name="T39" fmla="*/ 20 h 95"/>
                <a:gd name="T40" fmla="*/ 19 w 312"/>
                <a:gd name="T41" fmla="*/ 8 h 95"/>
                <a:gd name="T42" fmla="*/ 32 w 312"/>
                <a:gd name="T43" fmla="*/ 2 h 95"/>
                <a:gd name="T44" fmla="*/ 47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7" y="0"/>
                  </a:moveTo>
                  <a:lnTo>
                    <a:pt x="264" y="0"/>
                  </a:lnTo>
                  <a:lnTo>
                    <a:pt x="280" y="2"/>
                  </a:lnTo>
                  <a:lnTo>
                    <a:pt x="293" y="8"/>
                  </a:lnTo>
                  <a:lnTo>
                    <a:pt x="303" y="20"/>
                  </a:lnTo>
                  <a:lnTo>
                    <a:pt x="310" y="32"/>
                  </a:lnTo>
                  <a:lnTo>
                    <a:pt x="312" y="47"/>
                  </a:lnTo>
                  <a:lnTo>
                    <a:pt x="310" y="63"/>
                  </a:lnTo>
                  <a:lnTo>
                    <a:pt x="303" y="76"/>
                  </a:lnTo>
                  <a:lnTo>
                    <a:pt x="293" y="86"/>
                  </a:lnTo>
                  <a:lnTo>
                    <a:pt x="280" y="92"/>
                  </a:lnTo>
                  <a:lnTo>
                    <a:pt x="264" y="95"/>
                  </a:lnTo>
                  <a:lnTo>
                    <a:pt x="47" y="95"/>
                  </a:lnTo>
                  <a:lnTo>
                    <a:pt x="32" y="92"/>
                  </a:lnTo>
                  <a:lnTo>
                    <a:pt x="19" y="86"/>
                  </a:lnTo>
                  <a:lnTo>
                    <a:pt x="9" y="76"/>
                  </a:lnTo>
                  <a:lnTo>
                    <a:pt x="2" y="63"/>
                  </a:lnTo>
                  <a:lnTo>
                    <a:pt x="0" y="47"/>
                  </a:lnTo>
                  <a:lnTo>
                    <a:pt x="2" y="32"/>
                  </a:lnTo>
                  <a:lnTo>
                    <a:pt x="9" y="20"/>
                  </a:lnTo>
                  <a:lnTo>
                    <a:pt x="19" y="8"/>
                  </a:lnTo>
                  <a:lnTo>
                    <a:pt x="32" y="2"/>
                  </a:lnTo>
                  <a:lnTo>
                    <a:pt x="47" y="0"/>
                  </a:lnTo>
                  <a:close/>
                </a:path>
              </a:pathLst>
            </a:custGeom>
            <a:solidFill>
              <a:schemeClr val="accent5"/>
            </a:solidFill>
            <a:ln>
              <a:noFill/>
            </a:ln>
          </p:spPr>
          <p:txBody>
            <a:bodyPr/>
            <a:lstStyle/>
            <a:p>
              <a:endParaRPr lang="de-DE" dirty="0"/>
            </a:p>
          </p:txBody>
        </p:sp>
        <p:sp>
          <p:nvSpPr>
            <p:cNvPr id="1197" name="Freeform 355"/>
            <p:cNvSpPr>
              <a:spLocks/>
            </p:cNvSpPr>
            <p:nvPr/>
          </p:nvSpPr>
          <p:spPr bwMode="auto">
            <a:xfrm>
              <a:off x="11052128" y="5867993"/>
              <a:ext cx="47620" cy="14289"/>
            </a:xfrm>
            <a:custGeom>
              <a:avLst/>
              <a:gdLst>
                <a:gd name="T0" fmla="*/ 46 w 301"/>
                <a:gd name="T1" fmla="*/ 0 h 94"/>
                <a:gd name="T2" fmla="*/ 254 w 301"/>
                <a:gd name="T3" fmla="*/ 0 h 94"/>
                <a:gd name="T4" fmla="*/ 269 w 301"/>
                <a:gd name="T5" fmla="*/ 3 h 94"/>
                <a:gd name="T6" fmla="*/ 282 w 301"/>
                <a:gd name="T7" fmla="*/ 9 h 94"/>
                <a:gd name="T8" fmla="*/ 292 w 301"/>
                <a:gd name="T9" fmla="*/ 20 h 94"/>
                <a:gd name="T10" fmla="*/ 298 w 301"/>
                <a:gd name="T11" fmla="*/ 32 h 94"/>
                <a:gd name="T12" fmla="*/ 301 w 301"/>
                <a:gd name="T13" fmla="*/ 47 h 94"/>
                <a:gd name="T14" fmla="*/ 298 w 301"/>
                <a:gd name="T15" fmla="*/ 62 h 94"/>
                <a:gd name="T16" fmla="*/ 292 w 301"/>
                <a:gd name="T17" fmla="*/ 74 h 94"/>
                <a:gd name="T18" fmla="*/ 282 w 301"/>
                <a:gd name="T19" fmla="*/ 84 h 94"/>
                <a:gd name="T20" fmla="*/ 269 w 301"/>
                <a:gd name="T21" fmla="*/ 91 h 94"/>
                <a:gd name="T22" fmla="*/ 254 w 301"/>
                <a:gd name="T23" fmla="*/ 94 h 94"/>
                <a:gd name="T24" fmla="*/ 46 w 301"/>
                <a:gd name="T25" fmla="*/ 94 h 94"/>
                <a:gd name="T26" fmla="*/ 32 w 301"/>
                <a:gd name="T27" fmla="*/ 91 h 94"/>
                <a:gd name="T28" fmla="*/ 18 w 301"/>
                <a:gd name="T29" fmla="*/ 84 h 94"/>
                <a:gd name="T30" fmla="*/ 8 w 301"/>
                <a:gd name="T31" fmla="*/ 74 h 94"/>
                <a:gd name="T32" fmla="*/ 2 w 301"/>
                <a:gd name="T33" fmla="*/ 62 h 94"/>
                <a:gd name="T34" fmla="*/ 0 w 301"/>
                <a:gd name="T35" fmla="*/ 47 h 94"/>
                <a:gd name="T36" fmla="*/ 2 w 301"/>
                <a:gd name="T37" fmla="*/ 32 h 94"/>
                <a:gd name="T38" fmla="*/ 8 w 301"/>
                <a:gd name="T39" fmla="*/ 20 h 94"/>
                <a:gd name="T40" fmla="*/ 18 w 301"/>
                <a:gd name="T41" fmla="*/ 9 h 94"/>
                <a:gd name="T42" fmla="*/ 32 w 301"/>
                <a:gd name="T43" fmla="*/ 3 h 94"/>
                <a:gd name="T44" fmla="*/ 46 w 301"/>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1" h="94">
                  <a:moveTo>
                    <a:pt x="46" y="0"/>
                  </a:moveTo>
                  <a:lnTo>
                    <a:pt x="254" y="0"/>
                  </a:lnTo>
                  <a:lnTo>
                    <a:pt x="269" y="3"/>
                  </a:lnTo>
                  <a:lnTo>
                    <a:pt x="282" y="9"/>
                  </a:lnTo>
                  <a:lnTo>
                    <a:pt x="292" y="20"/>
                  </a:lnTo>
                  <a:lnTo>
                    <a:pt x="298" y="32"/>
                  </a:lnTo>
                  <a:lnTo>
                    <a:pt x="301" y="47"/>
                  </a:lnTo>
                  <a:lnTo>
                    <a:pt x="298" y="62"/>
                  </a:lnTo>
                  <a:lnTo>
                    <a:pt x="292" y="74"/>
                  </a:lnTo>
                  <a:lnTo>
                    <a:pt x="282" y="84"/>
                  </a:lnTo>
                  <a:lnTo>
                    <a:pt x="269" y="91"/>
                  </a:lnTo>
                  <a:lnTo>
                    <a:pt x="254" y="94"/>
                  </a:lnTo>
                  <a:lnTo>
                    <a:pt x="46" y="94"/>
                  </a:lnTo>
                  <a:lnTo>
                    <a:pt x="32" y="91"/>
                  </a:lnTo>
                  <a:lnTo>
                    <a:pt x="18" y="84"/>
                  </a:lnTo>
                  <a:lnTo>
                    <a:pt x="8" y="74"/>
                  </a:lnTo>
                  <a:lnTo>
                    <a:pt x="2" y="62"/>
                  </a:lnTo>
                  <a:lnTo>
                    <a:pt x="0" y="47"/>
                  </a:lnTo>
                  <a:lnTo>
                    <a:pt x="2" y="32"/>
                  </a:lnTo>
                  <a:lnTo>
                    <a:pt x="8" y="20"/>
                  </a:lnTo>
                  <a:lnTo>
                    <a:pt x="18" y="9"/>
                  </a:lnTo>
                  <a:lnTo>
                    <a:pt x="32" y="3"/>
                  </a:lnTo>
                  <a:lnTo>
                    <a:pt x="46" y="0"/>
                  </a:lnTo>
                  <a:close/>
                </a:path>
              </a:pathLst>
            </a:custGeom>
            <a:solidFill>
              <a:schemeClr val="accent5"/>
            </a:solidFill>
            <a:ln>
              <a:noFill/>
            </a:ln>
          </p:spPr>
          <p:txBody>
            <a:bodyPr/>
            <a:lstStyle/>
            <a:p>
              <a:endParaRPr lang="de-DE" dirty="0"/>
            </a:p>
          </p:txBody>
        </p:sp>
        <p:sp>
          <p:nvSpPr>
            <p:cNvPr id="1198" name="Freeform 356"/>
            <p:cNvSpPr>
              <a:spLocks/>
            </p:cNvSpPr>
            <p:nvPr/>
          </p:nvSpPr>
          <p:spPr bwMode="auto">
            <a:xfrm>
              <a:off x="11120383" y="5866405"/>
              <a:ext cx="41271" cy="12701"/>
            </a:xfrm>
            <a:custGeom>
              <a:avLst/>
              <a:gdLst>
                <a:gd name="T0" fmla="*/ 42 w 252"/>
                <a:gd name="T1" fmla="*/ 0 h 84"/>
                <a:gd name="T2" fmla="*/ 210 w 252"/>
                <a:gd name="T3" fmla="*/ 0 h 84"/>
                <a:gd name="T4" fmla="*/ 226 w 252"/>
                <a:gd name="T5" fmla="*/ 3 h 84"/>
                <a:gd name="T6" fmla="*/ 240 w 252"/>
                <a:gd name="T7" fmla="*/ 12 h 84"/>
                <a:gd name="T8" fmla="*/ 249 w 252"/>
                <a:gd name="T9" fmla="*/ 25 h 84"/>
                <a:gd name="T10" fmla="*/ 252 w 252"/>
                <a:gd name="T11" fmla="*/ 42 h 84"/>
                <a:gd name="T12" fmla="*/ 249 w 252"/>
                <a:gd name="T13" fmla="*/ 57 h 84"/>
                <a:gd name="T14" fmla="*/ 240 w 252"/>
                <a:gd name="T15" fmla="*/ 71 h 84"/>
                <a:gd name="T16" fmla="*/ 226 w 252"/>
                <a:gd name="T17" fmla="*/ 81 h 84"/>
                <a:gd name="T18" fmla="*/ 210 w 252"/>
                <a:gd name="T19" fmla="*/ 84 h 84"/>
                <a:gd name="T20" fmla="*/ 42 w 252"/>
                <a:gd name="T21" fmla="*/ 84 h 84"/>
                <a:gd name="T22" fmla="*/ 25 w 252"/>
                <a:gd name="T23" fmla="*/ 81 h 84"/>
                <a:gd name="T24" fmla="*/ 12 w 252"/>
                <a:gd name="T25" fmla="*/ 71 h 84"/>
                <a:gd name="T26" fmla="*/ 3 w 252"/>
                <a:gd name="T27" fmla="*/ 57 h 84"/>
                <a:gd name="T28" fmla="*/ 0 w 252"/>
                <a:gd name="T29" fmla="*/ 42 h 84"/>
                <a:gd name="T30" fmla="*/ 3 w 252"/>
                <a:gd name="T31" fmla="*/ 25 h 84"/>
                <a:gd name="T32" fmla="*/ 12 w 252"/>
                <a:gd name="T33" fmla="*/ 12 h 84"/>
                <a:gd name="T34" fmla="*/ 25 w 252"/>
                <a:gd name="T35" fmla="*/ 3 h 84"/>
                <a:gd name="T36" fmla="*/ 42 w 252"/>
                <a:gd name="T3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84">
                  <a:moveTo>
                    <a:pt x="42" y="0"/>
                  </a:moveTo>
                  <a:lnTo>
                    <a:pt x="210" y="0"/>
                  </a:lnTo>
                  <a:lnTo>
                    <a:pt x="226" y="3"/>
                  </a:lnTo>
                  <a:lnTo>
                    <a:pt x="240" y="12"/>
                  </a:lnTo>
                  <a:lnTo>
                    <a:pt x="249" y="25"/>
                  </a:lnTo>
                  <a:lnTo>
                    <a:pt x="252" y="42"/>
                  </a:lnTo>
                  <a:lnTo>
                    <a:pt x="249" y="57"/>
                  </a:lnTo>
                  <a:lnTo>
                    <a:pt x="240" y="71"/>
                  </a:lnTo>
                  <a:lnTo>
                    <a:pt x="226" y="81"/>
                  </a:lnTo>
                  <a:lnTo>
                    <a:pt x="210" y="84"/>
                  </a:lnTo>
                  <a:lnTo>
                    <a:pt x="42" y="84"/>
                  </a:lnTo>
                  <a:lnTo>
                    <a:pt x="25" y="81"/>
                  </a:lnTo>
                  <a:lnTo>
                    <a:pt x="12" y="71"/>
                  </a:lnTo>
                  <a:lnTo>
                    <a:pt x="3" y="57"/>
                  </a:lnTo>
                  <a:lnTo>
                    <a:pt x="0" y="42"/>
                  </a:lnTo>
                  <a:lnTo>
                    <a:pt x="3" y="25"/>
                  </a:lnTo>
                  <a:lnTo>
                    <a:pt x="12" y="12"/>
                  </a:lnTo>
                  <a:lnTo>
                    <a:pt x="25" y="3"/>
                  </a:lnTo>
                  <a:lnTo>
                    <a:pt x="42" y="0"/>
                  </a:lnTo>
                  <a:close/>
                </a:path>
              </a:pathLst>
            </a:custGeom>
            <a:solidFill>
              <a:schemeClr val="accent5"/>
            </a:solidFill>
            <a:ln>
              <a:noFill/>
            </a:ln>
          </p:spPr>
          <p:txBody>
            <a:bodyPr/>
            <a:lstStyle/>
            <a:p>
              <a:endParaRPr lang="de-DE" dirty="0"/>
            </a:p>
          </p:txBody>
        </p:sp>
        <p:sp>
          <p:nvSpPr>
            <p:cNvPr id="1199" name="Freeform 357"/>
            <p:cNvSpPr>
              <a:spLocks/>
            </p:cNvSpPr>
            <p:nvPr/>
          </p:nvSpPr>
          <p:spPr bwMode="auto">
            <a:xfrm>
              <a:off x="11182290" y="5864818"/>
              <a:ext cx="55557" cy="15877"/>
            </a:xfrm>
            <a:custGeom>
              <a:avLst/>
              <a:gdLst>
                <a:gd name="T0" fmla="*/ 51 w 345"/>
                <a:gd name="T1" fmla="*/ 0 h 101"/>
                <a:gd name="T2" fmla="*/ 294 w 345"/>
                <a:gd name="T3" fmla="*/ 0 h 101"/>
                <a:gd name="T4" fmla="*/ 310 w 345"/>
                <a:gd name="T5" fmla="*/ 3 h 101"/>
                <a:gd name="T6" fmla="*/ 324 w 345"/>
                <a:gd name="T7" fmla="*/ 9 h 101"/>
                <a:gd name="T8" fmla="*/ 335 w 345"/>
                <a:gd name="T9" fmla="*/ 20 h 101"/>
                <a:gd name="T10" fmla="*/ 342 w 345"/>
                <a:gd name="T11" fmla="*/ 35 h 101"/>
                <a:gd name="T12" fmla="*/ 345 w 345"/>
                <a:gd name="T13" fmla="*/ 50 h 101"/>
                <a:gd name="T14" fmla="*/ 342 w 345"/>
                <a:gd name="T15" fmla="*/ 67 h 101"/>
                <a:gd name="T16" fmla="*/ 335 w 345"/>
                <a:gd name="T17" fmla="*/ 80 h 101"/>
                <a:gd name="T18" fmla="*/ 324 w 345"/>
                <a:gd name="T19" fmla="*/ 91 h 101"/>
                <a:gd name="T20" fmla="*/ 310 w 345"/>
                <a:gd name="T21" fmla="*/ 99 h 101"/>
                <a:gd name="T22" fmla="*/ 294 w 345"/>
                <a:gd name="T23" fmla="*/ 101 h 101"/>
                <a:gd name="T24" fmla="*/ 51 w 345"/>
                <a:gd name="T25" fmla="*/ 101 h 101"/>
                <a:gd name="T26" fmla="*/ 34 w 345"/>
                <a:gd name="T27" fmla="*/ 99 h 101"/>
                <a:gd name="T28" fmla="*/ 21 w 345"/>
                <a:gd name="T29" fmla="*/ 91 h 101"/>
                <a:gd name="T30" fmla="*/ 10 w 345"/>
                <a:gd name="T31" fmla="*/ 80 h 101"/>
                <a:gd name="T32" fmla="*/ 3 w 345"/>
                <a:gd name="T33" fmla="*/ 67 h 101"/>
                <a:gd name="T34" fmla="*/ 0 w 345"/>
                <a:gd name="T35" fmla="*/ 50 h 101"/>
                <a:gd name="T36" fmla="*/ 3 w 345"/>
                <a:gd name="T37" fmla="*/ 35 h 101"/>
                <a:gd name="T38" fmla="*/ 10 w 345"/>
                <a:gd name="T39" fmla="*/ 20 h 101"/>
                <a:gd name="T40" fmla="*/ 21 w 345"/>
                <a:gd name="T41" fmla="*/ 9 h 101"/>
                <a:gd name="T42" fmla="*/ 34 w 345"/>
                <a:gd name="T43" fmla="*/ 3 h 101"/>
                <a:gd name="T44" fmla="*/ 51 w 345"/>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101">
                  <a:moveTo>
                    <a:pt x="51" y="0"/>
                  </a:moveTo>
                  <a:lnTo>
                    <a:pt x="294" y="0"/>
                  </a:lnTo>
                  <a:lnTo>
                    <a:pt x="310" y="3"/>
                  </a:lnTo>
                  <a:lnTo>
                    <a:pt x="324" y="9"/>
                  </a:lnTo>
                  <a:lnTo>
                    <a:pt x="335" y="20"/>
                  </a:lnTo>
                  <a:lnTo>
                    <a:pt x="342" y="35"/>
                  </a:lnTo>
                  <a:lnTo>
                    <a:pt x="345" y="50"/>
                  </a:lnTo>
                  <a:lnTo>
                    <a:pt x="342" y="67"/>
                  </a:lnTo>
                  <a:lnTo>
                    <a:pt x="335" y="80"/>
                  </a:lnTo>
                  <a:lnTo>
                    <a:pt x="324" y="91"/>
                  </a:lnTo>
                  <a:lnTo>
                    <a:pt x="310" y="99"/>
                  </a:lnTo>
                  <a:lnTo>
                    <a:pt x="294" y="101"/>
                  </a:lnTo>
                  <a:lnTo>
                    <a:pt x="51" y="101"/>
                  </a:lnTo>
                  <a:lnTo>
                    <a:pt x="34" y="99"/>
                  </a:lnTo>
                  <a:lnTo>
                    <a:pt x="21" y="91"/>
                  </a:lnTo>
                  <a:lnTo>
                    <a:pt x="10" y="80"/>
                  </a:lnTo>
                  <a:lnTo>
                    <a:pt x="3" y="67"/>
                  </a:lnTo>
                  <a:lnTo>
                    <a:pt x="0" y="50"/>
                  </a:lnTo>
                  <a:lnTo>
                    <a:pt x="3" y="35"/>
                  </a:lnTo>
                  <a:lnTo>
                    <a:pt x="10" y="20"/>
                  </a:lnTo>
                  <a:lnTo>
                    <a:pt x="21" y="9"/>
                  </a:lnTo>
                  <a:lnTo>
                    <a:pt x="34" y="3"/>
                  </a:lnTo>
                  <a:lnTo>
                    <a:pt x="51" y="0"/>
                  </a:lnTo>
                  <a:close/>
                </a:path>
              </a:pathLst>
            </a:custGeom>
            <a:solidFill>
              <a:schemeClr val="accent5"/>
            </a:solidFill>
            <a:ln>
              <a:noFill/>
            </a:ln>
          </p:spPr>
          <p:txBody>
            <a:bodyPr/>
            <a:lstStyle/>
            <a:p>
              <a:endParaRPr lang="de-DE" dirty="0"/>
            </a:p>
          </p:txBody>
        </p:sp>
        <p:sp>
          <p:nvSpPr>
            <p:cNvPr id="1200" name="Freeform 358"/>
            <p:cNvSpPr>
              <a:spLocks/>
            </p:cNvSpPr>
            <p:nvPr/>
          </p:nvSpPr>
          <p:spPr bwMode="auto">
            <a:xfrm>
              <a:off x="11258482" y="5869581"/>
              <a:ext cx="49208" cy="14289"/>
            </a:xfrm>
            <a:custGeom>
              <a:avLst/>
              <a:gdLst>
                <a:gd name="T0" fmla="*/ 47 w 309"/>
                <a:gd name="T1" fmla="*/ 0 h 95"/>
                <a:gd name="T2" fmla="*/ 261 w 309"/>
                <a:gd name="T3" fmla="*/ 0 h 95"/>
                <a:gd name="T4" fmla="*/ 276 w 309"/>
                <a:gd name="T5" fmla="*/ 2 h 95"/>
                <a:gd name="T6" fmla="*/ 289 w 309"/>
                <a:gd name="T7" fmla="*/ 8 h 95"/>
                <a:gd name="T8" fmla="*/ 300 w 309"/>
                <a:gd name="T9" fmla="*/ 19 h 95"/>
                <a:gd name="T10" fmla="*/ 306 w 309"/>
                <a:gd name="T11" fmla="*/ 32 h 95"/>
                <a:gd name="T12" fmla="*/ 309 w 309"/>
                <a:gd name="T13" fmla="*/ 47 h 95"/>
                <a:gd name="T14" fmla="*/ 306 w 309"/>
                <a:gd name="T15" fmla="*/ 61 h 95"/>
                <a:gd name="T16" fmla="*/ 300 w 309"/>
                <a:gd name="T17" fmla="*/ 75 h 95"/>
                <a:gd name="T18" fmla="*/ 289 w 309"/>
                <a:gd name="T19" fmla="*/ 85 h 95"/>
                <a:gd name="T20" fmla="*/ 276 w 309"/>
                <a:gd name="T21" fmla="*/ 92 h 95"/>
                <a:gd name="T22" fmla="*/ 261 w 309"/>
                <a:gd name="T23" fmla="*/ 95 h 95"/>
                <a:gd name="T24" fmla="*/ 47 w 309"/>
                <a:gd name="T25" fmla="*/ 95 h 95"/>
                <a:gd name="T26" fmla="*/ 33 w 309"/>
                <a:gd name="T27" fmla="*/ 92 h 95"/>
                <a:gd name="T28" fmla="*/ 20 w 309"/>
                <a:gd name="T29" fmla="*/ 85 h 95"/>
                <a:gd name="T30" fmla="*/ 10 w 309"/>
                <a:gd name="T31" fmla="*/ 75 h 95"/>
                <a:gd name="T32" fmla="*/ 3 w 309"/>
                <a:gd name="T33" fmla="*/ 61 h 95"/>
                <a:gd name="T34" fmla="*/ 0 w 309"/>
                <a:gd name="T35" fmla="*/ 47 h 95"/>
                <a:gd name="T36" fmla="*/ 3 w 309"/>
                <a:gd name="T37" fmla="*/ 32 h 95"/>
                <a:gd name="T38" fmla="*/ 10 w 309"/>
                <a:gd name="T39" fmla="*/ 19 h 95"/>
                <a:gd name="T40" fmla="*/ 20 w 309"/>
                <a:gd name="T41" fmla="*/ 8 h 95"/>
                <a:gd name="T42" fmla="*/ 33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6" y="2"/>
                  </a:lnTo>
                  <a:lnTo>
                    <a:pt x="289" y="8"/>
                  </a:lnTo>
                  <a:lnTo>
                    <a:pt x="300" y="19"/>
                  </a:lnTo>
                  <a:lnTo>
                    <a:pt x="306" y="32"/>
                  </a:lnTo>
                  <a:lnTo>
                    <a:pt x="309" y="47"/>
                  </a:lnTo>
                  <a:lnTo>
                    <a:pt x="306" y="61"/>
                  </a:lnTo>
                  <a:lnTo>
                    <a:pt x="300" y="75"/>
                  </a:lnTo>
                  <a:lnTo>
                    <a:pt x="289" y="85"/>
                  </a:lnTo>
                  <a:lnTo>
                    <a:pt x="276" y="92"/>
                  </a:lnTo>
                  <a:lnTo>
                    <a:pt x="261" y="95"/>
                  </a:lnTo>
                  <a:lnTo>
                    <a:pt x="47" y="95"/>
                  </a:lnTo>
                  <a:lnTo>
                    <a:pt x="33" y="92"/>
                  </a:lnTo>
                  <a:lnTo>
                    <a:pt x="20" y="85"/>
                  </a:lnTo>
                  <a:lnTo>
                    <a:pt x="10" y="75"/>
                  </a:lnTo>
                  <a:lnTo>
                    <a:pt x="3" y="61"/>
                  </a:lnTo>
                  <a:lnTo>
                    <a:pt x="0" y="47"/>
                  </a:lnTo>
                  <a:lnTo>
                    <a:pt x="3" y="32"/>
                  </a:lnTo>
                  <a:lnTo>
                    <a:pt x="10" y="19"/>
                  </a:lnTo>
                  <a:lnTo>
                    <a:pt x="20" y="8"/>
                  </a:lnTo>
                  <a:lnTo>
                    <a:pt x="33" y="2"/>
                  </a:lnTo>
                  <a:lnTo>
                    <a:pt x="47" y="0"/>
                  </a:lnTo>
                  <a:close/>
                </a:path>
              </a:pathLst>
            </a:custGeom>
            <a:solidFill>
              <a:schemeClr val="accent5"/>
            </a:solidFill>
            <a:ln>
              <a:noFill/>
            </a:ln>
          </p:spPr>
          <p:txBody>
            <a:bodyPr/>
            <a:lstStyle/>
            <a:p>
              <a:endParaRPr lang="de-DE" dirty="0"/>
            </a:p>
          </p:txBody>
        </p:sp>
        <p:sp>
          <p:nvSpPr>
            <p:cNvPr id="1201" name="Freeform 359"/>
            <p:cNvSpPr>
              <a:spLocks/>
            </p:cNvSpPr>
            <p:nvPr/>
          </p:nvSpPr>
          <p:spPr bwMode="auto">
            <a:xfrm>
              <a:off x="11318801" y="5866405"/>
              <a:ext cx="49208" cy="14289"/>
            </a:xfrm>
            <a:custGeom>
              <a:avLst/>
              <a:gdLst>
                <a:gd name="T0" fmla="*/ 47 w 309"/>
                <a:gd name="T1" fmla="*/ 0 h 95"/>
                <a:gd name="T2" fmla="*/ 261 w 309"/>
                <a:gd name="T3" fmla="*/ 0 h 95"/>
                <a:gd name="T4" fmla="*/ 277 w 309"/>
                <a:gd name="T5" fmla="*/ 2 h 95"/>
                <a:gd name="T6" fmla="*/ 289 w 309"/>
                <a:gd name="T7" fmla="*/ 9 h 95"/>
                <a:gd name="T8" fmla="*/ 300 w 309"/>
                <a:gd name="T9" fmla="*/ 20 h 95"/>
                <a:gd name="T10" fmla="*/ 307 w 309"/>
                <a:gd name="T11" fmla="*/ 32 h 95"/>
                <a:gd name="T12" fmla="*/ 309 w 309"/>
                <a:gd name="T13" fmla="*/ 47 h 95"/>
                <a:gd name="T14" fmla="*/ 307 w 309"/>
                <a:gd name="T15" fmla="*/ 62 h 95"/>
                <a:gd name="T16" fmla="*/ 300 w 309"/>
                <a:gd name="T17" fmla="*/ 75 h 95"/>
                <a:gd name="T18" fmla="*/ 289 w 309"/>
                <a:gd name="T19" fmla="*/ 85 h 95"/>
                <a:gd name="T20" fmla="*/ 277 w 309"/>
                <a:gd name="T21" fmla="*/ 91 h 95"/>
                <a:gd name="T22" fmla="*/ 261 w 309"/>
                <a:gd name="T23" fmla="*/ 95 h 95"/>
                <a:gd name="T24" fmla="*/ 47 w 309"/>
                <a:gd name="T25" fmla="*/ 95 h 95"/>
                <a:gd name="T26" fmla="*/ 32 w 309"/>
                <a:gd name="T27" fmla="*/ 91 h 95"/>
                <a:gd name="T28" fmla="*/ 19 w 309"/>
                <a:gd name="T29" fmla="*/ 85 h 95"/>
                <a:gd name="T30" fmla="*/ 9 w 309"/>
                <a:gd name="T31" fmla="*/ 75 h 95"/>
                <a:gd name="T32" fmla="*/ 2 w 309"/>
                <a:gd name="T33" fmla="*/ 62 h 95"/>
                <a:gd name="T34" fmla="*/ 0 w 309"/>
                <a:gd name="T35" fmla="*/ 47 h 95"/>
                <a:gd name="T36" fmla="*/ 2 w 309"/>
                <a:gd name="T37" fmla="*/ 32 h 95"/>
                <a:gd name="T38" fmla="*/ 9 w 309"/>
                <a:gd name="T39" fmla="*/ 20 h 95"/>
                <a:gd name="T40" fmla="*/ 19 w 309"/>
                <a:gd name="T41" fmla="*/ 9 h 95"/>
                <a:gd name="T42" fmla="*/ 32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7" y="2"/>
                  </a:lnTo>
                  <a:lnTo>
                    <a:pt x="289" y="9"/>
                  </a:lnTo>
                  <a:lnTo>
                    <a:pt x="300" y="20"/>
                  </a:lnTo>
                  <a:lnTo>
                    <a:pt x="307" y="32"/>
                  </a:lnTo>
                  <a:lnTo>
                    <a:pt x="309" y="47"/>
                  </a:lnTo>
                  <a:lnTo>
                    <a:pt x="307" y="62"/>
                  </a:lnTo>
                  <a:lnTo>
                    <a:pt x="300" y="75"/>
                  </a:lnTo>
                  <a:lnTo>
                    <a:pt x="289" y="85"/>
                  </a:lnTo>
                  <a:lnTo>
                    <a:pt x="277" y="91"/>
                  </a:lnTo>
                  <a:lnTo>
                    <a:pt x="261" y="95"/>
                  </a:lnTo>
                  <a:lnTo>
                    <a:pt x="47" y="95"/>
                  </a:lnTo>
                  <a:lnTo>
                    <a:pt x="32" y="91"/>
                  </a:lnTo>
                  <a:lnTo>
                    <a:pt x="19" y="85"/>
                  </a:lnTo>
                  <a:lnTo>
                    <a:pt x="9" y="75"/>
                  </a:lnTo>
                  <a:lnTo>
                    <a:pt x="2" y="62"/>
                  </a:lnTo>
                  <a:lnTo>
                    <a:pt x="0" y="47"/>
                  </a:lnTo>
                  <a:lnTo>
                    <a:pt x="2" y="32"/>
                  </a:lnTo>
                  <a:lnTo>
                    <a:pt x="9" y="20"/>
                  </a:lnTo>
                  <a:lnTo>
                    <a:pt x="19" y="9"/>
                  </a:lnTo>
                  <a:lnTo>
                    <a:pt x="32" y="2"/>
                  </a:lnTo>
                  <a:lnTo>
                    <a:pt x="47" y="0"/>
                  </a:lnTo>
                  <a:close/>
                </a:path>
              </a:pathLst>
            </a:custGeom>
            <a:solidFill>
              <a:schemeClr val="accent5"/>
            </a:solidFill>
            <a:ln>
              <a:noFill/>
            </a:ln>
          </p:spPr>
          <p:txBody>
            <a:bodyPr/>
            <a:lstStyle/>
            <a:p>
              <a:endParaRPr lang="de-DE" dirty="0"/>
            </a:p>
          </p:txBody>
        </p:sp>
        <p:sp>
          <p:nvSpPr>
            <p:cNvPr id="1202" name="Freeform 360"/>
            <p:cNvSpPr>
              <a:spLocks/>
            </p:cNvSpPr>
            <p:nvPr/>
          </p:nvSpPr>
          <p:spPr bwMode="auto">
            <a:xfrm>
              <a:off x="11390232" y="5863230"/>
              <a:ext cx="47620" cy="14289"/>
            </a:xfrm>
            <a:custGeom>
              <a:avLst/>
              <a:gdLst>
                <a:gd name="T0" fmla="*/ 46 w 302"/>
                <a:gd name="T1" fmla="*/ 0 h 94"/>
                <a:gd name="T2" fmla="*/ 255 w 302"/>
                <a:gd name="T3" fmla="*/ 0 h 94"/>
                <a:gd name="T4" fmla="*/ 270 w 302"/>
                <a:gd name="T5" fmla="*/ 2 h 94"/>
                <a:gd name="T6" fmla="*/ 283 w 302"/>
                <a:gd name="T7" fmla="*/ 9 h 94"/>
                <a:gd name="T8" fmla="*/ 293 w 302"/>
                <a:gd name="T9" fmla="*/ 19 h 94"/>
                <a:gd name="T10" fmla="*/ 299 w 302"/>
                <a:gd name="T11" fmla="*/ 32 h 94"/>
                <a:gd name="T12" fmla="*/ 302 w 302"/>
                <a:gd name="T13" fmla="*/ 48 h 94"/>
                <a:gd name="T14" fmla="*/ 299 w 302"/>
                <a:gd name="T15" fmla="*/ 62 h 94"/>
                <a:gd name="T16" fmla="*/ 293 w 302"/>
                <a:gd name="T17" fmla="*/ 74 h 94"/>
                <a:gd name="T18" fmla="*/ 283 w 302"/>
                <a:gd name="T19" fmla="*/ 85 h 94"/>
                <a:gd name="T20" fmla="*/ 270 w 302"/>
                <a:gd name="T21" fmla="*/ 92 h 94"/>
                <a:gd name="T22" fmla="*/ 255 w 302"/>
                <a:gd name="T23" fmla="*/ 94 h 94"/>
                <a:gd name="T24" fmla="*/ 46 w 302"/>
                <a:gd name="T25" fmla="*/ 94 h 94"/>
                <a:gd name="T26" fmla="*/ 32 w 302"/>
                <a:gd name="T27" fmla="*/ 92 h 94"/>
                <a:gd name="T28" fmla="*/ 18 w 302"/>
                <a:gd name="T29" fmla="*/ 85 h 94"/>
                <a:gd name="T30" fmla="*/ 8 w 302"/>
                <a:gd name="T31" fmla="*/ 74 h 94"/>
                <a:gd name="T32" fmla="*/ 2 w 302"/>
                <a:gd name="T33" fmla="*/ 62 h 94"/>
                <a:gd name="T34" fmla="*/ 0 w 302"/>
                <a:gd name="T35" fmla="*/ 48 h 94"/>
                <a:gd name="T36" fmla="*/ 2 w 302"/>
                <a:gd name="T37" fmla="*/ 32 h 94"/>
                <a:gd name="T38" fmla="*/ 8 w 302"/>
                <a:gd name="T39" fmla="*/ 19 h 94"/>
                <a:gd name="T40" fmla="*/ 18 w 302"/>
                <a:gd name="T41" fmla="*/ 9 h 94"/>
                <a:gd name="T42" fmla="*/ 32 w 302"/>
                <a:gd name="T43" fmla="*/ 2 h 94"/>
                <a:gd name="T44" fmla="*/ 46 w 302"/>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2" h="94">
                  <a:moveTo>
                    <a:pt x="46" y="0"/>
                  </a:moveTo>
                  <a:lnTo>
                    <a:pt x="255" y="0"/>
                  </a:lnTo>
                  <a:lnTo>
                    <a:pt x="270" y="2"/>
                  </a:lnTo>
                  <a:lnTo>
                    <a:pt x="283" y="9"/>
                  </a:lnTo>
                  <a:lnTo>
                    <a:pt x="293" y="19"/>
                  </a:lnTo>
                  <a:lnTo>
                    <a:pt x="299" y="32"/>
                  </a:lnTo>
                  <a:lnTo>
                    <a:pt x="302" y="48"/>
                  </a:lnTo>
                  <a:lnTo>
                    <a:pt x="299" y="62"/>
                  </a:lnTo>
                  <a:lnTo>
                    <a:pt x="293" y="74"/>
                  </a:lnTo>
                  <a:lnTo>
                    <a:pt x="283" y="85"/>
                  </a:lnTo>
                  <a:lnTo>
                    <a:pt x="270" y="92"/>
                  </a:lnTo>
                  <a:lnTo>
                    <a:pt x="255" y="94"/>
                  </a:lnTo>
                  <a:lnTo>
                    <a:pt x="46" y="94"/>
                  </a:lnTo>
                  <a:lnTo>
                    <a:pt x="32" y="92"/>
                  </a:lnTo>
                  <a:lnTo>
                    <a:pt x="18" y="85"/>
                  </a:lnTo>
                  <a:lnTo>
                    <a:pt x="8" y="74"/>
                  </a:lnTo>
                  <a:lnTo>
                    <a:pt x="2" y="62"/>
                  </a:lnTo>
                  <a:lnTo>
                    <a:pt x="0" y="48"/>
                  </a:lnTo>
                  <a:lnTo>
                    <a:pt x="2" y="32"/>
                  </a:lnTo>
                  <a:lnTo>
                    <a:pt x="8" y="19"/>
                  </a:lnTo>
                  <a:lnTo>
                    <a:pt x="18" y="9"/>
                  </a:lnTo>
                  <a:lnTo>
                    <a:pt x="32" y="2"/>
                  </a:lnTo>
                  <a:lnTo>
                    <a:pt x="46" y="0"/>
                  </a:lnTo>
                  <a:close/>
                </a:path>
              </a:pathLst>
            </a:custGeom>
            <a:solidFill>
              <a:schemeClr val="accent5"/>
            </a:solidFill>
            <a:ln>
              <a:noFill/>
            </a:ln>
          </p:spPr>
          <p:txBody>
            <a:bodyPr/>
            <a:lstStyle/>
            <a:p>
              <a:endParaRPr lang="de-DE" dirty="0"/>
            </a:p>
          </p:txBody>
        </p:sp>
        <p:sp>
          <p:nvSpPr>
            <p:cNvPr id="1203" name="Freeform 361"/>
            <p:cNvSpPr>
              <a:spLocks/>
            </p:cNvSpPr>
            <p:nvPr/>
          </p:nvSpPr>
          <p:spPr bwMode="auto">
            <a:xfrm>
              <a:off x="10979110" y="5918799"/>
              <a:ext cx="42858" cy="14289"/>
            </a:xfrm>
            <a:custGeom>
              <a:avLst/>
              <a:gdLst>
                <a:gd name="T0" fmla="*/ 45 w 271"/>
                <a:gd name="T1" fmla="*/ 0 h 87"/>
                <a:gd name="T2" fmla="*/ 228 w 271"/>
                <a:gd name="T3" fmla="*/ 0 h 87"/>
                <a:gd name="T4" fmla="*/ 242 w 271"/>
                <a:gd name="T5" fmla="*/ 2 h 87"/>
                <a:gd name="T6" fmla="*/ 254 w 271"/>
                <a:gd name="T7" fmla="*/ 7 h 87"/>
                <a:gd name="T8" fmla="*/ 264 w 271"/>
                <a:gd name="T9" fmla="*/ 17 h 87"/>
                <a:gd name="T10" fmla="*/ 269 w 271"/>
                <a:gd name="T11" fmla="*/ 29 h 87"/>
                <a:gd name="T12" fmla="*/ 271 w 271"/>
                <a:gd name="T13" fmla="*/ 44 h 87"/>
                <a:gd name="T14" fmla="*/ 269 w 271"/>
                <a:gd name="T15" fmla="*/ 57 h 87"/>
                <a:gd name="T16" fmla="*/ 264 w 271"/>
                <a:gd name="T17" fmla="*/ 69 h 87"/>
                <a:gd name="T18" fmla="*/ 254 w 271"/>
                <a:gd name="T19" fmla="*/ 78 h 87"/>
                <a:gd name="T20" fmla="*/ 242 w 271"/>
                <a:gd name="T21" fmla="*/ 85 h 87"/>
                <a:gd name="T22" fmla="*/ 228 w 271"/>
                <a:gd name="T23" fmla="*/ 87 h 87"/>
                <a:gd name="T24" fmla="*/ 45 w 271"/>
                <a:gd name="T25" fmla="*/ 87 h 87"/>
                <a:gd name="T26" fmla="*/ 30 w 271"/>
                <a:gd name="T27" fmla="*/ 85 h 87"/>
                <a:gd name="T28" fmla="*/ 19 w 271"/>
                <a:gd name="T29" fmla="*/ 78 h 87"/>
                <a:gd name="T30" fmla="*/ 9 w 271"/>
                <a:gd name="T31" fmla="*/ 69 h 87"/>
                <a:gd name="T32" fmla="*/ 3 w 271"/>
                <a:gd name="T33" fmla="*/ 57 h 87"/>
                <a:gd name="T34" fmla="*/ 0 w 271"/>
                <a:gd name="T35" fmla="*/ 44 h 87"/>
                <a:gd name="T36" fmla="*/ 3 w 271"/>
                <a:gd name="T37" fmla="*/ 29 h 87"/>
                <a:gd name="T38" fmla="*/ 9 w 271"/>
                <a:gd name="T39" fmla="*/ 17 h 87"/>
                <a:gd name="T40" fmla="*/ 19 w 271"/>
                <a:gd name="T41" fmla="*/ 7 h 87"/>
                <a:gd name="T42" fmla="*/ 30 w 271"/>
                <a:gd name="T43" fmla="*/ 2 h 87"/>
                <a:gd name="T44" fmla="*/ 45 w 27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87">
                  <a:moveTo>
                    <a:pt x="45" y="0"/>
                  </a:moveTo>
                  <a:lnTo>
                    <a:pt x="228" y="0"/>
                  </a:lnTo>
                  <a:lnTo>
                    <a:pt x="242" y="2"/>
                  </a:lnTo>
                  <a:lnTo>
                    <a:pt x="254" y="7"/>
                  </a:lnTo>
                  <a:lnTo>
                    <a:pt x="264" y="17"/>
                  </a:lnTo>
                  <a:lnTo>
                    <a:pt x="269" y="29"/>
                  </a:lnTo>
                  <a:lnTo>
                    <a:pt x="271" y="44"/>
                  </a:lnTo>
                  <a:lnTo>
                    <a:pt x="269" y="57"/>
                  </a:lnTo>
                  <a:lnTo>
                    <a:pt x="264" y="69"/>
                  </a:lnTo>
                  <a:lnTo>
                    <a:pt x="254" y="78"/>
                  </a:lnTo>
                  <a:lnTo>
                    <a:pt x="242" y="85"/>
                  </a:lnTo>
                  <a:lnTo>
                    <a:pt x="228" y="87"/>
                  </a:lnTo>
                  <a:lnTo>
                    <a:pt x="45" y="87"/>
                  </a:lnTo>
                  <a:lnTo>
                    <a:pt x="30" y="85"/>
                  </a:lnTo>
                  <a:lnTo>
                    <a:pt x="19" y="78"/>
                  </a:lnTo>
                  <a:lnTo>
                    <a:pt x="9" y="69"/>
                  </a:lnTo>
                  <a:lnTo>
                    <a:pt x="3" y="57"/>
                  </a:lnTo>
                  <a:lnTo>
                    <a:pt x="0" y="44"/>
                  </a:lnTo>
                  <a:lnTo>
                    <a:pt x="3" y="29"/>
                  </a:lnTo>
                  <a:lnTo>
                    <a:pt x="9" y="17"/>
                  </a:lnTo>
                  <a:lnTo>
                    <a:pt x="19" y="7"/>
                  </a:lnTo>
                  <a:lnTo>
                    <a:pt x="30" y="2"/>
                  </a:lnTo>
                  <a:lnTo>
                    <a:pt x="45" y="0"/>
                  </a:lnTo>
                  <a:close/>
                </a:path>
              </a:pathLst>
            </a:custGeom>
            <a:solidFill>
              <a:schemeClr val="accent5"/>
            </a:solidFill>
            <a:ln>
              <a:noFill/>
            </a:ln>
          </p:spPr>
          <p:txBody>
            <a:bodyPr/>
            <a:lstStyle/>
            <a:p>
              <a:endParaRPr lang="de-DE" dirty="0"/>
            </a:p>
          </p:txBody>
        </p:sp>
        <p:sp>
          <p:nvSpPr>
            <p:cNvPr id="1204" name="Freeform 362"/>
            <p:cNvSpPr>
              <a:spLocks/>
            </p:cNvSpPr>
            <p:nvPr/>
          </p:nvSpPr>
          <p:spPr bwMode="auto">
            <a:xfrm>
              <a:off x="11052128" y="5920387"/>
              <a:ext cx="50795" cy="14289"/>
            </a:xfrm>
            <a:custGeom>
              <a:avLst/>
              <a:gdLst>
                <a:gd name="T0" fmla="*/ 48 w 317"/>
                <a:gd name="T1" fmla="*/ 0 h 96"/>
                <a:gd name="T2" fmla="*/ 270 w 317"/>
                <a:gd name="T3" fmla="*/ 0 h 96"/>
                <a:gd name="T4" fmla="*/ 284 w 317"/>
                <a:gd name="T5" fmla="*/ 3 h 96"/>
                <a:gd name="T6" fmla="*/ 297 w 317"/>
                <a:gd name="T7" fmla="*/ 10 h 96"/>
                <a:gd name="T8" fmla="*/ 308 w 317"/>
                <a:gd name="T9" fmla="*/ 20 h 96"/>
                <a:gd name="T10" fmla="*/ 315 w 317"/>
                <a:gd name="T11" fmla="*/ 33 h 96"/>
                <a:gd name="T12" fmla="*/ 317 w 317"/>
                <a:gd name="T13" fmla="*/ 48 h 96"/>
                <a:gd name="T14" fmla="*/ 315 w 317"/>
                <a:gd name="T15" fmla="*/ 64 h 96"/>
                <a:gd name="T16" fmla="*/ 308 w 317"/>
                <a:gd name="T17" fmla="*/ 77 h 96"/>
                <a:gd name="T18" fmla="*/ 297 w 317"/>
                <a:gd name="T19" fmla="*/ 87 h 96"/>
                <a:gd name="T20" fmla="*/ 285 w 317"/>
                <a:gd name="T21" fmla="*/ 94 h 96"/>
                <a:gd name="T22" fmla="*/ 270 w 317"/>
                <a:gd name="T23" fmla="*/ 96 h 96"/>
                <a:gd name="T24" fmla="*/ 48 w 317"/>
                <a:gd name="T25" fmla="*/ 96 h 96"/>
                <a:gd name="T26" fmla="*/ 33 w 317"/>
                <a:gd name="T27" fmla="*/ 94 h 96"/>
                <a:gd name="T28" fmla="*/ 20 w 317"/>
                <a:gd name="T29" fmla="*/ 87 h 96"/>
                <a:gd name="T30" fmla="*/ 10 w 317"/>
                <a:gd name="T31" fmla="*/ 77 h 96"/>
                <a:gd name="T32" fmla="*/ 2 w 317"/>
                <a:gd name="T33" fmla="*/ 64 h 96"/>
                <a:gd name="T34" fmla="*/ 0 w 317"/>
                <a:gd name="T35" fmla="*/ 48 h 96"/>
                <a:gd name="T36" fmla="*/ 2 w 317"/>
                <a:gd name="T37" fmla="*/ 33 h 96"/>
                <a:gd name="T38" fmla="*/ 10 w 317"/>
                <a:gd name="T39" fmla="*/ 20 h 96"/>
                <a:gd name="T40" fmla="*/ 20 w 317"/>
                <a:gd name="T41" fmla="*/ 10 h 96"/>
                <a:gd name="T42" fmla="*/ 33 w 317"/>
                <a:gd name="T43" fmla="*/ 3 h 96"/>
                <a:gd name="T44" fmla="*/ 48 w 317"/>
                <a:gd name="T4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96">
                  <a:moveTo>
                    <a:pt x="48" y="0"/>
                  </a:moveTo>
                  <a:lnTo>
                    <a:pt x="270" y="0"/>
                  </a:lnTo>
                  <a:lnTo>
                    <a:pt x="284" y="3"/>
                  </a:lnTo>
                  <a:lnTo>
                    <a:pt x="297" y="10"/>
                  </a:lnTo>
                  <a:lnTo>
                    <a:pt x="308" y="20"/>
                  </a:lnTo>
                  <a:lnTo>
                    <a:pt x="315" y="33"/>
                  </a:lnTo>
                  <a:lnTo>
                    <a:pt x="317" y="48"/>
                  </a:lnTo>
                  <a:lnTo>
                    <a:pt x="315" y="64"/>
                  </a:lnTo>
                  <a:lnTo>
                    <a:pt x="308" y="77"/>
                  </a:lnTo>
                  <a:lnTo>
                    <a:pt x="297" y="87"/>
                  </a:lnTo>
                  <a:lnTo>
                    <a:pt x="285" y="94"/>
                  </a:lnTo>
                  <a:lnTo>
                    <a:pt x="270" y="96"/>
                  </a:lnTo>
                  <a:lnTo>
                    <a:pt x="48" y="96"/>
                  </a:lnTo>
                  <a:lnTo>
                    <a:pt x="33" y="94"/>
                  </a:lnTo>
                  <a:lnTo>
                    <a:pt x="20" y="87"/>
                  </a:lnTo>
                  <a:lnTo>
                    <a:pt x="10" y="77"/>
                  </a:lnTo>
                  <a:lnTo>
                    <a:pt x="2" y="64"/>
                  </a:lnTo>
                  <a:lnTo>
                    <a:pt x="0" y="48"/>
                  </a:lnTo>
                  <a:lnTo>
                    <a:pt x="2" y="33"/>
                  </a:lnTo>
                  <a:lnTo>
                    <a:pt x="10" y="20"/>
                  </a:lnTo>
                  <a:lnTo>
                    <a:pt x="20" y="10"/>
                  </a:lnTo>
                  <a:lnTo>
                    <a:pt x="33" y="3"/>
                  </a:lnTo>
                  <a:lnTo>
                    <a:pt x="48" y="0"/>
                  </a:lnTo>
                  <a:close/>
                </a:path>
              </a:pathLst>
            </a:custGeom>
            <a:solidFill>
              <a:schemeClr val="accent5"/>
            </a:solidFill>
            <a:ln>
              <a:noFill/>
            </a:ln>
          </p:spPr>
          <p:txBody>
            <a:bodyPr/>
            <a:lstStyle/>
            <a:p>
              <a:endParaRPr lang="de-DE" dirty="0"/>
            </a:p>
          </p:txBody>
        </p:sp>
        <p:sp>
          <p:nvSpPr>
            <p:cNvPr id="1205" name="Freeform 363"/>
            <p:cNvSpPr>
              <a:spLocks/>
            </p:cNvSpPr>
            <p:nvPr/>
          </p:nvSpPr>
          <p:spPr bwMode="auto">
            <a:xfrm>
              <a:off x="11117209" y="5921974"/>
              <a:ext cx="41271" cy="12701"/>
            </a:xfrm>
            <a:custGeom>
              <a:avLst/>
              <a:gdLst>
                <a:gd name="T0" fmla="*/ 43 w 261"/>
                <a:gd name="T1" fmla="*/ 0 h 85"/>
                <a:gd name="T2" fmla="*/ 218 w 261"/>
                <a:gd name="T3" fmla="*/ 0 h 85"/>
                <a:gd name="T4" fmla="*/ 233 w 261"/>
                <a:gd name="T5" fmla="*/ 2 h 85"/>
                <a:gd name="T6" fmla="*/ 244 w 261"/>
                <a:gd name="T7" fmla="*/ 7 h 85"/>
                <a:gd name="T8" fmla="*/ 254 w 261"/>
                <a:gd name="T9" fmla="*/ 17 h 85"/>
                <a:gd name="T10" fmla="*/ 259 w 261"/>
                <a:gd name="T11" fmla="*/ 28 h 85"/>
                <a:gd name="T12" fmla="*/ 261 w 261"/>
                <a:gd name="T13" fmla="*/ 43 h 85"/>
                <a:gd name="T14" fmla="*/ 259 w 261"/>
                <a:gd name="T15" fmla="*/ 56 h 85"/>
                <a:gd name="T16" fmla="*/ 254 w 261"/>
                <a:gd name="T17" fmla="*/ 67 h 85"/>
                <a:gd name="T18" fmla="*/ 244 w 261"/>
                <a:gd name="T19" fmla="*/ 77 h 85"/>
                <a:gd name="T20" fmla="*/ 233 w 261"/>
                <a:gd name="T21" fmla="*/ 83 h 85"/>
                <a:gd name="T22" fmla="*/ 218 w 261"/>
                <a:gd name="T23" fmla="*/ 85 h 85"/>
                <a:gd name="T24" fmla="*/ 43 w 261"/>
                <a:gd name="T25" fmla="*/ 85 h 85"/>
                <a:gd name="T26" fmla="*/ 29 w 261"/>
                <a:gd name="T27" fmla="*/ 83 h 85"/>
                <a:gd name="T28" fmla="*/ 18 w 261"/>
                <a:gd name="T29" fmla="*/ 77 h 85"/>
                <a:gd name="T30" fmla="*/ 8 w 261"/>
                <a:gd name="T31" fmla="*/ 67 h 85"/>
                <a:gd name="T32" fmla="*/ 3 w 261"/>
                <a:gd name="T33" fmla="*/ 56 h 85"/>
                <a:gd name="T34" fmla="*/ 0 w 261"/>
                <a:gd name="T35" fmla="*/ 43 h 85"/>
                <a:gd name="T36" fmla="*/ 3 w 261"/>
                <a:gd name="T37" fmla="*/ 28 h 85"/>
                <a:gd name="T38" fmla="*/ 8 w 261"/>
                <a:gd name="T39" fmla="*/ 17 h 85"/>
                <a:gd name="T40" fmla="*/ 18 w 261"/>
                <a:gd name="T41" fmla="*/ 7 h 85"/>
                <a:gd name="T42" fmla="*/ 29 w 261"/>
                <a:gd name="T43" fmla="*/ 2 h 85"/>
                <a:gd name="T44" fmla="*/ 43 w 261"/>
                <a:gd name="T4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5">
                  <a:moveTo>
                    <a:pt x="43" y="0"/>
                  </a:moveTo>
                  <a:lnTo>
                    <a:pt x="218" y="0"/>
                  </a:lnTo>
                  <a:lnTo>
                    <a:pt x="233" y="2"/>
                  </a:lnTo>
                  <a:lnTo>
                    <a:pt x="244" y="7"/>
                  </a:lnTo>
                  <a:lnTo>
                    <a:pt x="254" y="17"/>
                  </a:lnTo>
                  <a:lnTo>
                    <a:pt x="259" y="28"/>
                  </a:lnTo>
                  <a:lnTo>
                    <a:pt x="261" y="43"/>
                  </a:lnTo>
                  <a:lnTo>
                    <a:pt x="259" y="56"/>
                  </a:lnTo>
                  <a:lnTo>
                    <a:pt x="254" y="67"/>
                  </a:lnTo>
                  <a:lnTo>
                    <a:pt x="244" y="77"/>
                  </a:lnTo>
                  <a:lnTo>
                    <a:pt x="233" y="83"/>
                  </a:lnTo>
                  <a:lnTo>
                    <a:pt x="218" y="85"/>
                  </a:lnTo>
                  <a:lnTo>
                    <a:pt x="43" y="85"/>
                  </a:lnTo>
                  <a:lnTo>
                    <a:pt x="29" y="83"/>
                  </a:lnTo>
                  <a:lnTo>
                    <a:pt x="18" y="77"/>
                  </a:lnTo>
                  <a:lnTo>
                    <a:pt x="8" y="67"/>
                  </a:lnTo>
                  <a:lnTo>
                    <a:pt x="3" y="56"/>
                  </a:lnTo>
                  <a:lnTo>
                    <a:pt x="0" y="43"/>
                  </a:lnTo>
                  <a:lnTo>
                    <a:pt x="3" y="28"/>
                  </a:lnTo>
                  <a:lnTo>
                    <a:pt x="8" y="17"/>
                  </a:lnTo>
                  <a:lnTo>
                    <a:pt x="18" y="7"/>
                  </a:lnTo>
                  <a:lnTo>
                    <a:pt x="29" y="2"/>
                  </a:lnTo>
                  <a:lnTo>
                    <a:pt x="43" y="0"/>
                  </a:lnTo>
                  <a:close/>
                </a:path>
              </a:pathLst>
            </a:custGeom>
            <a:solidFill>
              <a:schemeClr val="accent5"/>
            </a:solidFill>
            <a:ln>
              <a:noFill/>
            </a:ln>
          </p:spPr>
          <p:txBody>
            <a:bodyPr/>
            <a:lstStyle/>
            <a:p>
              <a:endParaRPr lang="de-DE" dirty="0"/>
            </a:p>
          </p:txBody>
        </p:sp>
        <p:sp>
          <p:nvSpPr>
            <p:cNvPr id="1206" name="Freeform 364"/>
            <p:cNvSpPr>
              <a:spLocks/>
            </p:cNvSpPr>
            <p:nvPr/>
          </p:nvSpPr>
          <p:spPr bwMode="auto">
            <a:xfrm>
              <a:off x="11179115" y="5917211"/>
              <a:ext cx="55557" cy="17464"/>
            </a:xfrm>
            <a:custGeom>
              <a:avLst/>
              <a:gdLst>
                <a:gd name="T0" fmla="*/ 50 w 348"/>
                <a:gd name="T1" fmla="*/ 0 h 102"/>
                <a:gd name="T2" fmla="*/ 297 w 348"/>
                <a:gd name="T3" fmla="*/ 0 h 102"/>
                <a:gd name="T4" fmla="*/ 314 w 348"/>
                <a:gd name="T5" fmla="*/ 3 h 102"/>
                <a:gd name="T6" fmla="*/ 327 w 348"/>
                <a:gd name="T7" fmla="*/ 10 h 102"/>
                <a:gd name="T8" fmla="*/ 338 w 348"/>
                <a:gd name="T9" fmla="*/ 21 h 102"/>
                <a:gd name="T10" fmla="*/ 346 w 348"/>
                <a:gd name="T11" fmla="*/ 35 h 102"/>
                <a:gd name="T12" fmla="*/ 348 w 348"/>
                <a:gd name="T13" fmla="*/ 51 h 102"/>
                <a:gd name="T14" fmla="*/ 346 w 348"/>
                <a:gd name="T15" fmla="*/ 67 h 102"/>
                <a:gd name="T16" fmla="*/ 338 w 348"/>
                <a:gd name="T17" fmla="*/ 81 h 102"/>
                <a:gd name="T18" fmla="*/ 327 w 348"/>
                <a:gd name="T19" fmla="*/ 92 h 102"/>
                <a:gd name="T20" fmla="*/ 314 w 348"/>
                <a:gd name="T21" fmla="*/ 99 h 102"/>
                <a:gd name="T22" fmla="*/ 297 w 348"/>
                <a:gd name="T23" fmla="*/ 102 h 102"/>
                <a:gd name="T24" fmla="*/ 50 w 348"/>
                <a:gd name="T25" fmla="*/ 102 h 102"/>
                <a:gd name="T26" fmla="*/ 35 w 348"/>
                <a:gd name="T27" fmla="*/ 99 h 102"/>
                <a:gd name="T28" fmla="*/ 21 w 348"/>
                <a:gd name="T29" fmla="*/ 92 h 102"/>
                <a:gd name="T30" fmla="*/ 10 w 348"/>
                <a:gd name="T31" fmla="*/ 81 h 102"/>
                <a:gd name="T32" fmla="*/ 3 w 348"/>
                <a:gd name="T33" fmla="*/ 67 h 102"/>
                <a:gd name="T34" fmla="*/ 0 w 348"/>
                <a:gd name="T35" fmla="*/ 51 h 102"/>
                <a:gd name="T36" fmla="*/ 3 w 348"/>
                <a:gd name="T37" fmla="*/ 35 h 102"/>
                <a:gd name="T38" fmla="*/ 10 w 348"/>
                <a:gd name="T39" fmla="*/ 21 h 102"/>
                <a:gd name="T40" fmla="*/ 21 w 348"/>
                <a:gd name="T41" fmla="*/ 10 h 102"/>
                <a:gd name="T42" fmla="*/ 35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4" y="3"/>
                  </a:lnTo>
                  <a:lnTo>
                    <a:pt x="327" y="10"/>
                  </a:lnTo>
                  <a:lnTo>
                    <a:pt x="338" y="21"/>
                  </a:lnTo>
                  <a:lnTo>
                    <a:pt x="346" y="35"/>
                  </a:lnTo>
                  <a:lnTo>
                    <a:pt x="348" y="51"/>
                  </a:lnTo>
                  <a:lnTo>
                    <a:pt x="346" y="67"/>
                  </a:lnTo>
                  <a:lnTo>
                    <a:pt x="338" y="81"/>
                  </a:lnTo>
                  <a:lnTo>
                    <a:pt x="327" y="92"/>
                  </a:lnTo>
                  <a:lnTo>
                    <a:pt x="314" y="99"/>
                  </a:lnTo>
                  <a:lnTo>
                    <a:pt x="297" y="102"/>
                  </a:lnTo>
                  <a:lnTo>
                    <a:pt x="50" y="102"/>
                  </a:lnTo>
                  <a:lnTo>
                    <a:pt x="35" y="99"/>
                  </a:lnTo>
                  <a:lnTo>
                    <a:pt x="21" y="92"/>
                  </a:lnTo>
                  <a:lnTo>
                    <a:pt x="10" y="81"/>
                  </a:lnTo>
                  <a:lnTo>
                    <a:pt x="3" y="67"/>
                  </a:lnTo>
                  <a:lnTo>
                    <a:pt x="0" y="51"/>
                  </a:lnTo>
                  <a:lnTo>
                    <a:pt x="3" y="35"/>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1207" name="Freeform 365"/>
            <p:cNvSpPr>
              <a:spLocks/>
            </p:cNvSpPr>
            <p:nvPr/>
          </p:nvSpPr>
          <p:spPr bwMode="auto">
            <a:xfrm>
              <a:off x="11253720" y="5917211"/>
              <a:ext cx="55557" cy="15877"/>
            </a:xfrm>
            <a:custGeom>
              <a:avLst/>
              <a:gdLst>
                <a:gd name="T0" fmla="*/ 51 w 351"/>
                <a:gd name="T1" fmla="*/ 0 h 102"/>
                <a:gd name="T2" fmla="*/ 300 w 351"/>
                <a:gd name="T3" fmla="*/ 0 h 102"/>
                <a:gd name="T4" fmla="*/ 317 w 351"/>
                <a:gd name="T5" fmla="*/ 2 h 102"/>
                <a:gd name="T6" fmla="*/ 330 w 351"/>
                <a:gd name="T7" fmla="*/ 10 h 102"/>
                <a:gd name="T8" fmla="*/ 341 w 351"/>
                <a:gd name="T9" fmla="*/ 21 h 102"/>
                <a:gd name="T10" fmla="*/ 349 w 351"/>
                <a:gd name="T11" fmla="*/ 35 h 102"/>
                <a:gd name="T12" fmla="*/ 351 w 351"/>
                <a:gd name="T13" fmla="*/ 51 h 102"/>
                <a:gd name="T14" fmla="*/ 349 w 351"/>
                <a:gd name="T15" fmla="*/ 67 h 102"/>
                <a:gd name="T16" fmla="*/ 341 w 351"/>
                <a:gd name="T17" fmla="*/ 81 h 102"/>
                <a:gd name="T18" fmla="*/ 330 w 351"/>
                <a:gd name="T19" fmla="*/ 92 h 102"/>
                <a:gd name="T20" fmla="*/ 317 w 351"/>
                <a:gd name="T21" fmla="*/ 100 h 102"/>
                <a:gd name="T22" fmla="*/ 300 w 351"/>
                <a:gd name="T23" fmla="*/ 102 h 102"/>
                <a:gd name="T24" fmla="*/ 51 w 351"/>
                <a:gd name="T25" fmla="*/ 102 h 102"/>
                <a:gd name="T26" fmla="*/ 35 w 351"/>
                <a:gd name="T27" fmla="*/ 100 h 102"/>
                <a:gd name="T28" fmla="*/ 21 w 351"/>
                <a:gd name="T29" fmla="*/ 92 h 102"/>
                <a:gd name="T30" fmla="*/ 10 w 351"/>
                <a:gd name="T31" fmla="*/ 81 h 102"/>
                <a:gd name="T32" fmla="*/ 2 w 351"/>
                <a:gd name="T33" fmla="*/ 67 h 102"/>
                <a:gd name="T34" fmla="*/ 0 w 351"/>
                <a:gd name="T35" fmla="*/ 51 h 102"/>
                <a:gd name="T36" fmla="*/ 2 w 351"/>
                <a:gd name="T37" fmla="*/ 35 h 102"/>
                <a:gd name="T38" fmla="*/ 10 w 351"/>
                <a:gd name="T39" fmla="*/ 21 h 102"/>
                <a:gd name="T40" fmla="*/ 21 w 351"/>
                <a:gd name="T41" fmla="*/ 10 h 102"/>
                <a:gd name="T42" fmla="*/ 35 w 351"/>
                <a:gd name="T43" fmla="*/ 2 h 102"/>
                <a:gd name="T44" fmla="*/ 51 w 351"/>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102">
                  <a:moveTo>
                    <a:pt x="51" y="0"/>
                  </a:moveTo>
                  <a:lnTo>
                    <a:pt x="300" y="0"/>
                  </a:lnTo>
                  <a:lnTo>
                    <a:pt x="317" y="2"/>
                  </a:lnTo>
                  <a:lnTo>
                    <a:pt x="330" y="10"/>
                  </a:lnTo>
                  <a:lnTo>
                    <a:pt x="341" y="21"/>
                  </a:lnTo>
                  <a:lnTo>
                    <a:pt x="349" y="35"/>
                  </a:lnTo>
                  <a:lnTo>
                    <a:pt x="351" y="51"/>
                  </a:lnTo>
                  <a:lnTo>
                    <a:pt x="349" y="67"/>
                  </a:lnTo>
                  <a:lnTo>
                    <a:pt x="341" y="81"/>
                  </a:lnTo>
                  <a:lnTo>
                    <a:pt x="330" y="92"/>
                  </a:lnTo>
                  <a:lnTo>
                    <a:pt x="317" y="100"/>
                  </a:lnTo>
                  <a:lnTo>
                    <a:pt x="300" y="102"/>
                  </a:lnTo>
                  <a:lnTo>
                    <a:pt x="51" y="102"/>
                  </a:lnTo>
                  <a:lnTo>
                    <a:pt x="35" y="100"/>
                  </a:lnTo>
                  <a:lnTo>
                    <a:pt x="21" y="92"/>
                  </a:lnTo>
                  <a:lnTo>
                    <a:pt x="10" y="81"/>
                  </a:lnTo>
                  <a:lnTo>
                    <a:pt x="2" y="67"/>
                  </a:lnTo>
                  <a:lnTo>
                    <a:pt x="0" y="51"/>
                  </a:lnTo>
                  <a:lnTo>
                    <a:pt x="2" y="35"/>
                  </a:lnTo>
                  <a:lnTo>
                    <a:pt x="10" y="21"/>
                  </a:lnTo>
                  <a:lnTo>
                    <a:pt x="21" y="10"/>
                  </a:lnTo>
                  <a:lnTo>
                    <a:pt x="35" y="2"/>
                  </a:lnTo>
                  <a:lnTo>
                    <a:pt x="51" y="0"/>
                  </a:lnTo>
                  <a:close/>
                </a:path>
              </a:pathLst>
            </a:custGeom>
            <a:solidFill>
              <a:schemeClr val="accent5"/>
            </a:solidFill>
            <a:ln>
              <a:noFill/>
            </a:ln>
          </p:spPr>
          <p:txBody>
            <a:bodyPr/>
            <a:lstStyle/>
            <a:p>
              <a:endParaRPr lang="de-DE" dirty="0"/>
            </a:p>
          </p:txBody>
        </p:sp>
        <p:sp>
          <p:nvSpPr>
            <p:cNvPr id="1208" name="Freeform 366"/>
            <p:cNvSpPr>
              <a:spLocks/>
            </p:cNvSpPr>
            <p:nvPr/>
          </p:nvSpPr>
          <p:spPr bwMode="auto">
            <a:xfrm>
              <a:off x="11325151" y="5920387"/>
              <a:ext cx="47620" cy="14289"/>
            </a:xfrm>
            <a:custGeom>
              <a:avLst/>
              <a:gdLst>
                <a:gd name="T0" fmla="*/ 46 w 304"/>
                <a:gd name="T1" fmla="*/ 0 h 94"/>
                <a:gd name="T2" fmla="*/ 258 w 304"/>
                <a:gd name="T3" fmla="*/ 0 h 94"/>
                <a:gd name="T4" fmla="*/ 272 w 304"/>
                <a:gd name="T5" fmla="*/ 3 h 94"/>
                <a:gd name="T6" fmla="*/ 285 w 304"/>
                <a:gd name="T7" fmla="*/ 10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8 w 304"/>
                <a:gd name="T23" fmla="*/ 94 h 94"/>
                <a:gd name="T24" fmla="*/ 46 w 304"/>
                <a:gd name="T25" fmla="*/ 94 h 94"/>
                <a:gd name="T26" fmla="*/ 32 w 304"/>
                <a:gd name="T27" fmla="*/ 92 h 94"/>
                <a:gd name="T28" fmla="*/ 19 w 304"/>
                <a:gd name="T29" fmla="*/ 85 h 94"/>
                <a:gd name="T30" fmla="*/ 9 w 304"/>
                <a:gd name="T31" fmla="*/ 75 h 94"/>
                <a:gd name="T32" fmla="*/ 2 w 304"/>
                <a:gd name="T33" fmla="*/ 62 h 94"/>
                <a:gd name="T34" fmla="*/ 0 w 304"/>
                <a:gd name="T35" fmla="*/ 47 h 94"/>
                <a:gd name="T36" fmla="*/ 2 w 304"/>
                <a:gd name="T37" fmla="*/ 32 h 94"/>
                <a:gd name="T38" fmla="*/ 9 w 304"/>
                <a:gd name="T39" fmla="*/ 20 h 94"/>
                <a:gd name="T40" fmla="*/ 19 w 304"/>
                <a:gd name="T41" fmla="*/ 10 h 94"/>
                <a:gd name="T42" fmla="*/ 32 w 304"/>
                <a:gd name="T43" fmla="*/ 3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8" y="0"/>
                  </a:lnTo>
                  <a:lnTo>
                    <a:pt x="272" y="3"/>
                  </a:lnTo>
                  <a:lnTo>
                    <a:pt x="285" y="10"/>
                  </a:lnTo>
                  <a:lnTo>
                    <a:pt x="295" y="20"/>
                  </a:lnTo>
                  <a:lnTo>
                    <a:pt x="302" y="32"/>
                  </a:lnTo>
                  <a:lnTo>
                    <a:pt x="304" y="47"/>
                  </a:lnTo>
                  <a:lnTo>
                    <a:pt x="302" y="62"/>
                  </a:lnTo>
                  <a:lnTo>
                    <a:pt x="295" y="75"/>
                  </a:lnTo>
                  <a:lnTo>
                    <a:pt x="285" y="85"/>
                  </a:lnTo>
                  <a:lnTo>
                    <a:pt x="272" y="92"/>
                  </a:lnTo>
                  <a:lnTo>
                    <a:pt x="258" y="94"/>
                  </a:lnTo>
                  <a:lnTo>
                    <a:pt x="46" y="94"/>
                  </a:lnTo>
                  <a:lnTo>
                    <a:pt x="32" y="92"/>
                  </a:lnTo>
                  <a:lnTo>
                    <a:pt x="19" y="85"/>
                  </a:lnTo>
                  <a:lnTo>
                    <a:pt x="9" y="75"/>
                  </a:lnTo>
                  <a:lnTo>
                    <a:pt x="2" y="62"/>
                  </a:lnTo>
                  <a:lnTo>
                    <a:pt x="0" y="47"/>
                  </a:lnTo>
                  <a:lnTo>
                    <a:pt x="2" y="32"/>
                  </a:lnTo>
                  <a:lnTo>
                    <a:pt x="9" y="20"/>
                  </a:lnTo>
                  <a:lnTo>
                    <a:pt x="19" y="10"/>
                  </a:lnTo>
                  <a:lnTo>
                    <a:pt x="32" y="3"/>
                  </a:lnTo>
                  <a:lnTo>
                    <a:pt x="46" y="0"/>
                  </a:lnTo>
                  <a:close/>
                </a:path>
              </a:pathLst>
            </a:custGeom>
            <a:solidFill>
              <a:schemeClr val="accent5"/>
            </a:solidFill>
            <a:ln>
              <a:noFill/>
            </a:ln>
          </p:spPr>
          <p:txBody>
            <a:bodyPr/>
            <a:lstStyle/>
            <a:p>
              <a:endParaRPr lang="de-DE" dirty="0"/>
            </a:p>
          </p:txBody>
        </p:sp>
        <p:sp>
          <p:nvSpPr>
            <p:cNvPr id="1209" name="Freeform 367"/>
            <p:cNvSpPr>
              <a:spLocks/>
            </p:cNvSpPr>
            <p:nvPr/>
          </p:nvSpPr>
          <p:spPr bwMode="auto">
            <a:xfrm>
              <a:off x="11391819" y="5920387"/>
              <a:ext cx="41271" cy="12701"/>
            </a:xfrm>
            <a:custGeom>
              <a:avLst/>
              <a:gdLst>
                <a:gd name="T0" fmla="*/ 42 w 260"/>
                <a:gd name="T1" fmla="*/ 0 h 85"/>
                <a:gd name="T2" fmla="*/ 217 w 260"/>
                <a:gd name="T3" fmla="*/ 0 h 85"/>
                <a:gd name="T4" fmla="*/ 234 w 260"/>
                <a:gd name="T5" fmla="*/ 3 h 85"/>
                <a:gd name="T6" fmla="*/ 248 w 260"/>
                <a:gd name="T7" fmla="*/ 12 h 85"/>
                <a:gd name="T8" fmla="*/ 257 w 260"/>
                <a:gd name="T9" fmla="*/ 25 h 85"/>
                <a:gd name="T10" fmla="*/ 260 w 260"/>
                <a:gd name="T11" fmla="*/ 42 h 85"/>
                <a:gd name="T12" fmla="*/ 257 w 260"/>
                <a:gd name="T13" fmla="*/ 58 h 85"/>
                <a:gd name="T14" fmla="*/ 248 w 260"/>
                <a:gd name="T15" fmla="*/ 73 h 85"/>
                <a:gd name="T16" fmla="*/ 234 w 260"/>
                <a:gd name="T17" fmla="*/ 81 h 85"/>
                <a:gd name="T18" fmla="*/ 217 w 260"/>
                <a:gd name="T19" fmla="*/ 85 h 85"/>
                <a:gd name="T20" fmla="*/ 42 w 260"/>
                <a:gd name="T21" fmla="*/ 85 h 85"/>
                <a:gd name="T22" fmla="*/ 29 w 260"/>
                <a:gd name="T23" fmla="*/ 83 h 85"/>
                <a:gd name="T24" fmla="*/ 18 w 260"/>
                <a:gd name="T25" fmla="*/ 76 h 85"/>
                <a:gd name="T26" fmla="*/ 8 w 260"/>
                <a:gd name="T27" fmla="*/ 67 h 85"/>
                <a:gd name="T28" fmla="*/ 2 w 260"/>
                <a:gd name="T29" fmla="*/ 55 h 85"/>
                <a:gd name="T30" fmla="*/ 0 w 260"/>
                <a:gd name="T31" fmla="*/ 42 h 85"/>
                <a:gd name="T32" fmla="*/ 2 w 260"/>
                <a:gd name="T33" fmla="*/ 28 h 85"/>
                <a:gd name="T34" fmla="*/ 8 w 260"/>
                <a:gd name="T35" fmla="*/ 16 h 85"/>
                <a:gd name="T36" fmla="*/ 18 w 260"/>
                <a:gd name="T37" fmla="*/ 7 h 85"/>
                <a:gd name="T38" fmla="*/ 29 w 260"/>
                <a:gd name="T39" fmla="*/ 1 h 85"/>
                <a:gd name="T40" fmla="*/ 42 w 260"/>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85">
                  <a:moveTo>
                    <a:pt x="42" y="0"/>
                  </a:moveTo>
                  <a:lnTo>
                    <a:pt x="217" y="0"/>
                  </a:lnTo>
                  <a:lnTo>
                    <a:pt x="234" y="3"/>
                  </a:lnTo>
                  <a:lnTo>
                    <a:pt x="248" y="12"/>
                  </a:lnTo>
                  <a:lnTo>
                    <a:pt x="257" y="25"/>
                  </a:lnTo>
                  <a:lnTo>
                    <a:pt x="260" y="42"/>
                  </a:lnTo>
                  <a:lnTo>
                    <a:pt x="257" y="58"/>
                  </a:lnTo>
                  <a:lnTo>
                    <a:pt x="248" y="73"/>
                  </a:lnTo>
                  <a:lnTo>
                    <a:pt x="234" y="81"/>
                  </a:lnTo>
                  <a:lnTo>
                    <a:pt x="217" y="85"/>
                  </a:lnTo>
                  <a:lnTo>
                    <a:pt x="42" y="85"/>
                  </a:lnTo>
                  <a:lnTo>
                    <a:pt x="29" y="83"/>
                  </a:lnTo>
                  <a:lnTo>
                    <a:pt x="18" y="76"/>
                  </a:lnTo>
                  <a:lnTo>
                    <a:pt x="8" y="67"/>
                  </a:lnTo>
                  <a:lnTo>
                    <a:pt x="2" y="55"/>
                  </a:lnTo>
                  <a:lnTo>
                    <a:pt x="0" y="42"/>
                  </a:lnTo>
                  <a:lnTo>
                    <a:pt x="2" y="28"/>
                  </a:lnTo>
                  <a:lnTo>
                    <a:pt x="8" y="16"/>
                  </a:lnTo>
                  <a:lnTo>
                    <a:pt x="18" y="7"/>
                  </a:lnTo>
                  <a:lnTo>
                    <a:pt x="29" y="1"/>
                  </a:lnTo>
                  <a:lnTo>
                    <a:pt x="42" y="0"/>
                  </a:lnTo>
                  <a:close/>
                </a:path>
              </a:pathLst>
            </a:custGeom>
            <a:solidFill>
              <a:schemeClr val="accent5"/>
            </a:solidFill>
            <a:ln>
              <a:noFill/>
            </a:ln>
          </p:spPr>
          <p:txBody>
            <a:bodyPr/>
            <a:lstStyle/>
            <a:p>
              <a:endParaRPr lang="de-DE" dirty="0"/>
            </a:p>
          </p:txBody>
        </p:sp>
        <p:sp>
          <p:nvSpPr>
            <p:cNvPr id="1210" name="Freeform 368"/>
            <p:cNvSpPr>
              <a:spLocks/>
            </p:cNvSpPr>
            <p:nvPr/>
          </p:nvSpPr>
          <p:spPr bwMode="auto">
            <a:xfrm>
              <a:off x="10982285" y="5971192"/>
              <a:ext cx="50795" cy="15877"/>
            </a:xfrm>
            <a:custGeom>
              <a:avLst/>
              <a:gdLst>
                <a:gd name="T0" fmla="*/ 48 w 311"/>
                <a:gd name="T1" fmla="*/ 0 h 95"/>
                <a:gd name="T2" fmla="*/ 263 w 311"/>
                <a:gd name="T3" fmla="*/ 0 h 95"/>
                <a:gd name="T4" fmla="*/ 278 w 311"/>
                <a:gd name="T5" fmla="*/ 2 h 95"/>
                <a:gd name="T6" fmla="*/ 291 w 311"/>
                <a:gd name="T7" fmla="*/ 8 h 95"/>
                <a:gd name="T8" fmla="*/ 301 w 311"/>
                <a:gd name="T9" fmla="*/ 18 h 95"/>
                <a:gd name="T10" fmla="*/ 309 w 311"/>
                <a:gd name="T11" fmla="*/ 32 h 95"/>
                <a:gd name="T12" fmla="*/ 311 w 311"/>
                <a:gd name="T13" fmla="*/ 47 h 95"/>
                <a:gd name="T14" fmla="*/ 309 w 311"/>
                <a:gd name="T15" fmla="*/ 61 h 95"/>
                <a:gd name="T16" fmla="*/ 301 w 311"/>
                <a:gd name="T17" fmla="*/ 75 h 95"/>
                <a:gd name="T18" fmla="*/ 291 w 311"/>
                <a:gd name="T19" fmla="*/ 85 h 95"/>
                <a:gd name="T20" fmla="*/ 278 w 311"/>
                <a:gd name="T21" fmla="*/ 92 h 95"/>
                <a:gd name="T22" fmla="*/ 263 w 311"/>
                <a:gd name="T23" fmla="*/ 95 h 95"/>
                <a:gd name="T24" fmla="*/ 48 w 311"/>
                <a:gd name="T25" fmla="*/ 95 h 95"/>
                <a:gd name="T26" fmla="*/ 32 w 311"/>
                <a:gd name="T27" fmla="*/ 92 h 95"/>
                <a:gd name="T28" fmla="*/ 19 w 311"/>
                <a:gd name="T29" fmla="*/ 85 h 95"/>
                <a:gd name="T30" fmla="*/ 9 w 311"/>
                <a:gd name="T31" fmla="*/ 75 h 95"/>
                <a:gd name="T32" fmla="*/ 2 w 311"/>
                <a:gd name="T33" fmla="*/ 61 h 95"/>
                <a:gd name="T34" fmla="*/ 0 w 311"/>
                <a:gd name="T35" fmla="*/ 47 h 95"/>
                <a:gd name="T36" fmla="*/ 2 w 311"/>
                <a:gd name="T37" fmla="*/ 32 h 95"/>
                <a:gd name="T38" fmla="*/ 9 w 311"/>
                <a:gd name="T39" fmla="*/ 18 h 95"/>
                <a:gd name="T40" fmla="*/ 19 w 311"/>
                <a:gd name="T41" fmla="*/ 8 h 95"/>
                <a:gd name="T42" fmla="*/ 32 w 311"/>
                <a:gd name="T43" fmla="*/ 2 h 95"/>
                <a:gd name="T44" fmla="*/ 48 w 311"/>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1" h="95">
                  <a:moveTo>
                    <a:pt x="48" y="0"/>
                  </a:moveTo>
                  <a:lnTo>
                    <a:pt x="263" y="0"/>
                  </a:lnTo>
                  <a:lnTo>
                    <a:pt x="278" y="2"/>
                  </a:lnTo>
                  <a:lnTo>
                    <a:pt x="291" y="8"/>
                  </a:lnTo>
                  <a:lnTo>
                    <a:pt x="301" y="18"/>
                  </a:lnTo>
                  <a:lnTo>
                    <a:pt x="309" y="32"/>
                  </a:lnTo>
                  <a:lnTo>
                    <a:pt x="311" y="47"/>
                  </a:lnTo>
                  <a:lnTo>
                    <a:pt x="309" y="61"/>
                  </a:lnTo>
                  <a:lnTo>
                    <a:pt x="301" y="75"/>
                  </a:lnTo>
                  <a:lnTo>
                    <a:pt x="291" y="85"/>
                  </a:lnTo>
                  <a:lnTo>
                    <a:pt x="278" y="92"/>
                  </a:lnTo>
                  <a:lnTo>
                    <a:pt x="263" y="95"/>
                  </a:lnTo>
                  <a:lnTo>
                    <a:pt x="48" y="95"/>
                  </a:lnTo>
                  <a:lnTo>
                    <a:pt x="32" y="92"/>
                  </a:lnTo>
                  <a:lnTo>
                    <a:pt x="19" y="85"/>
                  </a:lnTo>
                  <a:lnTo>
                    <a:pt x="9" y="75"/>
                  </a:lnTo>
                  <a:lnTo>
                    <a:pt x="2" y="61"/>
                  </a:lnTo>
                  <a:lnTo>
                    <a:pt x="0" y="47"/>
                  </a:lnTo>
                  <a:lnTo>
                    <a:pt x="2" y="32"/>
                  </a:lnTo>
                  <a:lnTo>
                    <a:pt x="9" y="18"/>
                  </a:lnTo>
                  <a:lnTo>
                    <a:pt x="19" y="8"/>
                  </a:lnTo>
                  <a:lnTo>
                    <a:pt x="32" y="2"/>
                  </a:lnTo>
                  <a:lnTo>
                    <a:pt x="48" y="0"/>
                  </a:lnTo>
                  <a:close/>
                </a:path>
              </a:pathLst>
            </a:custGeom>
            <a:solidFill>
              <a:schemeClr val="accent5"/>
            </a:solidFill>
            <a:ln>
              <a:noFill/>
            </a:ln>
          </p:spPr>
          <p:txBody>
            <a:bodyPr/>
            <a:lstStyle/>
            <a:p>
              <a:endParaRPr lang="de-DE" dirty="0"/>
            </a:p>
          </p:txBody>
        </p:sp>
        <p:sp>
          <p:nvSpPr>
            <p:cNvPr id="1211" name="Freeform 369"/>
            <p:cNvSpPr>
              <a:spLocks/>
            </p:cNvSpPr>
            <p:nvPr/>
          </p:nvSpPr>
          <p:spPr bwMode="auto">
            <a:xfrm>
              <a:off x="11047366" y="5975955"/>
              <a:ext cx="39684" cy="14289"/>
            </a:xfrm>
            <a:custGeom>
              <a:avLst/>
              <a:gdLst>
                <a:gd name="T0" fmla="*/ 42 w 248"/>
                <a:gd name="T1" fmla="*/ 0 h 83"/>
                <a:gd name="T2" fmla="*/ 206 w 248"/>
                <a:gd name="T3" fmla="*/ 0 h 83"/>
                <a:gd name="T4" fmla="*/ 222 w 248"/>
                <a:gd name="T5" fmla="*/ 4 h 83"/>
                <a:gd name="T6" fmla="*/ 236 w 248"/>
                <a:gd name="T7" fmla="*/ 13 h 83"/>
                <a:gd name="T8" fmla="*/ 244 w 248"/>
                <a:gd name="T9" fmla="*/ 26 h 83"/>
                <a:gd name="T10" fmla="*/ 248 w 248"/>
                <a:gd name="T11" fmla="*/ 42 h 83"/>
                <a:gd name="T12" fmla="*/ 244 w 248"/>
                <a:gd name="T13" fmla="*/ 59 h 83"/>
                <a:gd name="T14" fmla="*/ 236 w 248"/>
                <a:gd name="T15" fmla="*/ 71 h 83"/>
                <a:gd name="T16" fmla="*/ 222 w 248"/>
                <a:gd name="T17" fmla="*/ 81 h 83"/>
                <a:gd name="T18" fmla="*/ 206 w 248"/>
                <a:gd name="T19" fmla="*/ 83 h 83"/>
                <a:gd name="T20" fmla="*/ 42 w 248"/>
                <a:gd name="T21" fmla="*/ 83 h 83"/>
                <a:gd name="T22" fmla="*/ 25 w 248"/>
                <a:gd name="T23" fmla="*/ 81 h 83"/>
                <a:gd name="T24" fmla="*/ 12 w 248"/>
                <a:gd name="T25" fmla="*/ 72 h 83"/>
                <a:gd name="T26" fmla="*/ 3 w 248"/>
                <a:gd name="T27" fmla="*/ 59 h 83"/>
                <a:gd name="T28" fmla="*/ 0 w 248"/>
                <a:gd name="T29" fmla="*/ 42 h 83"/>
                <a:gd name="T30" fmla="*/ 3 w 248"/>
                <a:gd name="T31" fmla="*/ 26 h 83"/>
                <a:gd name="T32" fmla="*/ 12 w 248"/>
                <a:gd name="T33" fmla="*/ 13 h 83"/>
                <a:gd name="T34" fmla="*/ 25 w 248"/>
                <a:gd name="T35" fmla="*/ 4 h 83"/>
                <a:gd name="T36" fmla="*/ 42 w 248"/>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8" h="83">
                  <a:moveTo>
                    <a:pt x="42" y="0"/>
                  </a:moveTo>
                  <a:lnTo>
                    <a:pt x="206" y="0"/>
                  </a:lnTo>
                  <a:lnTo>
                    <a:pt x="222" y="4"/>
                  </a:lnTo>
                  <a:lnTo>
                    <a:pt x="236" y="13"/>
                  </a:lnTo>
                  <a:lnTo>
                    <a:pt x="244" y="26"/>
                  </a:lnTo>
                  <a:lnTo>
                    <a:pt x="248" y="42"/>
                  </a:lnTo>
                  <a:lnTo>
                    <a:pt x="244" y="59"/>
                  </a:lnTo>
                  <a:lnTo>
                    <a:pt x="236" y="71"/>
                  </a:lnTo>
                  <a:lnTo>
                    <a:pt x="222" y="81"/>
                  </a:lnTo>
                  <a:lnTo>
                    <a:pt x="206" y="83"/>
                  </a:lnTo>
                  <a:lnTo>
                    <a:pt x="42" y="83"/>
                  </a:lnTo>
                  <a:lnTo>
                    <a:pt x="25" y="81"/>
                  </a:lnTo>
                  <a:lnTo>
                    <a:pt x="12" y="72"/>
                  </a:lnTo>
                  <a:lnTo>
                    <a:pt x="3" y="59"/>
                  </a:lnTo>
                  <a:lnTo>
                    <a:pt x="0" y="42"/>
                  </a:lnTo>
                  <a:lnTo>
                    <a:pt x="3" y="26"/>
                  </a:lnTo>
                  <a:lnTo>
                    <a:pt x="12" y="13"/>
                  </a:lnTo>
                  <a:lnTo>
                    <a:pt x="25" y="4"/>
                  </a:lnTo>
                  <a:lnTo>
                    <a:pt x="42" y="0"/>
                  </a:lnTo>
                  <a:close/>
                </a:path>
              </a:pathLst>
            </a:custGeom>
            <a:solidFill>
              <a:schemeClr val="accent5"/>
            </a:solidFill>
            <a:ln>
              <a:noFill/>
            </a:ln>
          </p:spPr>
          <p:txBody>
            <a:bodyPr/>
            <a:lstStyle/>
            <a:p>
              <a:endParaRPr lang="de-DE" dirty="0"/>
            </a:p>
          </p:txBody>
        </p:sp>
        <p:sp>
          <p:nvSpPr>
            <p:cNvPr id="1212" name="Freeform 370"/>
            <p:cNvSpPr>
              <a:spLocks/>
            </p:cNvSpPr>
            <p:nvPr/>
          </p:nvSpPr>
          <p:spPr bwMode="auto">
            <a:xfrm>
              <a:off x="11118796" y="5974368"/>
              <a:ext cx="47620" cy="14289"/>
            </a:xfrm>
            <a:custGeom>
              <a:avLst/>
              <a:gdLst>
                <a:gd name="T0" fmla="*/ 47 w 300"/>
                <a:gd name="T1" fmla="*/ 0 h 93"/>
                <a:gd name="T2" fmla="*/ 254 w 300"/>
                <a:gd name="T3" fmla="*/ 0 h 93"/>
                <a:gd name="T4" fmla="*/ 268 w 300"/>
                <a:gd name="T5" fmla="*/ 2 h 93"/>
                <a:gd name="T6" fmla="*/ 281 w 300"/>
                <a:gd name="T7" fmla="*/ 9 h 93"/>
                <a:gd name="T8" fmla="*/ 291 w 300"/>
                <a:gd name="T9" fmla="*/ 19 h 93"/>
                <a:gd name="T10" fmla="*/ 298 w 300"/>
                <a:gd name="T11" fmla="*/ 32 h 93"/>
                <a:gd name="T12" fmla="*/ 300 w 300"/>
                <a:gd name="T13" fmla="*/ 47 h 93"/>
                <a:gd name="T14" fmla="*/ 298 w 300"/>
                <a:gd name="T15" fmla="*/ 61 h 93"/>
                <a:gd name="T16" fmla="*/ 291 w 300"/>
                <a:gd name="T17" fmla="*/ 74 h 93"/>
                <a:gd name="T18" fmla="*/ 281 w 300"/>
                <a:gd name="T19" fmla="*/ 84 h 93"/>
                <a:gd name="T20" fmla="*/ 268 w 300"/>
                <a:gd name="T21" fmla="*/ 91 h 93"/>
                <a:gd name="T22" fmla="*/ 254 w 300"/>
                <a:gd name="T23" fmla="*/ 93 h 93"/>
                <a:gd name="T24" fmla="*/ 47 w 300"/>
                <a:gd name="T25" fmla="*/ 93 h 93"/>
                <a:gd name="T26" fmla="*/ 32 w 300"/>
                <a:gd name="T27" fmla="*/ 91 h 93"/>
                <a:gd name="T28" fmla="*/ 19 w 300"/>
                <a:gd name="T29" fmla="*/ 84 h 93"/>
                <a:gd name="T30" fmla="*/ 9 w 300"/>
                <a:gd name="T31" fmla="*/ 74 h 93"/>
                <a:gd name="T32" fmla="*/ 3 w 300"/>
                <a:gd name="T33" fmla="*/ 61 h 93"/>
                <a:gd name="T34" fmla="*/ 0 w 300"/>
                <a:gd name="T35" fmla="*/ 47 h 93"/>
                <a:gd name="T36" fmla="*/ 3 w 300"/>
                <a:gd name="T37" fmla="*/ 32 h 93"/>
                <a:gd name="T38" fmla="*/ 9 w 300"/>
                <a:gd name="T39" fmla="*/ 19 h 93"/>
                <a:gd name="T40" fmla="*/ 19 w 300"/>
                <a:gd name="T41" fmla="*/ 9 h 93"/>
                <a:gd name="T42" fmla="*/ 32 w 300"/>
                <a:gd name="T43" fmla="*/ 2 h 93"/>
                <a:gd name="T44" fmla="*/ 47 w 300"/>
                <a:gd name="T4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93">
                  <a:moveTo>
                    <a:pt x="47" y="0"/>
                  </a:moveTo>
                  <a:lnTo>
                    <a:pt x="254" y="0"/>
                  </a:lnTo>
                  <a:lnTo>
                    <a:pt x="268" y="2"/>
                  </a:lnTo>
                  <a:lnTo>
                    <a:pt x="281" y="9"/>
                  </a:lnTo>
                  <a:lnTo>
                    <a:pt x="291" y="19"/>
                  </a:lnTo>
                  <a:lnTo>
                    <a:pt x="298" y="32"/>
                  </a:lnTo>
                  <a:lnTo>
                    <a:pt x="300" y="47"/>
                  </a:lnTo>
                  <a:lnTo>
                    <a:pt x="298" y="61"/>
                  </a:lnTo>
                  <a:lnTo>
                    <a:pt x="291" y="74"/>
                  </a:lnTo>
                  <a:lnTo>
                    <a:pt x="281" y="84"/>
                  </a:lnTo>
                  <a:lnTo>
                    <a:pt x="268" y="91"/>
                  </a:lnTo>
                  <a:lnTo>
                    <a:pt x="254" y="93"/>
                  </a:lnTo>
                  <a:lnTo>
                    <a:pt x="47" y="93"/>
                  </a:lnTo>
                  <a:lnTo>
                    <a:pt x="32" y="91"/>
                  </a:lnTo>
                  <a:lnTo>
                    <a:pt x="19" y="84"/>
                  </a:lnTo>
                  <a:lnTo>
                    <a:pt x="9" y="74"/>
                  </a:lnTo>
                  <a:lnTo>
                    <a:pt x="3" y="61"/>
                  </a:lnTo>
                  <a:lnTo>
                    <a:pt x="0" y="47"/>
                  </a:lnTo>
                  <a:lnTo>
                    <a:pt x="3" y="32"/>
                  </a:lnTo>
                  <a:lnTo>
                    <a:pt x="9" y="19"/>
                  </a:lnTo>
                  <a:lnTo>
                    <a:pt x="19" y="9"/>
                  </a:lnTo>
                  <a:lnTo>
                    <a:pt x="32" y="2"/>
                  </a:lnTo>
                  <a:lnTo>
                    <a:pt x="47" y="0"/>
                  </a:lnTo>
                  <a:close/>
                </a:path>
              </a:pathLst>
            </a:custGeom>
            <a:solidFill>
              <a:schemeClr val="accent5"/>
            </a:solidFill>
            <a:ln>
              <a:noFill/>
            </a:ln>
          </p:spPr>
          <p:txBody>
            <a:bodyPr/>
            <a:lstStyle/>
            <a:p>
              <a:endParaRPr lang="de-DE" dirty="0"/>
            </a:p>
          </p:txBody>
        </p:sp>
        <p:sp>
          <p:nvSpPr>
            <p:cNvPr id="1213" name="Freeform 371"/>
            <p:cNvSpPr>
              <a:spLocks/>
            </p:cNvSpPr>
            <p:nvPr/>
          </p:nvSpPr>
          <p:spPr bwMode="auto">
            <a:xfrm>
              <a:off x="11179115" y="5972780"/>
              <a:ext cx="50795" cy="15877"/>
            </a:xfrm>
            <a:custGeom>
              <a:avLst/>
              <a:gdLst>
                <a:gd name="T0" fmla="*/ 48 w 312"/>
                <a:gd name="T1" fmla="*/ 0 h 95"/>
                <a:gd name="T2" fmla="*/ 264 w 312"/>
                <a:gd name="T3" fmla="*/ 0 h 95"/>
                <a:gd name="T4" fmla="*/ 279 w 312"/>
                <a:gd name="T5" fmla="*/ 3 h 95"/>
                <a:gd name="T6" fmla="*/ 292 w 312"/>
                <a:gd name="T7" fmla="*/ 9 h 95"/>
                <a:gd name="T8" fmla="*/ 302 w 312"/>
                <a:gd name="T9" fmla="*/ 20 h 95"/>
                <a:gd name="T10" fmla="*/ 309 w 312"/>
                <a:gd name="T11" fmla="*/ 32 h 95"/>
                <a:gd name="T12" fmla="*/ 312 w 312"/>
                <a:gd name="T13" fmla="*/ 48 h 95"/>
                <a:gd name="T14" fmla="*/ 309 w 312"/>
                <a:gd name="T15" fmla="*/ 62 h 95"/>
                <a:gd name="T16" fmla="*/ 302 w 312"/>
                <a:gd name="T17" fmla="*/ 75 h 95"/>
                <a:gd name="T18" fmla="*/ 292 w 312"/>
                <a:gd name="T19" fmla="*/ 86 h 95"/>
                <a:gd name="T20" fmla="*/ 279 w 312"/>
                <a:gd name="T21" fmla="*/ 93 h 95"/>
                <a:gd name="T22" fmla="*/ 264 w 312"/>
                <a:gd name="T23" fmla="*/ 95 h 95"/>
                <a:gd name="T24" fmla="*/ 48 w 312"/>
                <a:gd name="T25" fmla="*/ 95 h 95"/>
                <a:gd name="T26" fmla="*/ 33 w 312"/>
                <a:gd name="T27" fmla="*/ 93 h 95"/>
                <a:gd name="T28" fmla="*/ 20 w 312"/>
                <a:gd name="T29" fmla="*/ 86 h 95"/>
                <a:gd name="T30" fmla="*/ 10 w 312"/>
                <a:gd name="T31" fmla="*/ 75 h 95"/>
                <a:gd name="T32" fmla="*/ 3 w 312"/>
                <a:gd name="T33" fmla="*/ 62 h 95"/>
                <a:gd name="T34" fmla="*/ 0 w 312"/>
                <a:gd name="T35" fmla="*/ 48 h 95"/>
                <a:gd name="T36" fmla="*/ 3 w 312"/>
                <a:gd name="T37" fmla="*/ 32 h 95"/>
                <a:gd name="T38" fmla="*/ 10 w 312"/>
                <a:gd name="T39" fmla="*/ 20 h 95"/>
                <a:gd name="T40" fmla="*/ 20 w 312"/>
                <a:gd name="T41" fmla="*/ 9 h 95"/>
                <a:gd name="T42" fmla="*/ 33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4" y="0"/>
                  </a:lnTo>
                  <a:lnTo>
                    <a:pt x="279" y="3"/>
                  </a:lnTo>
                  <a:lnTo>
                    <a:pt x="292" y="9"/>
                  </a:lnTo>
                  <a:lnTo>
                    <a:pt x="302" y="20"/>
                  </a:lnTo>
                  <a:lnTo>
                    <a:pt x="309" y="32"/>
                  </a:lnTo>
                  <a:lnTo>
                    <a:pt x="312" y="48"/>
                  </a:lnTo>
                  <a:lnTo>
                    <a:pt x="309" y="62"/>
                  </a:lnTo>
                  <a:lnTo>
                    <a:pt x="302" y="75"/>
                  </a:lnTo>
                  <a:lnTo>
                    <a:pt x="292" y="86"/>
                  </a:lnTo>
                  <a:lnTo>
                    <a:pt x="279" y="93"/>
                  </a:lnTo>
                  <a:lnTo>
                    <a:pt x="264" y="95"/>
                  </a:lnTo>
                  <a:lnTo>
                    <a:pt x="48" y="95"/>
                  </a:lnTo>
                  <a:lnTo>
                    <a:pt x="33" y="93"/>
                  </a:lnTo>
                  <a:lnTo>
                    <a:pt x="20" y="86"/>
                  </a:lnTo>
                  <a:lnTo>
                    <a:pt x="10" y="75"/>
                  </a:lnTo>
                  <a:lnTo>
                    <a:pt x="3" y="62"/>
                  </a:lnTo>
                  <a:lnTo>
                    <a:pt x="0" y="48"/>
                  </a:lnTo>
                  <a:lnTo>
                    <a:pt x="3" y="32"/>
                  </a:lnTo>
                  <a:lnTo>
                    <a:pt x="10" y="20"/>
                  </a:lnTo>
                  <a:lnTo>
                    <a:pt x="20" y="9"/>
                  </a:lnTo>
                  <a:lnTo>
                    <a:pt x="33" y="3"/>
                  </a:lnTo>
                  <a:lnTo>
                    <a:pt x="48" y="0"/>
                  </a:lnTo>
                  <a:close/>
                </a:path>
              </a:pathLst>
            </a:custGeom>
            <a:solidFill>
              <a:schemeClr val="accent5"/>
            </a:solidFill>
            <a:ln>
              <a:noFill/>
            </a:ln>
          </p:spPr>
          <p:txBody>
            <a:bodyPr/>
            <a:lstStyle/>
            <a:p>
              <a:endParaRPr lang="de-DE" dirty="0"/>
            </a:p>
          </p:txBody>
        </p:sp>
        <p:sp>
          <p:nvSpPr>
            <p:cNvPr id="1214" name="Freeform 372"/>
            <p:cNvSpPr>
              <a:spLocks/>
            </p:cNvSpPr>
            <p:nvPr/>
          </p:nvSpPr>
          <p:spPr bwMode="auto">
            <a:xfrm>
              <a:off x="11261657" y="5975955"/>
              <a:ext cx="41271" cy="14289"/>
            </a:xfrm>
            <a:custGeom>
              <a:avLst/>
              <a:gdLst>
                <a:gd name="T0" fmla="*/ 45 w 267"/>
                <a:gd name="T1" fmla="*/ 0 h 86"/>
                <a:gd name="T2" fmla="*/ 224 w 267"/>
                <a:gd name="T3" fmla="*/ 0 h 86"/>
                <a:gd name="T4" fmla="*/ 237 w 267"/>
                <a:gd name="T5" fmla="*/ 2 h 86"/>
                <a:gd name="T6" fmla="*/ 249 w 267"/>
                <a:gd name="T7" fmla="*/ 8 h 86"/>
                <a:gd name="T8" fmla="*/ 259 w 267"/>
                <a:gd name="T9" fmla="*/ 18 h 86"/>
                <a:gd name="T10" fmla="*/ 265 w 267"/>
                <a:gd name="T11" fmla="*/ 30 h 86"/>
                <a:gd name="T12" fmla="*/ 267 w 267"/>
                <a:gd name="T13" fmla="*/ 43 h 86"/>
                <a:gd name="T14" fmla="*/ 265 w 267"/>
                <a:gd name="T15" fmla="*/ 57 h 86"/>
                <a:gd name="T16" fmla="*/ 259 w 267"/>
                <a:gd name="T17" fmla="*/ 69 h 86"/>
                <a:gd name="T18" fmla="*/ 249 w 267"/>
                <a:gd name="T19" fmla="*/ 79 h 86"/>
                <a:gd name="T20" fmla="*/ 237 w 267"/>
                <a:gd name="T21" fmla="*/ 84 h 86"/>
                <a:gd name="T22" fmla="*/ 224 w 267"/>
                <a:gd name="T23" fmla="*/ 86 h 86"/>
                <a:gd name="T24" fmla="*/ 45 w 267"/>
                <a:gd name="T25" fmla="*/ 86 h 86"/>
                <a:gd name="T26" fmla="*/ 30 w 267"/>
                <a:gd name="T27" fmla="*/ 84 h 86"/>
                <a:gd name="T28" fmla="*/ 18 w 267"/>
                <a:gd name="T29" fmla="*/ 79 h 86"/>
                <a:gd name="T30" fmla="*/ 9 w 267"/>
                <a:gd name="T31" fmla="*/ 69 h 86"/>
                <a:gd name="T32" fmla="*/ 3 w 267"/>
                <a:gd name="T33" fmla="*/ 57 h 86"/>
                <a:gd name="T34" fmla="*/ 0 w 267"/>
                <a:gd name="T35" fmla="*/ 43 h 86"/>
                <a:gd name="T36" fmla="*/ 3 w 267"/>
                <a:gd name="T37" fmla="*/ 30 h 86"/>
                <a:gd name="T38" fmla="*/ 9 w 267"/>
                <a:gd name="T39" fmla="*/ 18 h 86"/>
                <a:gd name="T40" fmla="*/ 18 w 267"/>
                <a:gd name="T41" fmla="*/ 8 h 86"/>
                <a:gd name="T42" fmla="*/ 30 w 267"/>
                <a:gd name="T43" fmla="*/ 2 h 86"/>
                <a:gd name="T44" fmla="*/ 45 w 267"/>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7" h="86">
                  <a:moveTo>
                    <a:pt x="45" y="0"/>
                  </a:moveTo>
                  <a:lnTo>
                    <a:pt x="224" y="0"/>
                  </a:lnTo>
                  <a:lnTo>
                    <a:pt x="237" y="2"/>
                  </a:lnTo>
                  <a:lnTo>
                    <a:pt x="249" y="8"/>
                  </a:lnTo>
                  <a:lnTo>
                    <a:pt x="259" y="18"/>
                  </a:lnTo>
                  <a:lnTo>
                    <a:pt x="265" y="30"/>
                  </a:lnTo>
                  <a:lnTo>
                    <a:pt x="267" y="43"/>
                  </a:lnTo>
                  <a:lnTo>
                    <a:pt x="265" y="57"/>
                  </a:lnTo>
                  <a:lnTo>
                    <a:pt x="259" y="69"/>
                  </a:lnTo>
                  <a:lnTo>
                    <a:pt x="249" y="79"/>
                  </a:lnTo>
                  <a:lnTo>
                    <a:pt x="237" y="84"/>
                  </a:lnTo>
                  <a:lnTo>
                    <a:pt x="224" y="86"/>
                  </a:lnTo>
                  <a:lnTo>
                    <a:pt x="45" y="86"/>
                  </a:lnTo>
                  <a:lnTo>
                    <a:pt x="30" y="84"/>
                  </a:lnTo>
                  <a:lnTo>
                    <a:pt x="18" y="79"/>
                  </a:lnTo>
                  <a:lnTo>
                    <a:pt x="9" y="69"/>
                  </a:lnTo>
                  <a:lnTo>
                    <a:pt x="3" y="57"/>
                  </a:lnTo>
                  <a:lnTo>
                    <a:pt x="0" y="43"/>
                  </a:lnTo>
                  <a:lnTo>
                    <a:pt x="3" y="30"/>
                  </a:lnTo>
                  <a:lnTo>
                    <a:pt x="9" y="18"/>
                  </a:lnTo>
                  <a:lnTo>
                    <a:pt x="18" y="8"/>
                  </a:lnTo>
                  <a:lnTo>
                    <a:pt x="30" y="2"/>
                  </a:lnTo>
                  <a:lnTo>
                    <a:pt x="45" y="0"/>
                  </a:lnTo>
                  <a:close/>
                </a:path>
              </a:pathLst>
            </a:custGeom>
            <a:solidFill>
              <a:schemeClr val="accent5"/>
            </a:solidFill>
            <a:ln>
              <a:noFill/>
            </a:ln>
          </p:spPr>
          <p:txBody>
            <a:bodyPr/>
            <a:lstStyle/>
            <a:p>
              <a:endParaRPr lang="de-DE" dirty="0"/>
            </a:p>
          </p:txBody>
        </p:sp>
        <p:sp>
          <p:nvSpPr>
            <p:cNvPr id="1215" name="Freeform 373"/>
            <p:cNvSpPr>
              <a:spLocks/>
            </p:cNvSpPr>
            <p:nvPr/>
          </p:nvSpPr>
          <p:spPr bwMode="auto">
            <a:xfrm>
              <a:off x="11317214" y="5969605"/>
              <a:ext cx="53970" cy="15877"/>
            </a:xfrm>
            <a:custGeom>
              <a:avLst/>
              <a:gdLst>
                <a:gd name="T0" fmla="*/ 51 w 344"/>
                <a:gd name="T1" fmla="*/ 0 h 100"/>
                <a:gd name="T2" fmla="*/ 293 w 344"/>
                <a:gd name="T3" fmla="*/ 0 h 100"/>
                <a:gd name="T4" fmla="*/ 310 w 344"/>
                <a:gd name="T5" fmla="*/ 2 h 100"/>
                <a:gd name="T6" fmla="*/ 323 w 344"/>
                <a:gd name="T7" fmla="*/ 10 h 100"/>
                <a:gd name="T8" fmla="*/ 334 w 344"/>
                <a:gd name="T9" fmla="*/ 20 h 100"/>
                <a:gd name="T10" fmla="*/ 342 w 344"/>
                <a:gd name="T11" fmla="*/ 34 h 100"/>
                <a:gd name="T12" fmla="*/ 344 w 344"/>
                <a:gd name="T13" fmla="*/ 49 h 100"/>
                <a:gd name="T14" fmla="*/ 342 w 344"/>
                <a:gd name="T15" fmla="*/ 66 h 100"/>
                <a:gd name="T16" fmla="*/ 334 w 344"/>
                <a:gd name="T17" fmla="*/ 79 h 100"/>
                <a:gd name="T18" fmla="*/ 323 w 344"/>
                <a:gd name="T19" fmla="*/ 90 h 100"/>
                <a:gd name="T20" fmla="*/ 310 w 344"/>
                <a:gd name="T21" fmla="*/ 98 h 100"/>
                <a:gd name="T22" fmla="*/ 293 w 344"/>
                <a:gd name="T23" fmla="*/ 100 h 100"/>
                <a:gd name="T24" fmla="*/ 51 w 344"/>
                <a:gd name="T25" fmla="*/ 100 h 100"/>
                <a:gd name="T26" fmla="*/ 36 w 344"/>
                <a:gd name="T27" fmla="*/ 98 h 100"/>
                <a:gd name="T28" fmla="*/ 21 w 344"/>
                <a:gd name="T29" fmla="*/ 90 h 100"/>
                <a:gd name="T30" fmla="*/ 10 w 344"/>
                <a:gd name="T31" fmla="*/ 79 h 100"/>
                <a:gd name="T32" fmla="*/ 4 w 344"/>
                <a:gd name="T33" fmla="*/ 66 h 100"/>
                <a:gd name="T34" fmla="*/ 0 w 344"/>
                <a:gd name="T35" fmla="*/ 49 h 100"/>
                <a:gd name="T36" fmla="*/ 4 w 344"/>
                <a:gd name="T37" fmla="*/ 34 h 100"/>
                <a:gd name="T38" fmla="*/ 10 w 344"/>
                <a:gd name="T39" fmla="*/ 20 h 100"/>
                <a:gd name="T40" fmla="*/ 21 w 344"/>
                <a:gd name="T41" fmla="*/ 10 h 100"/>
                <a:gd name="T42" fmla="*/ 36 w 344"/>
                <a:gd name="T43" fmla="*/ 2 h 100"/>
                <a:gd name="T44" fmla="*/ 51 w 344"/>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0">
                  <a:moveTo>
                    <a:pt x="51" y="0"/>
                  </a:moveTo>
                  <a:lnTo>
                    <a:pt x="293" y="0"/>
                  </a:lnTo>
                  <a:lnTo>
                    <a:pt x="310" y="2"/>
                  </a:lnTo>
                  <a:lnTo>
                    <a:pt x="323" y="10"/>
                  </a:lnTo>
                  <a:lnTo>
                    <a:pt x="334" y="20"/>
                  </a:lnTo>
                  <a:lnTo>
                    <a:pt x="342" y="34"/>
                  </a:lnTo>
                  <a:lnTo>
                    <a:pt x="344" y="49"/>
                  </a:lnTo>
                  <a:lnTo>
                    <a:pt x="342" y="66"/>
                  </a:lnTo>
                  <a:lnTo>
                    <a:pt x="334" y="79"/>
                  </a:lnTo>
                  <a:lnTo>
                    <a:pt x="323" y="90"/>
                  </a:lnTo>
                  <a:lnTo>
                    <a:pt x="310" y="98"/>
                  </a:lnTo>
                  <a:lnTo>
                    <a:pt x="293" y="100"/>
                  </a:lnTo>
                  <a:lnTo>
                    <a:pt x="51" y="100"/>
                  </a:lnTo>
                  <a:lnTo>
                    <a:pt x="36" y="98"/>
                  </a:lnTo>
                  <a:lnTo>
                    <a:pt x="21" y="90"/>
                  </a:lnTo>
                  <a:lnTo>
                    <a:pt x="10" y="79"/>
                  </a:lnTo>
                  <a:lnTo>
                    <a:pt x="4" y="66"/>
                  </a:lnTo>
                  <a:lnTo>
                    <a:pt x="0" y="49"/>
                  </a:lnTo>
                  <a:lnTo>
                    <a:pt x="4" y="34"/>
                  </a:lnTo>
                  <a:lnTo>
                    <a:pt x="10" y="20"/>
                  </a:lnTo>
                  <a:lnTo>
                    <a:pt x="21" y="10"/>
                  </a:lnTo>
                  <a:lnTo>
                    <a:pt x="36" y="2"/>
                  </a:lnTo>
                  <a:lnTo>
                    <a:pt x="51" y="0"/>
                  </a:lnTo>
                  <a:close/>
                </a:path>
              </a:pathLst>
            </a:custGeom>
            <a:solidFill>
              <a:schemeClr val="accent5"/>
            </a:solidFill>
            <a:ln>
              <a:noFill/>
            </a:ln>
          </p:spPr>
          <p:txBody>
            <a:bodyPr/>
            <a:lstStyle/>
            <a:p>
              <a:endParaRPr lang="de-DE" dirty="0"/>
            </a:p>
          </p:txBody>
        </p:sp>
        <p:sp>
          <p:nvSpPr>
            <p:cNvPr id="1216" name="Freeform 374"/>
            <p:cNvSpPr>
              <a:spLocks/>
            </p:cNvSpPr>
            <p:nvPr/>
          </p:nvSpPr>
          <p:spPr bwMode="auto">
            <a:xfrm>
              <a:off x="11387057" y="5972780"/>
              <a:ext cx="57144" cy="15877"/>
            </a:xfrm>
            <a:custGeom>
              <a:avLst/>
              <a:gdLst>
                <a:gd name="T0" fmla="*/ 50 w 357"/>
                <a:gd name="T1" fmla="*/ 0 h 103"/>
                <a:gd name="T2" fmla="*/ 305 w 357"/>
                <a:gd name="T3" fmla="*/ 0 h 103"/>
                <a:gd name="T4" fmla="*/ 322 w 357"/>
                <a:gd name="T5" fmla="*/ 3 h 103"/>
                <a:gd name="T6" fmla="*/ 336 w 357"/>
                <a:gd name="T7" fmla="*/ 10 h 103"/>
                <a:gd name="T8" fmla="*/ 347 w 357"/>
                <a:gd name="T9" fmla="*/ 21 h 103"/>
                <a:gd name="T10" fmla="*/ 355 w 357"/>
                <a:gd name="T11" fmla="*/ 36 h 103"/>
                <a:gd name="T12" fmla="*/ 357 w 357"/>
                <a:gd name="T13" fmla="*/ 52 h 103"/>
                <a:gd name="T14" fmla="*/ 355 w 357"/>
                <a:gd name="T15" fmla="*/ 68 h 103"/>
                <a:gd name="T16" fmla="*/ 347 w 357"/>
                <a:gd name="T17" fmla="*/ 82 h 103"/>
                <a:gd name="T18" fmla="*/ 336 w 357"/>
                <a:gd name="T19" fmla="*/ 93 h 103"/>
                <a:gd name="T20" fmla="*/ 322 w 357"/>
                <a:gd name="T21" fmla="*/ 101 h 103"/>
                <a:gd name="T22" fmla="*/ 305 w 357"/>
                <a:gd name="T23" fmla="*/ 103 h 103"/>
                <a:gd name="T24" fmla="*/ 50 w 357"/>
                <a:gd name="T25" fmla="*/ 103 h 103"/>
                <a:gd name="T26" fmla="*/ 35 w 357"/>
                <a:gd name="T27" fmla="*/ 101 h 103"/>
                <a:gd name="T28" fmla="*/ 21 w 357"/>
                <a:gd name="T29" fmla="*/ 93 h 103"/>
                <a:gd name="T30" fmla="*/ 10 w 357"/>
                <a:gd name="T31" fmla="*/ 82 h 103"/>
                <a:gd name="T32" fmla="*/ 2 w 357"/>
                <a:gd name="T33" fmla="*/ 68 h 103"/>
                <a:gd name="T34" fmla="*/ 0 w 357"/>
                <a:gd name="T35" fmla="*/ 52 h 103"/>
                <a:gd name="T36" fmla="*/ 2 w 357"/>
                <a:gd name="T37" fmla="*/ 36 h 103"/>
                <a:gd name="T38" fmla="*/ 10 w 357"/>
                <a:gd name="T39" fmla="*/ 21 h 103"/>
                <a:gd name="T40" fmla="*/ 21 w 357"/>
                <a:gd name="T41" fmla="*/ 10 h 103"/>
                <a:gd name="T42" fmla="*/ 35 w 357"/>
                <a:gd name="T43" fmla="*/ 3 h 103"/>
                <a:gd name="T44" fmla="*/ 50 w 357"/>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103">
                  <a:moveTo>
                    <a:pt x="50" y="0"/>
                  </a:moveTo>
                  <a:lnTo>
                    <a:pt x="305" y="0"/>
                  </a:lnTo>
                  <a:lnTo>
                    <a:pt x="322" y="3"/>
                  </a:lnTo>
                  <a:lnTo>
                    <a:pt x="336" y="10"/>
                  </a:lnTo>
                  <a:lnTo>
                    <a:pt x="347" y="21"/>
                  </a:lnTo>
                  <a:lnTo>
                    <a:pt x="355" y="36"/>
                  </a:lnTo>
                  <a:lnTo>
                    <a:pt x="357" y="52"/>
                  </a:lnTo>
                  <a:lnTo>
                    <a:pt x="355" y="68"/>
                  </a:lnTo>
                  <a:lnTo>
                    <a:pt x="347" y="82"/>
                  </a:lnTo>
                  <a:lnTo>
                    <a:pt x="336" y="93"/>
                  </a:lnTo>
                  <a:lnTo>
                    <a:pt x="322" y="101"/>
                  </a:lnTo>
                  <a:lnTo>
                    <a:pt x="305" y="103"/>
                  </a:lnTo>
                  <a:lnTo>
                    <a:pt x="50" y="103"/>
                  </a:lnTo>
                  <a:lnTo>
                    <a:pt x="35" y="101"/>
                  </a:lnTo>
                  <a:lnTo>
                    <a:pt x="21" y="93"/>
                  </a:lnTo>
                  <a:lnTo>
                    <a:pt x="10" y="82"/>
                  </a:lnTo>
                  <a:lnTo>
                    <a:pt x="2" y="68"/>
                  </a:lnTo>
                  <a:lnTo>
                    <a:pt x="0" y="52"/>
                  </a:lnTo>
                  <a:lnTo>
                    <a:pt x="2" y="36"/>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1217" name="Freeform 375"/>
            <p:cNvSpPr>
              <a:spLocks/>
            </p:cNvSpPr>
            <p:nvPr/>
          </p:nvSpPr>
          <p:spPr bwMode="auto">
            <a:xfrm>
              <a:off x="10985459" y="6023586"/>
              <a:ext cx="44446" cy="17464"/>
            </a:xfrm>
            <a:custGeom>
              <a:avLst/>
              <a:gdLst>
                <a:gd name="T0" fmla="*/ 53 w 281"/>
                <a:gd name="T1" fmla="*/ 0 h 106"/>
                <a:gd name="T2" fmla="*/ 228 w 281"/>
                <a:gd name="T3" fmla="*/ 0 h 106"/>
                <a:gd name="T4" fmla="*/ 246 w 281"/>
                <a:gd name="T5" fmla="*/ 2 h 106"/>
                <a:gd name="T6" fmla="*/ 260 w 281"/>
                <a:gd name="T7" fmla="*/ 10 h 106"/>
                <a:gd name="T8" fmla="*/ 271 w 281"/>
                <a:gd name="T9" fmla="*/ 21 h 106"/>
                <a:gd name="T10" fmla="*/ 279 w 281"/>
                <a:gd name="T11" fmla="*/ 36 h 106"/>
                <a:gd name="T12" fmla="*/ 281 w 281"/>
                <a:gd name="T13" fmla="*/ 53 h 106"/>
                <a:gd name="T14" fmla="*/ 279 w 281"/>
                <a:gd name="T15" fmla="*/ 69 h 106"/>
                <a:gd name="T16" fmla="*/ 271 w 281"/>
                <a:gd name="T17" fmla="*/ 84 h 106"/>
                <a:gd name="T18" fmla="*/ 260 w 281"/>
                <a:gd name="T19" fmla="*/ 95 h 106"/>
                <a:gd name="T20" fmla="*/ 246 w 281"/>
                <a:gd name="T21" fmla="*/ 102 h 106"/>
                <a:gd name="T22" fmla="*/ 228 w 281"/>
                <a:gd name="T23" fmla="*/ 106 h 106"/>
                <a:gd name="T24" fmla="*/ 53 w 281"/>
                <a:gd name="T25" fmla="*/ 106 h 106"/>
                <a:gd name="T26" fmla="*/ 37 w 281"/>
                <a:gd name="T27" fmla="*/ 102 h 106"/>
                <a:gd name="T28" fmla="*/ 21 w 281"/>
                <a:gd name="T29" fmla="*/ 95 h 106"/>
                <a:gd name="T30" fmla="*/ 10 w 281"/>
                <a:gd name="T31" fmla="*/ 84 h 106"/>
                <a:gd name="T32" fmla="*/ 2 w 281"/>
                <a:gd name="T33" fmla="*/ 69 h 106"/>
                <a:gd name="T34" fmla="*/ 0 w 281"/>
                <a:gd name="T35" fmla="*/ 53 h 106"/>
                <a:gd name="T36" fmla="*/ 2 w 281"/>
                <a:gd name="T37" fmla="*/ 36 h 106"/>
                <a:gd name="T38" fmla="*/ 10 w 281"/>
                <a:gd name="T39" fmla="*/ 21 h 106"/>
                <a:gd name="T40" fmla="*/ 21 w 281"/>
                <a:gd name="T41" fmla="*/ 10 h 106"/>
                <a:gd name="T42" fmla="*/ 37 w 281"/>
                <a:gd name="T43" fmla="*/ 2 h 106"/>
                <a:gd name="T44" fmla="*/ 53 w 28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06">
                  <a:moveTo>
                    <a:pt x="53" y="0"/>
                  </a:moveTo>
                  <a:lnTo>
                    <a:pt x="228" y="0"/>
                  </a:lnTo>
                  <a:lnTo>
                    <a:pt x="246" y="2"/>
                  </a:lnTo>
                  <a:lnTo>
                    <a:pt x="260" y="10"/>
                  </a:lnTo>
                  <a:lnTo>
                    <a:pt x="271" y="21"/>
                  </a:lnTo>
                  <a:lnTo>
                    <a:pt x="279" y="36"/>
                  </a:lnTo>
                  <a:lnTo>
                    <a:pt x="281" y="53"/>
                  </a:lnTo>
                  <a:lnTo>
                    <a:pt x="279" y="69"/>
                  </a:lnTo>
                  <a:lnTo>
                    <a:pt x="271" y="84"/>
                  </a:lnTo>
                  <a:lnTo>
                    <a:pt x="260" y="95"/>
                  </a:lnTo>
                  <a:lnTo>
                    <a:pt x="246" y="102"/>
                  </a:lnTo>
                  <a:lnTo>
                    <a:pt x="228" y="106"/>
                  </a:lnTo>
                  <a:lnTo>
                    <a:pt x="53" y="106"/>
                  </a:lnTo>
                  <a:lnTo>
                    <a:pt x="37" y="102"/>
                  </a:lnTo>
                  <a:lnTo>
                    <a:pt x="21" y="95"/>
                  </a:lnTo>
                  <a:lnTo>
                    <a:pt x="10" y="84"/>
                  </a:lnTo>
                  <a:lnTo>
                    <a:pt x="2" y="69"/>
                  </a:lnTo>
                  <a:lnTo>
                    <a:pt x="0" y="53"/>
                  </a:lnTo>
                  <a:lnTo>
                    <a:pt x="2" y="36"/>
                  </a:lnTo>
                  <a:lnTo>
                    <a:pt x="10" y="21"/>
                  </a:lnTo>
                  <a:lnTo>
                    <a:pt x="21" y="10"/>
                  </a:lnTo>
                  <a:lnTo>
                    <a:pt x="37" y="2"/>
                  </a:lnTo>
                  <a:lnTo>
                    <a:pt x="53" y="0"/>
                  </a:lnTo>
                  <a:close/>
                </a:path>
              </a:pathLst>
            </a:custGeom>
            <a:solidFill>
              <a:schemeClr val="accent5"/>
            </a:solidFill>
            <a:ln>
              <a:noFill/>
            </a:ln>
          </p:spPr>
          <p:txBody>
            <a:bodyPr/>
            <a:lstStyle/>
            <a:p>
              <a:endParaRPr lang="de-DE" dirty="0"/>
            </a:p>
          </p:txBody>
        </p:sp>
        <p:sp>
          <p:nvSpPr>
            <p:cNvPr id="1218" name="Freeform 376"/>
            <p:cNvSpPr>
              <a:spLocks/>
            </p:cNvSpPr>
            <p:nvPr/>
          </p:nvSpPr>
          <p:spPr bwMode="auto">
            <a:xfrm>
              <a:off x="11044191" y="6028349"/>
              <a:ext cx="44446" cy="17464"/>
            </a:xfrm>
            <a:custGeom>
              <a:avLst/>
              <a:gdLst>
                <a:gd name="T0" fmla="*/ 53 w 284"/>
                <a:gd name="T1" fmla="*/ 0 h 106"/>
                <a:gd name="T2" fmla="*/ 231 w 284"/>
                <a:gd name="T3" fmla="*/ 0 h 106"/>
                <a:gd name="T4" fmla="*/ 248 w 284"/>
                <a:gd name="T5" fmla="*/ 3 h 106"/>
                <a:gd name="T6" fmla="*/ 262 w 284"/>
                <a:gd name="T7" fmla="*/ 10 h 106"/>
                <a:gd name="T8" fmla="*/ 273 w 284"/>
                <a:gd name="T9" fmla="*/ 21 h 106"/>
                <a:gd name="T10" fmla="*/ 281 w 284"/>
                <a:gd name="T11" fmla="*/ 36 h 106"/>
                <a:gd name="T12" fmla="*/ 284 w 284"/>
                <a:gd name="T13" fmla="*/ 53 h 106"/>
                <a:gd name="T14" fmla="*/ 281 w 284"/>
                <a:gd name="T15" fmla="*/ 70 h 106"/>
                <a:gd name="T16" fmla="*/ 273 w 284"/>
                <a:gd name="T17" fmla="*/ 84 h 106"/>
                <a:gd name="T18" fmla="*/ 262 w 284"/>
                <a:gd name="T19" fmla="*/ 95 h 106"/>
                <a:gd name="T20" fmla="*/ 248 w 284"/>
                <a:gd name="T21" fmla="*/ 103 h 106"/>
                <a:gd name="T22" fmla="*/ 231 w 284"/>
                <a:gd name="T23" fmla="*/ 106 h 106"/>
                <a:gd name="T24" fmla="*/ 53 w 284"/>
                <a:gd name="T25" fmla="*/ 106 h 106"/>
                <a:gd name="T26" fmla="*/ 36 w 284"/>
                <a:gd name="T27" fmla="*/ 103 h 106"/>
                <a:gd name="T28" fmla="*/ 21 w 284"/>
                <a:gd name="T29" fmla="*/ 95 h 106"/>
                <a:gd name="T30" fmla="*/ 10 w 284"/>
                <a:gd name="T31" fmla="*/ 84 h 106"/>
                <a:gd name="T32" fmla="*/ 2 w 284"/>
                <a:gd name="T33" fmla="*/ 70 h 106"/>
                <a:gd name="T34" fmla="*/ 0 w 284"/>
                <a:gd name="T35" fmla="*/ 53 h 106"/>
                <a:gd name="T36" fmla="*/ 2 w 284"/>
                <a:gd name="T37" fmla="*/ 36 h 106"/>
                <a:gd name="T38" fmla="*/ 10 w 284"/>
                <a:gd name="T39" fmla="*/ 21 h 106"/>
                <a:gd name="T40" fmla="*/ 21 w 284"/>
                <a:gd name="T41" fmla="*/ 10 h 106"/>
                <a:gd name="T42" fmla="*/ 36 w 284"/>
                <a:gd name="T43" fmla="*/ 3 h 106"/>
                <a:gd name="T44" fmla="*/ 53 w 284"/>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106">
                  <a:moveTo>
                    <a:pt x="53" y="0"/>
                  </a:moveTo>
                  <a:lnTo>
                    <a:pt x="231" y="0"/>
                  </a:lnTo>
                  <a:lnTo>
                    <a:pt x="248" y="3"/>
                  </a:lnTo>
                  <a:lnTo>
                    <a:pt x="262" y="10"/>
                  </a:lnTo>
                  <a:lnTo>
                    <a:pt x="273" y="21"/>
                  </a:lnTo>
                  <a:lnTo>
                    <a:pt x="281" y="36"/>
                  </a:lnTo>
                  <a:lnTo>
                    <a:pt x="284" y="53"/>
                  </a:lnTo>
                  <a:lnTo>
                    <a:pt x="281" y="70"/>
                  </a:lnTo>
                  <a:lnTo>
                    <a:pt x="273" y="84"/>
                  </a:lnTo>
                  <a:lnTo>
                    <a:pt x="262" y="95"/>
                  </a:lnTo>
                  <a:lnTo>
                    <a:pt x="248" y="103"/>
                  </a:lnTo>
                  <a:lnTo>
                    <a:pt x="231" y="106"/>
                  </a:lnTo>
                  <a:lnTo>
                    <a:pt x="53" y="106"/>
                  </a:lnTo>
                  <a:lnTo>
                    <a:pt x="36" y="103"/>
                  </a:lnTo>
                  <a:lnTo>
                    <a:pt x="21" y="95"/>
                  </a:lnTo>
                  <a:lnTo>
                    <a:pt x="10" y="84"/>
                  </a:lnTo>
                  <a:lnTo>
                    <a:pt x="2" y="70"/>
                  </a:lnTo>
                  <a:lnTo>
                    <a:pt x="0" y="53"/>
                  </a:lnTo>
                  <a:lnTo>
                    <a:pt x="2" y="36"/>
                  </a:lnTo>
                  <a:lnTo>
                    <a:pt x="10" y="21"/>
                  </a:lnTo>
                  <a:lnTo>
                    <a:pt x="21" y="10"/>
                  </a:lnTo>
                  <a:lnTo>
                    <a:pt x="36" y="3"/>
                  </a:lnTo>
                  <a:lnTo>
                    <a:pt x="53" y="0"/>
                  </a:lnTo>
                  <a:close/>
                </a:path>
              </a:pathLst>
            </a:custGeom>
            <a:solidFill>
              <a:schemeClr val="accent5"/>
            </a:solidFill>
            <a:ln>
              <a:noFill/>
            </a:ln>
          </p:spPr>
          <p:txBody>
            <a:bodyPr/>
            <a:lstStyle/>
            <a:p>
              <a:endParaRPr lang="de-DE" dirty="0"/>
            </a:p>
          </p:txBody>
        </p:sp>
        <p:sp>
          <p:nvSpPr>
            <p:cNvPr id="1219" name="Freeform 377"/>
            <p:cNvSpPr>
              <a:spLocks/>
            </p:cNvSpPr>
            <p:nvPr/>
          </p:nvSpPr>
          <p:spPr bwMode="auto">
            <a:xfrm>
              <a:off x="11112447" y="6028349"/>
              <a:ext cx="53970" cy="15877"/>
            </a:xfrm>
            <a:custGeom>
              <a:avLst/>
              <a:gdLst>
                <a:gd name="T0" fmla="*/ 53 w 337"/>
                <a:gd name="T1" fmla="*/ 0 h 106"/>
                <a:gd name="T2" fmla="*/ 284 w 337"/>
                <a:gd name="T3" fmla="*/ 0 h 106"/>
                <a:gd name="T4" fmla="*/ 301 w 337"/>
                <a:gd name="T5" fmla="*/ 2 h 106"/>
                <a:gd name="T6" fmla="*/ 315 w 337"/>
                <a:gd name="T7" fmla="*/ 10 h 106"/>
                <a:gd name="T8" fmla="*/ 326 w 337"/>
                <a:gd name="T9" fmla="*/ 22 h 106"/>
                <a:gd name="T10" fmla="*/ 334 w 337"/>
                <a:gd name="T11" fmla="*/ 37 h 106"/>
                <a:gd name="T12" fmla="*/ 337 w 337"/>
                <a:gd name="T13" fmla="*/ 53 h 106"/>
                <a:gd name="T14" fmla="*/ 334 w 337"/>
                <a:gd name="T15" fmla="*/ 70 h 106"/>
                <a:gd name="T16" fmla="*/ 326 w 337"/>
                <a:gd name="T17" fmla="*/ 84 h 106"/>
                <a:gd name="T18" fmla="*/ 315 w 337"/>
                <a:gd name="T19" fmla="*/ 96 h 106"/>
                <a:gd name="T20" fmla="*/ 301 w 337"/>
                <a:gd name="T21" fmla="*/ 103 h 106"/>
                <a:gd name="T22" fmla="*/ 284 w 337"/>
                <a:gd name="T23" fmla="*/ 106 h 106"/>
                <a:gd name="T24" fmla="*/ 53 w 337"/>
                <a:gd name="T25" fmla="*/ 106 h 106"/>
                <a:gd name="T26" fmla="*/ 36 w 337"/>
                <a:gd name="T27" fmla="*/ 103 h 106"/>
                <a:gd name="T28" fmla="*/ 21 w 337"/>
                <a:gd name="T29" fmla="*/ 96 h 106"/>
                <a:gd name="T30" fmla="*/ 10 w 337"/>
                <a:gd name="T31" fmla="*/ 84 h 106"/>
                <a:gd name="T32" fmla="*/ 2 w 337"/>
                <a:gd name="T33" fmla="*/ 70 h 106"/>
                <a:gd name="T34" fmla="*/ 0 w 337"/>
                <a:gd name="T35" fmla="*/ 53 h 106"/>
                <a:gd name="T36" fmla="*/ 2 w 337"/>
                <a:gd name="T37" fmla="*/ 37 h 106"/>
                <a:gd name="T38" fmla="*/ 10 w 337"/>
                <a:gd name="T39" fmla="*/ 22 h 106"/>
                <a:gd name="T40" fmla="*/ 21 w 337"/>
                <a:gd name="T41" fmla="*/ 10 h 106"/>
                <a:gd name="T42" fmla="*/ 36 w 337"/>
                <a:gd name="T43" fmla="*/ 2 h 106"/>
                <a:gd name="T44" fmla="*/ 53 w 337"/>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7" h="106">
                  <a:moveTo>
                    <a:pt x="53" y="0"/>
                  </a:moveTo>
                  <a:lnTo>
                    <a:pt x="284" y="0"/>
                  </a:lnTo>
                  <a:lnTo>
                    <a:pt x="301" y="2"/>
                  </a:lnTo>
                  <a:lnTo>
                    <a:pt x="315" y="10"/>
                  </a:lnTo>
                  <a:lnTo>
                    <a:pt x="326" y="22"/>
                  </a:lnTo>
                  <a:lnTo>
                    <a:pt x="334" y="37"/>
                  </a:lnTo>
                  <a:lnTo>
                    <a:pt x="337" y="53"/>
                  </a:lnTo>
                  <a:lnTo>
                    <a:pt x="334" y="70"/>
                  </a:lnTo>
                  <a:lnTo>
                    <a:pt x="326" y="84"/>
                  </a:lnTo>
                  <a:lnTo>
                    <a:pt x="315" y="96"/>
                  </a:lnTo>
                  <a:lnTo>
                    <a:pt x="301" y="103"/>
                  </a:lnTo>
                  <a:lnTo>
                    <a:pt x="284" y="106"/>
                  </a:lnTo>
                  <a:lnTo>
                    <a:pt x="53" y="106"/>
                  </a:lnTo>
                  <a:lnTo>
                    <a:pt x="36" y="103"/>
                  </a:lnTo>
                  <a:lnTo>
                    <a:pt x="21" y="96"/>
                  </a:lnTo>
                  <a:lnTo>
                    <a:pt x="10" y="84"/>
                  </a:lnTo>
                  <a:lnTo>
                    <a:pt x="2" y="70"/>
                  </a:lnTo>
                  <a:lnTo>
                    <a:pt x="0" y="53"/>
                  </a:lnTo>
                  <a:lnTo>
                    <a:pt x="2" y="37"/>
                  </a:lnTo>
                  <a:lnTo>
                    <a:pt x="10" y="22"/>
                  </a:lnTo>
                  <a:lnTo>
                    <a:pt x="21" y="10"/>
                  </a:lnTo>
                  <a:lnTo>
                    <a:pt x="36" y="2"/>
                  </a:lnTo>
                  <a:lnTo>
                    <a:pt x="53" y="0"/>
                  </a:lnTo>
                  <a:close/>
                </a:path>
              </a:pathLst>
            </a:custGeom>
            <a:solidFill>
              <a:schemeClr val="accent5"/>
            </a:solidFill>
            <a:ln>
              <a:noFill/>
            </a:ln>
          </p:spPr>
          <p:txBody>
            <a:bodyPr/>
            <a:lstStyle/>
            <a:p>
              <a:endParaRPr lang="de-DE" dirty="0"/>
            </a:p>
          </p:txBody>
        </p:sp>
        <p:sp>
          <p:nvSpPr>
            <p:cNvPr id="1220" name="Freeform 378"/>
            <p:cNvSpPr>
              <a:spLocks/>
            </p:cNvSpPr>
            <p:nvPr/>
          </p:nvSpPr>
          <p:spPr bwMode="auto">
            <a:xfrm>
              <a:off x="11179115" y="6026761"/>
              <a:ext cx="52382" cy="17464"/>
            </a:xfrm>
            <a:custGeom>
              <a:avLst/>
              <a:gdLst>
                <a:gd name="T0" fmla="*/ 53 w 329"/>
                <a:gd name="T1" fmla="*/ 0 h 106"/>
                <a:gd name="T2" fmla="*/ 277 w 329"/>
                <a:gd name="T3" fmla="*/ 0 h 106"/>
                <a:gd name="T4" fmla="*/ 294 w 329"/>
                <a:gd name="T5" fmla="*/ 3 h 106"/>
                <a:gd name="T6" fmla="*/ 308 w 329"/>
                <a:gd name="T7" fmla="*/ 10 h 106"/>
                <a:gd name="T8" fmla="*/ 319 w 329"/>
                <a:gd name="T9" fmla="*/ 22 h 106"/>
                <a:gd name="T10" fmla="*/ 327 w 329"/>
                <a:gd name="T11" fmla="*/ 36 h 106"/>
                <a:gd name="T12" fmla="*/ 329 w 329"/>
                <a:gd name="T13" fmla="*/ 53 h 106"/>
                <a:gd name="T14" fmla="*/ 327 w 329"/>
                <a:gd name="T15" fmla="*/ 69 h 106"/>
                <a:gd name="T16" fmla="*/ 319 w 329"/>
                <a:gd name="T17" fmla="*/ 84 h 106"/>
                <a:gd name="T18" fmla="*/ 308 w 329"/>
                <a:gd name="T19" fmla="*/ 96 h 106"/>
                <a:gd name="T20" fmla="*/ 294 w 329"/>
                <a:gd name="T21" fmla="*/ 104 h 106"/>
                <a:gd name="T22" fmla="*/ 277 w 329"/>
                <a:gd name="T23" fmla="*/ 106 h 106"/>
                <a:gd name="T24" fmla="*/ 53 w 329"/>
                <a:gd name="T25" fmla="*/ 106 h 106"/>
                <a:gd name="T26" fmla="*/ 36 w 329"/>
                <a:gd name="T27" fmla="*/ 104 h 106"/>
                <a:gd name="T28" fmla="*/ 22 w 329"/>
                <a:gd name="T29" fmla="*/ 96 h 106"/>
                <a:gd name="T30" fmla="*/ 11 w 329"/>
                <a:gd name="T31" fmla="*/ 84 h 106"/>
                <a:gd name="T32" fmla="*/ 3 w 329"/>
                <a:gd name="T33" fmla="*/ 69 h 106"/>
                <a:gd name="T34" fmla="*/ 0 w 329"/>
                <a:gd name="T35" fmla="*/ 53 h 106"/>
                <a:gd name="T36" fmla="*/ 3 w 329"/>
                <a:gd name="T37" fmla="*/ 36 h 106"/>
                <a:gd name="T38" fmla="*/ 11 w 329"/>
                <a:gd name="T39" fmla="*/ 22 h 106"/>
                <a:gd name="T40" fmla="*/ 22 w 329"/>
                <a:gd name="T41" fmla="*/ 10 h 106"/>
                <a:gd name="T42" fmla="*/ 36 w 329"/>
                <a:gd name="T43" fmla="*/ 3 h 106"/>
                <a:gd name="T44" fmla="*/ 53 w 32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106">
                  <a:moveTo>
                    <a:pt x="53" y="0"/>
                  </a:moveTo>
                  <a:lnTo>
                    <a:pt x="277" y="0"/>
                  </a:lnTo>
                  <a:lnTo>
                    <a:pt x="294" y="3"/>
                  </a:lnTo>
                  <a:lnTo>
                    <a:pt x="308" y="10"/>
                  </a:lnTo>
                  <a:lnTo>
                    <a:pt x="319" y="22"/>
                  </a:lnTo>
                  <a:lnTo>
                    <a:pt x="327" y="36"/>
                  </a:lnTo>
                  <a:lnTo>
                    <a:pt x="329" y="53"/>
                  </a:lnTo>
                  <a:lnTo>
                    <a:pt x="327" y="69"/>
                  </a:lnTo>
                  <a:lnTo>
                    <a:pt x="319" y="84"/>
                  </a:lnTo>
                  <a:lnTo>
                    <a:pt x="308" y="96"/>
                  </a:lnTo>
                  <a:lnTo>
                    <a:pt x="294" y="104"/>
                  </a:lnTo>
                  <a:lnTo>
                    <a:pt x="277" y="106"/>
                  </a:lnTo>
                  <a:lnTo>
                    <a:pt x="53" y="106"/>
                  </a:lnTo>
                  <a:lnTo>
                    <a:pt x="36" y="104"/>
                  </a:lnTo>
                  <a:lnTo>
                    <a:pt x="22" y="96"/>
                  </a:lnTo>
                  <a:lnTo>
                    <a:pt x="11" y="84"/>
                  </a:lnTo>
                  <a:lnTo>
                    <a:pt x="3" y="69"/>
                  </a:lnTo>
                  <a:lnTo>
                    <a:pt x="0" y="53"/>
                  </a:lnTo>
                  <a:lnTo>
                    <a:pt x="3" y="36"/>
                  </a:lnTo>
                  <a:lnTo>
                    <a:pt x="11" y="22"/>
                  </a:lnTo>
                  <a:lnTo>
                    <a:pt x="22" y="10"/>
                  </a:lnTo>
                  <a:lnTo>
                    <a:pt x="36" y="3"/>
                  </a:lnTo>
                  <a:lnTo>
                    <a:pt x="53" y="0"/>
                  </a:lnTo>
                  <a:close/>
                </a:path>
              </a:pathLst>
            </a:custGeom>
            <a:solidFill>
              <a:schemeClr val="accent5"/>
            </a:solidFill>
            <a:ln>
              <a:noFill/>
            </a:ln>
          </p:spPr>
          <p:txBody>
            <a:bodyPr/>
            <a:lstStyle/>
            <a:p>
              <a:endParaRPr lang="de-DE" dirty="0"/>
            </a:p>
          </p:txBody>
        </p:sp>
        <p:sp>
          <p:nvSpPr>
            <p:cNvPr id="1221" name="Freeform 379"/>
            <p:cNvSpPr>
              <a:spLocks/>
            </p:cNvSpPr>
            <p:nvPr/>
          </p:nvSpPr>
          <p:spPr bwMode="auto">
            <a:xfrm>
              <a:off x="11248958" y="6028349"/>
              <a:ext cx="44446" cy="15877"/>
            </a:xfrm>
            <a:custGeom>
              <a:avLst/>
              <a:gdLst>
                <a:gd name="T0" fmla="*/ 53 w 288"/>
                <a:gd name="T1" fmla="*/ 0 h 106"/>
                <a:gd name="T2" fmla="*/ 235 w 288"/>
                <a:gd name="T3" fmla="*/ 0 h 106"/>
                <a:gd name="T4" fmla="*/ 252 w 288"/>
                <a:gd name="T5" fmla="*/ 3 h 106"/>
                <a:gd name="T6" fmla="*/ 267 w 288"/>
                <a:gd name="T7" fmla="*/ 10 h 106"/>
                <a:gd name="T8" fmla="*/ 278 w 288"/>
                <a:gd name="T9" fmla="*/ 22 h 106"/>
                <a:gd name="T10" fmla="*/ 286 w 288"/>
                <a:gd name="T11" fmla="*/ 36 h 106"/>
                <a:gd name="T12" fmla="*/ 288 w 288"/>
                <a:gd name="T13" fmla="*/ 53 h 106"/>
                <a:gd name="T14" fmla="*/ 286 w 288"/>
                <a:gd name="T15" fmla="*/ 70 h 106"/>
                <a:gd name="T16" fmla="*/ 278 w 288"/>
                <a:gd name="T17" fmla="*/ 84 h 106"/>
                <a:gd name="T18" fmla="*/ 267 w 288"/>
                <a:gd name="T19" fmla="*/ 96 h 106"/>
                <a:gd name="T20" fmla="*/ 252 w 288"/>
                <a:gd name="T21" fmla="*/ 104 h 106"/>
                <a:gd name="T22" fmla="*/ 235 w 288"/>
                <a:gd name="T23" fmla="*/ 106 h 106"/>
                <a:gd name="T24" fmla="*/ 53 w 288"/>
                <a:gd name="T25" fmla="*/ 106 h 106"/>
                <a:gd name="T26" fmla="*/ 35 w 288"/>
                <a:gd name="T27" fmla="*/ 104 h 106"/>
                <a:gd name="T28" fmla="*/ 21 w 288"/>
                <a:gd name="T29" fmla="*/ 96 h 106"/>
                <a:gd name="T30" fmla="*/ 10 w 288"/>
                <a:gd name="T31" fmla="*/ 84 h 106"/>
                <a:gd name="T32" fmla="*/ 2 w 288"/>
                <a:gd name="T33" fmla="*/ 70 h 106"/>
                <a:gd name="T34" fmla="*/ 0 w 288"/>
                <a:gd name="T35" fmla="*/ 53 h 106"/>
                <a:gd name="T36" fmla="*/ 2 w 288"/>
                <a:gd name="T37" fmla="*/ 36 h 106"/>
                <a:gd name="T38" fmla="*/ 10 w 288"/>
                <a:gd name="T39" fmla="*/ 22 h 106"/>
                <a:gd name="T40" fmla="*/ 21 w 288"/>
                <a:gd name="T41" fmla="*/ 10 h 106"/>
                <a:gd name="T42" fmla="*/ 35 w 288"/>
                <a:gd name="T43" fmla="*/ 3 h 106"/>
                <a:gd name="T44" fmla="*/ 53 w 288"/>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6">
                  <a:moveTo>
                    <a:pt x="53" y="0"/>
                  </a:moveTo>
                  <a:lnTo>
                    <a:pt x="235" y="0"/>
                  </a:lnTo>
                  <a:lnTo>
                    <a:pt x="252" y="3"/>
                  </a:lnTo>
                  <a:lnTo>
                    <a:pt x="267" y="10"/>
                  </a:lnTo>
                  <a:lnTo>
                    <a:pt x="278" y="22"/>
                  </a:lnTo>
                  <a:lnTo>
                    <a:pt x="286" y="36"/>
                  </a:lnTo>
                  <a:lnTo>
                    <a:pt x="288" y="53"/>
                  </a:lnTo>
                  <a:lnTo>
                    <a:pt x="286" y="70"/>
                  </a:lnTo>
                  <a:lnTo>
                    <a:pt x="278" y="84"/>
                  </a:lnTo>
                  <a:lnTo>
                    <a:pt x="267" y="96"/>
                  </a:lnTo>
                  <a:lnTo>
                    <a:pt x="252" y="104"/>
                  </a:lnTo>
                  <a:lnTo>
                    <a:pt x="235" y="106"/>
                  </a:lnTo>
                  <a:lnTo>
                    <a:pt x="53" y="106"/>
                  </a:lnTo>
                  <a:lnTo>
                    <a:pt x="35" y="104"/>
                  </a:lnTo>
                  <a:lnTo>
                    <a:pt x="21" y="96"/>
                  </a:lnTo>
                  <a:lnTo>
                    <a:pt x="10" y="84"/>
                  </a:lnTo>
                  <a:lnTo>
                    <a:pt x="2" y="70"/>
                  </a:lnTo>
                  <a:lnTo>
                    <a:pt x="0" y="53"/>
                  </a:lnTo>
                  <a:lnTo>
                    <a:pt x="2" y="36"/>
                  </a:lnTo>
                  <a:lnTo>
                    <a:pt x="10" y="22"/>
                  </a:lnTo>
                  <a:lnTo>
                    <a:pt x="21" y="10"/>
                  </a:lnTo>
                  <a:lnTo>
                    <a:pt x="35" y="3"/>
                  </a:lnTo>
                  <a:lnTo>
                    <a:pt x="53" y="0"/>
                  </a:lnTo>
                  <a:close/>
                </a:path>
              </a:pathLst>
            </a:custGeom>
            <a:solidFill>
              <a:schemeClr val="accent5"/>
            </a:solidFill>
            <a:ln>
              <a:noFill/>
            </a:ln>
          </p:spPr>
          <p:txBody>
            <a:bodyPr/>
            <a:lstStyle/>
            <a:p>
              <a:endParaRPr lang="de-DE" dirty="0"/>
            </a:p>
          </p:txBody>
        </p:sp>
        <p:sp>
          <p:nvSpPr>
            <p:cNvPr id="1222" name="Freeform 380"/>
            <p:cNvSpPr>
              <a:spLocks/>
            </p:cNvSpPr>
            <p:nvPr/>
          </p:nvSpPr>
          <p:spPr bwMode="auto">
            <a:xfrm>
              <a:off x="11315627" y="6025173"/>
              <a:ext cx="53970" cy="17464"/>
            </a:xfrm>
            <a:custGeom>
              <a:avLst/>
              <a:gdLst>
                <a:gd name="T0" fmla="*/ 53 w 343"/>
                <a:gd name="T1" fmla="*/ 0 h 105"/>
                <a:gd name="T2" fmla="*/ 291 w 343"/>
                <a:gd name="T3" fmla="*/ 0 h 105"/>
                <a:gd name="T4" fmla="*/ 308 w 343"/>
                <a:gd name="T5" fmla="*/ 2 h 105"/>
                <a:gd name="T6" fmla="*/ 322 w 343"/>
                <a:gd name="T7" fmla="*/ 10 h 105"/>
                <a:gd name="T8" fmla="*/ 333 w 343"/>
                <a:gd name="T9" fmla="*/ 21 h 105"/>
                <a:gd name="T10" fmla="*/ 341 w 343"/>
                <a:gd name="T11" fmla="*/ 35 h 105"/>
                <a:gd name="T12" fmla="*/ 343 w 343"/>
                <a:gd name="T13" fmla="*/ 53 h 105"/>
                <a:gd name="T14" fmla="*/ 341 w 343"/>
                <a:gd name="T15" fmla="*/ 70 h 105"/>
                <a:gd name="T16" fmla="*/ 333 w 343"/>
                <a:gd name="T17" fmla="*/ 84 h 105"/>
                <a:gd name="T18" fmla="*/ 322 w 343"/>
                <a:gd name="T19" fmla="*/ 95 h 105"/>
                <a:gd name="T20" fmla="*/ 308 w 343"/>
                <a:gd name="T21" fmla="*/ 103 h 105"/>
                <a:gd name="T22" fmla="*/ 291 w 343"/>
                <a:gd name="T23" fmla="*/ 105 h 105"/>
                <a:gd name="T24" fmla="*/ 53 w 343"/>
                <a:gd name="T25" fmla="*/ 105 h 105"/>
                <a:gd name="T26" fmla="*/ 37 w 343"/>
                <a:gd name="T27" fmla="*/ 103 h 105"/>
                <a:gd name="T28" fmla="*/ 22 w 343"/>
                <a:gd name="T29" fmla="*/ 95 h 105"/>
                <a:gd name="T30" fmla="*/ 10 w 343"/>
                <a:gd name="T31" fmla="*/ 84 h 105"/>
                <a:gd name="T32" fmla="*/ 3 w 343"/>
                <a:gd name="T33" fmla="*/ 70 h 105"/>
                <a:gd name="T34" fmla="*/ 0 w 343"/>
                <a:gd name="T35" fmla="*/ 53 h 105"/>
                <a:gd name="T36" fmla="*/ 3 w 343"/>
                <a:gd name="T37" fmla="*/ 35 h 105"/>
                <a:gd name="T38" fmla="*/ 10 w 343"/>
                <a:gd name="T39" fmla="*/ 21 h 105"/>
                <a:gd name="T40" fmla="*/ 22 w 343"/>
                <a:gd name="T41" fmla="*/ 10 h 105"/>
                <a:gd name="T42" fmla="*/ 37 w 343"/>
                <a:gd name="T43" fmla="*/ 2 h 105"/>
                <a:gd name="T44" fmla="*/ 53 w 343"/>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 h="105">
                  <a:moveTo>
                    <a:pt x="53" y="0"/>
                  </a:moveTo>
                  <a:lnTo>
                    <a:pt x="291" y="0"/>
                  </a:lnTo>
                  <a:lnTo>
                    <a:pt x="308" y="2"/>
                  </a:lnTo>
                  <a:lnTo>
                    <a:pt x="322" y="10"/>
                  </a:lnTo>
                  <a:lnTo>
                    <a:pt x="333" y="21"/>
                  </a:lnTo>
                  <a:lnTo>
                    <a:pt x="341" y="35"/>
                  </a:lnTo>
                  <a:lnTo>
                    <a:pt x="343" y="53"/>
                  </a:lnTo>
                  <a:lnTo>
                    <a:pt x="341" y="70"/>
                  </a:lnTo>
                  <a:lnTo>
                    <a:pt x="333" y="84"/>
                  </a:lnTo>
                  <a:lnTo>
                    <a:pt x="322" y="95"/>
                  </a:lnTo>
                  <a:lnTo>
                    <a:pt x="308" y="103"/>
                  </a:lnTo>
                  <a:lnTo>
                    <a:pt x="291" y="105"/>
                  </a:lnTo>
                  <a:lnTo>
                    <a:pt x="53" y="105"/>
                  </a:lnTo>
                  <a:lnTo>
                    <a:pt x="37" y="103"/>
                  </a:lnTo>
                  <a:lnTo>
                    <a:pt x="22" y="95"/>
                  </a:lnTo>
                  <a:lnTo>
                    <a:pt x="10" y="84"/>
                  </a:lnTo>
                  <a:lnTo>
                    <a:pt x="3" y="70"/>
                  </a:lnTo>
                  <a:lnTo>
                    <a:pt x="0" y="53"/>
                  </a:lnTo>
                  <a:lnTo>
                    <a:pt x="3" y="35"/>
                  </a:lnTo>
                  <a:lnTo>
                    <a:pt x="10" y="21"/>
                  </a:lnTo>
                  <a:lnTo>
                    <a:pt x="22" y="10"/>
                  </a:lnTo>
                  <a:lnTo>
                    <a:pt x="37" y="2"/>
                  </a:lnTo>
                  <a:lnTo>
                    <a:pt x="53" y="0"/>
                  </a:lnTo>
                  <a:close/>
                </a:path>
              </a:pathLst>
            </a:custGeom>
            <a:solidFill>
              <a:schemeClr val="accent5"/>
            </a:solidFill>
            <a:ln>
              <a:noFill/>
            </a:ln>
          </p:spPr>
          <p:txBody>
            <a:bodyPr/>
            <a:lstStyle/>
            <a:p>
              <a:endParaRPr lang="de-DE" dirty="0"/>
            </a:p>
          </p:txBody>
        </p:sp>
        <p:sp>
          <p:nvSpPr>
            <p:cNvPr id="1223" name="Freeform 381"/>
            <p:cNvSpPr>
              <a:spLocks/>
            </p:cNvSpPr>
            <p:nvPr/>
          </p:nvSpPr>
          <p:spPr bwMode="auto">
            <a:xfrm>
              <a:off x="11382295" y="6025173"/>
              <a:ext cx="57144" cy="17464"/>
            </a:xfrm>
            <a:custGeom>
              <a:avLst/>
              <a:gdLst>
                <a:gd name="T0" fmla="*/ 53 w 361"/>
                <a:gd name="T1" fmla="*/ 0 h 106"/>
                <a:gd name="T2" fmla="*/ 308 w 361"/>
                <a:gd name="T3" fmla="*/ 0 h 106"/>
                <a:gd name="T4" fmla="*/ 324 w 361"/>
                <a:gd name="T5" fmla="*/ 3 h 106"/>
                <a:gd name="T6" fmla="*/ 339 w 361"/>
                <a:gd name="T7" fmla="*/ 11 h 106"/>
                <a:gd name="T8" fmla="*/ 351 w 361"/>
                <a:gd name="T9" fmla="*/ 22 h 106"/>
                <a:gd name="T10" fmla="*/ 359 w 361"/>
                <a:gd name="T11" fmla="*/ 36 h 106"/>
                <a:gd name="T12" fmla="*/ 361 w 361"/>
                <a:gd name="T13" fmla="*/ 53 h 106"/>
                <a:gd name="T14" fmla="*/ 359 w 361"/>
                <a:gd name="T15" fmla="*/ 69 h 106"/>
                <a:gd name="T16" fmla="*/ 351 w 361"/>
                <a:gd name="T17" fmla="*/ 85 h 106"/>
                <a:gd name="T18" fmla="*/ 339 w 361"/>
                <a:gd name="T19" fmla="*/ 96 h 106"/>
                <a:gd name="T20" fmla="*/ 324 w 361"/>
                <a:gd name="T21" fmla="*/ 104 h 106"/>
                <a:gd name="T22" fmla="*/ 308 w 361"/>
                <a:gd name="T23" fmla="*/ 106 h 106"/>
                <a:gd name="T24" fmla="*/ 53 w 361"/>
                <a:gd name="T25" fmla="*/ 106 h 106"/>
                <a:gd name="T26" fmla="*/ 37 w 361"/>
                <a:gd name="T27" fmla="*/ 104 h 106"/>
                <a:gd name="T28" fmla="*/ 22 w 361"/>
                <a:gd name="T29" fmla="*/ 96 h 106"/>
                <a:gd name="T30" fmla="*/ 10 w 361"/>
                <a:gd name="T31" fmla="*/ 85 h 106"/>
                <a:gd name="T32" fmla="*/ 2 w 361"/>
                <a:gd name="T33" fmla="*/ 69 h 106"/>
                <a:gd name="T34" fmla="*/ 0 w 361"/>
                <a:gd name="T35" fmla="*/ 53 h 106"/>
                <a:gd name="T36" fmla="*/ 2 w 361"/>
                <a:gd name="T37" fmla="*/ 36 h 106"/>
                <a:gd name="T38" fmla="*/ 10 w 361"/>
                <a:gd name="T39" fmla="*/ 22 h 106"/>
                <a:gd name="T40" fmla="*/ 22 w 361"/>
                <a:gd name="T41" fmla="*/ 11 h 106"/>
                <a:gd name="T42" fmla="*/ 37 w 361"/>
                <a:gd name="T43" fmla="*/ 3 h 106"/>
                <a:gd name="T44" fmla="*/ 53 w 36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1" h="106">
                  <a:moveTo>
                    <a:pt x="53" y="0"/>
                  </a:moveTo>
                  <a:lnTo>
                    <a:pt x="308" y="0"/>
                  </a:lnTo>
                  <a:lnTo>
                    <a:pt x="324" y="3"/>
                  </a:lnTo>
                  <a:lnTo>
                    <a:pt x="339" y="11"/>
                  </a:lnTo>
                  <a:lnTo>
                    <a:pt x="351" y="22"/>
                  </a:lnTo>
                  <a:lnTo>
                    <a:pt x="359" y="36"/>
                  </a:lnTo>
                  <a:lnTo>
                    <a:pt x="361" y="53"/>
                  </a:lnTo>
                  <a:lnTo>
                    <a:pt x="359" y="69"/>
                  </a:lnTo>
                  <a:lnTo>
                    <a:pt x="351" y="85"/>
                  </a:lnTo>
                  <a:lnTo>
                    <a:pt x="339" y="96"/>
                  </a:lnTo>
                  <a:lnTo>
                    <a:pt x="324" y="104"/>
                  </a:lnTo>
                  <a:lnTo>
                    <a:pt x="308" y="106"/>
                  </a:lnTo>
                  <a:lnTo>
                    <a:pt x="53" y="106"/>
                  </a:lnTo>
                  <a:lnTo>
                    <a:pt x="37" y="104"/>
                  </a:lnTo>
                  <a:lnTo>
                    <a:pt x="22" y="96"/>
                  </a:lnTo>
                  <a:lnTo>
                    <a:pt x="10" y="85"/>
                  </a:lnTo>
                  <a:lnTo>
                    <a:pt x="2" y="69"/>
                  </a:lnTo>
                  <a:lnTo>
                    <a:pt x="0" y="53"/>
                  </a:lnTo>
                  <a:lnTo>
                    <a:pt x="2" y="36"/>
                  </a:lnTo>
                  <a:lnTo>
                    <a:pt x="10" y="22"/>
                  </a:lnTo>
                  <a:lnTo>
                    <a:pt x="22" y="11"/>
                  </a:lnTo>
                  <a:lnTo>
                    <a:pt x="37" y="3"/>
                  </a:lnTo>
                  <a:lnTo>
                    <a:pt x="53" y="0"/>
                  </a:lnTo>
                  <a:close/>
                </a:path>
              </a:pathLst>
            </a:custGeom>
            <a:solidFill>
              <a:schemeClr val="accent5"/>
            </a:solidFill>
            <a:ln>
              <a:noFill/>
            </a:ln>
          </p:spPr>
          <p:txBody>
            <a:bodyPr/>
            <a:lstStyle/>
            <a:p>
              <a:endParaRPr lang="de-DE" dirty="0"/>
            </a:p>
          </p:txBody>
        </p:sp>
        <p:sp>
          <p:nvSpPr>
            <p:cNvPr id="1224" name="Freeform 382"/>
            <p:cNvSpPr>
              <a:spLocks/>
            </p:cNvSpPr>
            <p:nvPr/>
          </p:nvSpPr>
          <p:spPr bwMode="auto">
            <a:xfrm>
              <a:off x="10967999"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225" name="Freeform 383"/>
            <p:cNvSpPr>
              <a:spLocks/>
            </p:cNvSpPr>
            <p:nvPr/>
          </p:nvSpPr>
          <p:spPr bwMode="auto">
            <a:xfrm>
              <a:off x="10982285"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26" name="Freeform 384"/>
            <p:cNvSpPr>
              <a:spLocks/>
            </p:cNvSpPr>
            <p:nvPr/>
          </p:nvSpPr>
          <p:spPr bwMode="auto">
            <a:xfrm>
              <a:off x="10996571" y="5680647"/>
              <a:ext cx="4762" cy="4763"/>
            </a:xfrm>
            <a:custGeom>
              <a:avLst/>
              <a:gdLst>
                <a:gd name="T0" fmla="*/ 14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4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0"/>
                  </a:lnTo>
                  <a:lnTo>
                    <a:pt x="30" y="16"/>
                  </a:lnTo>
                  <a:lnTo>
                    <a:pt x="29" y="20"/>
                  </a:lnTo>
                  <a:lnTo>
                    <a:pt x="27" y="25"/>
                  </a:lnTo>
                  <a:lnTo>
                    <a:pt x="23" y="28"/>
                  </a:lnTo>
                  <a:lnTo>
                    <a:pt x="19" y="29"/>
                  </a:lnTo>
                  <a:lnTo>
                    <a:pt x="14" y="30"/>
                  </a:lnTo>
                  <a:lnTo>
                    <a:pt x="10" y="29"/>
                  </a:lnTo>
                  <a:lnTo>
                    <a:pt x="6" y="28"/>
                  </a:lnTo>
                  <a:lnTo>
                    <a:pt x="2" y="25"/>
                  </a:lnTo>
                  <a:lnTo>
                    <a:pt x="0" y="20"/>
                  </a:lnTo>
                  <a:lnTo>
                    <a:pt x="0" y="16"/>
                  </a:lnTo>
                  <a:lnTo>
                    <a:pt x="0" y="10"/>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1227" name="Freeform 385"/>
            <p:cNvSpPr>
              <a:spLocks/>
            </p:cNvSpPr>
            <p:nvPr/>
          </p:nvSpPr>
          <p:spPr bwMode="auto">
            <a:xfrm>
              <a:off x="11010857" y="5680647"/>
              <a:ext cx="4762" cy="4763"/>
            </a:xfrm>
            <a:custGeom>
              <a:avLst/>
              <a:gdLst>
                <a:gd name="T0" fmla="*/ 15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0"/>
                  </a:lnTo>
                  <a:lnTo>
                    <a:pt x="30" y="16"/>
                  </a:lnTo>
                  <a:lnTo>
                    <a:pt x="29" y="20"/>
                  </a:lnTo>
                  <a:lnTo>
                    <a:pt x="27" y="25"/>
                  </a:lnTo>
                  <a:lnTo>
                    <a:pt x="24" y="28"/>
                  </a:lnTo>
                  <a:lnTo>
                    <a:pt x="20"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228" name="Freeform 386"/>
            <p:cNvSpPr>
              <a:spLocks/>
            </p:cNvSpPr>
            <p:nvPr/>
          </p:nvSpPr>
          <p:spPr bwMode="auto">
            <a:xfrm>
              <a:off x="11023556"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229" name="Freeform 387"/>
            <p:cNvSpPr>
              <a:spLocks/>
            </p:cNvSpPr>
            <p:nvPr/>
          </p:nvSpPr>
          <p:spPr bwMode="auto">
            <a:xfrm>
              <a:off x="11037842"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230" name="Freeform 388"/>
            <p:cNvSpPr>
              <a:spLocks/>
            </p:cNvSpPr>
            <p:nvPr/>
          </p:nvSpPr>
          <p:spPr bwMode="auto">
            <a:xfrm>
              <a:off x="11052128"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31" name="Freeform 389"/>
            <p:cNvSpPr>
              <a:spLocks/>
            </p:cNvSpPr>
            <p:nvPr/>
          </p:nvSpPr>
          <p:spPr bwMode="auto">
            <a:xfrm>
              <a:off x="11066414" y="5680647"/>
              <a:ext cx="4762" cy="4763"/>
            </a:xfrm>
            <a:custGeom>
              <a:avLst/>
              <a:gdLst>
                <a:gd name="T0" fmla="*/ 15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0"/>
                  </a:lnTo>
                  <a:lnTo>
                    <a:pt x="30"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232" name="Freeform 390"/>
            <p:cNvSpPr>
              <a:spLocks/>
            </p:cNvSpPr>
            <p:nvPr/>
          </p:nvSpPr>
          <p:spPr bwMode="auto">
            <a:xfrm>
              <a:off x="11079113"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233" name="Freeform 391"/>
            <p:cNvSpPr>
              <a:spLocks/>
            </p:cNvSpPr>
            <p:nvPr/>
          </p:nvSpPr>
          <p:spPr bwMode="auto">
            <a:xfrm>
              <a:off x="11093399"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234" name="Freeform 392"/>
            <p:cNvSpPr>
              <a:spLocks/>
            </p:cNvSpPr>
            <p:nvPr/>
          </p:nvSpPr>
          <p:spPr bwMode="auto">
            <a:xfrm>
              <a:off x="11107685"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1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1" y="29"/>
                  </a:lnTo>
                  <a:lnTo>
                    <a:pt x="7" y="28"/>
                  </a:lnTo>
                  <a:lnTo>
                    <a:pt x="4" y="25"/>
                  </a:lnTo>
                  <a:lnTo>
                    <a:pt x="1" y="20"/>
                  </a:lnTo>
                  <a:lnTo>
                    <a:pt x="0" y="16"/>
                  </a:lnTo>
                  <a:lnTo>
                    <a:pt x="1" y="10"/>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1235" name="Freeform 393"/>
            <p:cNvSpPr>
              <a:spLocks/>
            </p:cNvSpPr>
            <p:nvPr/>
          </p:nvSpPr>
          <p:spPr bwMode="auto">
            <a:xfrm>
              <a:off x="111219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36" name="Freeform 394"/>
            <p:cNvSpPr>
              <a:spLocks/>
            </p:cNvSpPr>
            <p:nvPr/>
          </p:nvSpPr>
          <p:spPr bwMode="auto">
            <a:xfrm>
              <a:off x="11136257"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237" name="Freeform 395"/>
            <p:cNvSpPr>
              <a:spLocks/>
            </p:cNvSpPr>
            <p:nvPr/>
          </p:nvSpPr>
          <p:spPr bwMode="auto">
            <a:xfrm>
              <a:off x="11148956"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238" name="Freeform 396"/>
            <p:cNvSpPr>
              <a:spLocks/>
            </p:cNvSpPr>
            <p:nvPr/>
          </p:nvSpPr>
          <p:spPr bwMode="auto">
            <a:xfrm>
              <a:off x="11163242"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239" name="Freeform 397"/>
            <p:cNvSpPr>
              <a:spLocks/>
            </p:cNvSpPr>
            <p:nvPr/>
          </p:nvSpPr>
          <p:spPr bwMode="auto">
            <a:xfrm>
              <a:off x="11177528"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40" name="Freeform 398"/>
            <p:cNvSpPr>
              <a:spLocks/>
            </p:cNvSpPr>
            <p:nvPr/>
          </p:nvSpPr>
          <p:spPr bwMode="auto">
            <a:xfrm>
              <a:off x="11190227"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241" name="Freeform 399"/>
            <p:cNvSpPr>
              <a:spLocks/>
            </p:cNvSpPr>
            <p:nvPr/>
          </p:nvSpPr>
          <p:spPr bwMode="auto">
            <a:xfrm>
              <a:off x="112045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242" name="Freeform 400"/>
            <p:cNvSpPr>
              <a:spLocks/>
            </p:cNvSpPr>
            <p:nvPr/>
          </p:nvSpPr>
          <p:spPr bwMode="auto">
            <a:xfrm>
              <a:off x="11218799"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243" name="Freeform 401"/>
            <p:cNvSpPr>
              <a:spLocks/>
            </p:cNvSpPr>
            <p:nvPr/>
          </p:nvSpPr>
          <p:spPr bwMode="auto">
            <a:xfrm>
              <a:off x="11233085"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244" name="Freeform 402"/>
            <p:cNvSpPr>
              <a:spLocks/>
            </p:cNvSpPr>
            <p:nvPr/>
          </p:nvSpPr>
          <p:spPr bwMode="auto">
            <a:xfrm>
              <a:off x="112473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45" name="Freeform 403"/>
            <p:cNvSpPr>
              <a:spLocks/>
            </p:cNvSpPr>
            <p:nvPr/>
          </p:nvSpPr>
          <p:spPr bwMode="auto">
            <a:xfrm>
              <a:off x="11260070" y="5680647"/>
              <a:ext cx="4762" cy="4763"/>
            </a:xfrm>
            <a:custGeom>
              <a:avLst/>
              <a:gdLst>
                <a:gd name="T0" fmla="*/ 15 w 29"/>
                <a:gd name="T1" fmla="*/ 0 h 30"/>
                <a:gd name="T2" fmla="*/ 19 w 29"/>
                <a:gd name="T3" fmla="*/ 1 h 30"/>
                <a:gd name="T4" fmla="*/ 23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3 w 29"/>
                <a:gd name="T17" fmla="*/ 28 h 30"/>
                <a:gd name="T18" fmla="*/ 19 w 29"/>
                <a:gd name="T19" fmla="*/ 29 h 30"/>
                <a:gd name="T20" fmla="*/ 15 w 29"/>
                <a:gd name="T21" fmla="*/ 30 h 30"/>
                <a:gd name="T22" fmla="*/ 10 w 29"/>
                <a:gd name="T23" fmla="*/ 29 h 30"/>
                <a:gd name="T24" fmla="*/ 6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0"/>
                  </a:lnTo>
                  <a:lnTo>
                    <a:pt x="29"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246" name="Freeform 404"/>
            <p:cNvSpPr>
              <a:spLocks/>
            </p:cNvSpPr>
            <p:nvPr/>
          </p:nvSpPr>
          <p:spPr bwMode="auto">
            <a:xfrm>
              <a:off x="11274356"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247" name="Freeform 405"/>
            <p:cNvSpPr>
              <a:spLocks/>
            </p:cNvSpPr>
            <p:nvPr/>
          </p:nvSpPr>
          <p:spPr bwMode="auto">
            <a:xfrm>
              <a:off x="11288642"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248" name="Freeform 406"/>
            <p:cNvSpPr>
              <a:spLocks/>
            </p:cNvSpPr>
            <p:nvPr/>
          </p:nvSpPr>
          <p:spPr bwMode="auto">
            <a:xfrm>
              <a:off x="113029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249" name="Freeform 407"/>
            <p:cNvSpPr>
              <a:spLocks/>
            </p:cNvSpPr>
            <p:nvPr/>
          </p:nvSpPr>
          <p:spPr bwMode="auto">
            <a:xfrm>
              <a:off x="113156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50" name="Freeform 408"/>
            <p:cNvSpPr>
              <a:spLocks/>
            </p:cNvSpPr>
            <p:nvPr/>
          </p:nvSpPr>
          <p:spPr bwMode="auto">
            <a:xfrm>
              <a:off x="113299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251" name="Freeform 409"/>
            <p:cNvSpPr>
              <a:spLocks/>
            </p:cNvSpPr>
            <p:nvPr/>
          </p:nvSpPr>
          <p:spPr bwMode="auto">
            <a:xfrm>
              <a:off x="11344199"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252" name="Freeform 410"/>
            <p:cNvSpPr>
              <a:spLocks/>
            </p:cNvSpPr>
            <p:nvPr/>
          </p:nvSpPr>
          <p:spPr bwMode="auto">
            <a:xfrm>
              <a:off x="11358485" y="5680647"/>
              <a:ext cx="4762" cy="4763"/>
            </a:xfrm>
            <a:custGeom>
              <a:avLst/>
              <a:gdLst>
                <a:gd name="T0" fmla="*/ 16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0"/>
                  </a:lnTo>
                  <a:lnTo>
                    <a:pt x="30" y="16"/>
                  </a:lnTo>
                  <a:lnTo>
                    <a:pt x="29" y="20"/>
                  </a:lnTo>
                  <a:lnTo>
                    <a:pt x="27" y="25"/>
                  </a:lnTo>
                  <a:lnTo>
                    <a:pt x="23"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253" name="Freeform 411"/>
            <p:cNvSpPr>
              <a:spLocks/>
            </p:cNvSpPr>
            <p:nvPr/>
          </p:nvSpPr>
          <p:spPr bwMode="auto">
            <a:xfrm>
              <a:off x="11371184" y="5680647"/>
              <a:ext cx="4762" cy="4763"/>
            </a:xfrm>
            <a:custGeom>
              <a:avLst/>
              <a:gdLst>
                <a:gd name="T0" fmla="*/ 15 w 29"/>
                <a:gd name="T1" fmla="*/ 0 h 30"/>
                <a:gd name="T2" fmla="*/ 19 w 29"/>
                <a:gd name="T3" fmla="*/ 1 h 30"/>
                <a:gd name="T4" fmla="*/ 24 w 29"/>
                <a:gd name="T5" fmla="*/ 4 h 30"/>
                <a:gd name="T6" fmla="*/ 27 w 29"/>
                <a:gd name="T7" fmla="*/ 7 h 30"/>
                <a:gd name="T8" fmla="*/ 28 w 29"/>
                <a:gd name="T9" fmla="*/ 10 h 30"/>
                <a:gd name="T10" fmla="*/ 29 w 29"/>
                <a:gd name="T11" fmla="*/ 16 h 30"/>
                <a:gd name="T12" fmla="*/ 28 w 29"/>
                <a:gd name="T13" fmla="*/ 20 h 30"/>
                <a:gd name="T14" fmla="*/ 27 w 29"/>
                <a:gd name="T15" fmla="*/ 25 h 30"/>
                <a:gd name="T16" fmla="*/ 24 w 29"/>
                <a:gd name="T17" fmla="*/ 28 h 30"/>
                <a:gd name="T18" fmla="*/ 19 w 29"/>
                <a:gd name="T19" fmla="*/ 29 h 30"/>
                <a:gd name="T20" fmla="*/ 15 w 29"/>
                <a:gd name="T21" fmla="*/ 30 h 30"/>
                <a:gd name="T22" fmla="*/ 9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0"/>
                  </a:lnTo>
                  <a:lnTo>
                    <a:pt x="29" y="16"/>
                  </a:lnTo>
                  <a:lnTo>
                    <a:pt x="28" y="20"/>
                  </a:lnTo>
                  <a:lnTo>
                    <a:pt x="27" y="25"/>
                  </a:lnTo>
                  <a:lnTo>
                    <a:pt x="24" y="28"/>
                  </a:lnTo>
                  <a:lnTo>
                    <a:pt x="19" y="29"/>
                  </a:lnTo>
                  <a:lnTo>
                    <a:pt x="15" y="30"/>
                  </a:lnTo>
                  <a:lnTo>
                    <a:pt x="9" y="29"/>
                  </a:lnTo>
                  <a:lnTo>
                    <a:pt x="6" y="28"/>
                  </a:lnTo>
                  <a:lnTo>
                    <a:pt x="3" y="25"/>
                  </a:lnTo>
                  <a:lnTo>
                    <a:pt x="1" y="20"/>
                  </a:lnTo>
                  <a:lnTo>
                    <a:pt x="0" y="16"/>
                  </a:lnTo>
                  <a:lnTo>
                    <a:pt x="1" y="10"/>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1254" name="Freeform 412"/>
            <p:cNvSpPr>
              <a:spLocks/>
            </p:cNvSpPr>
            <p:nvPr/>
          </p:nvSpPr>
          <p:spPr bwMode="auto">
            <a:xfrm>
              <a:off x="11385470"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255" name="Freeform 413"/>
            <p:cNvSpPr>
              <a:spLocks/>
            </p:cNvSpPr>
            <p:nvPr/>
          </p:nvSpPr>
          <p:spPr bwMode="auto">
            <a:xfrm>
              <a:off x="11399756"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256" name="Freeform 414"/>
            <p:cNvSpPr>
              <a:spLocks/>
            </p:cNvSpPr>
            <p:nvPr/>
          </p:nvSpPr>
          <p:spPr bwMode="auto">
            <a:xfrm>
              <a:off x="11414042"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257" name="Freeform 415"/>
            <p:cNvSpPr>
              <a:spLocks/>
            </p:cNvSpPr>
            <p:nvPr/>
          </p:nvSpPr>
          <p:spPr bwMode="auto">
            <a:xfrm>
              <a:off x="114283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258" name="Freeform 416"/>
            <p:cNvSpPr>
              <a:spLocks/>
            </p:cNvSpPr>
            <p:nvPr/>
          </p:nvSpPr>
          <p:spPr bwMode="auto">
            <a:xfrm>
              <a:off x="114410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59" name="Freeform 417"/>
            <p:cNvSpPr>
              <a:spLocks/>
            </p:cNvSpPr>
            <p:nvPr/>
          </p:nvSpPr>
          <p:spPr bwMode="auto">
            <a:xfrm>
              <a:off x="10967999"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260" name="Freeform 418"/>
            <p:cNvSpPr>
              <a:spLocks/>
            </p:cNvSpPr>
            <p:nvPr/>
          </p:nvSpPr>
          <p:spPr bwMode="auto">
            <a:xfrm>
              <a:off x="10982285"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61" name="Freeform 419"/>
            <p:cNvSpPr>
              <a:spLocks/>
            </p:cNvSpPr>
            <p:nvPr/>
          </p:nvSpPr>
          <p:spPr bwMode="auto">
            <a:xfrm>
              <a:off x="10996571" y="5626666"/>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7"/>
                  </a:lnTo>
                  <a:lnTo>
                    <a:pt x="19" y="29"/>
                  </a:lnTo>
                  <a:lnTo>
                    <a:pt x="14" y="30"/>
                  </a:lnTo>
                  <a:lnTo>
                    <a:pt x="10" y="29"/>
                  </a:lnTo>
                  <a:lnTo>
                    <a:pt x="6" y="27"/>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1262" name="Freeform 420"/>
            <p:cNvSpPr>
              <a:spLocks/>
            </p:cNvSpPr>
            <p:nvPr/>
          </p:nvSpPr>
          <p:spPr bwMode="auto">
            <a:xfrm>
              <a:off x="11010857" y="5626666"/>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7"/>
                  </a:lnTo>
                  <a:lnTo>
                    <a:pt x="20"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263" name="Freeform 421"/>
            <p:cNvSpPr>
              <a:spLocks/>
            </p:cNvSpPr>
            <p:nvPr/>
          </p:nvSpPr>
          <p:spPr bwMode="auto">
            <a:xfrm>
              <a:off x="11023556"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264" name="Freeform 422"/>
            <p:cNvSpPr>
              <a:spLocks/>
            </p:cNvSpPr>
            <p:nvPr/>
          </p:nvSpPr>
          <p:spPr bwMode="auto">
            <a:xfrm>
              <a:off x="11037842"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265" name="Freeform 423"/>
            <p:cNvSpPr>
              <a:spLocks/>
            </p:cNvSpPr>
            <p:nvPr/>
          </p:nvSpPr>
          <p:spPr bwMode="auto">
            <a:xfrm>
              <a:off x="11052128"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66" name="Freeform 424"/>
            <p:cNvSpPr>
              <a:spLocks/>
            </p:cNvSpPr>
            <p:nvPr/>
          </p:nvSpPr>
          <p:spPr bwMode="auto">
            <a:xfrm>
              <a:off x="11066414" y="5626666"/>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267" name="Freeform 425"/>
            <p:cNvSpPr>
              <a:spLocks/>
            </p:cNvSpPr>
            <p:nvPr/>
          </p:nvSpPr>
          <p:spPr bwMode="auto">
            <a:xfrm>
              <a:off x="11079113"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268" name="Freeform 426"/>
            <p:cNvSpPr>
              <a:spLocks/>
            </p:cNvSpPr>
            <p:nvPr/>
          </p:nvSpPr>
          <p:spPr bwMode="auto">
            <a:xfrm>
              <a:off x="11093399"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269" name="Freeform 427"/>
            <p:cNvSpPr>
              <a:spLocks/>
            </p:cNvSpPr>
            <p:nvPr/>
          </p:nvSpPr>
          <p:spPr bwMode="auto">
            <a:xfrm>
              <a:off x="11107685"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1" y="29"/>
                  </a:lnTo>
                  <a:lnTo>
                    <a:pt x="7" y="27"/>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1270" name="Freeform 428"/>
            <p:cNvSpPr>
              <a:spLocks/>
            </p:cNvSpPr>
            <p:nvPr/>
          </p:nvSpPr>
          <p:spPr bwMode="auto">
            <a:xfrm>
              <a:off x="111219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71" name="Freeform 429"/>
            <p:cNvSpPr>
              <a:spLocks/>
            </p:cNvSpPr>
            <p:nvPr/>
          </p:nvSpPr>
          <p:spPr bwMode="auto">
            <a:xfrm>
              <a:off x="11136257"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272" name="Freeform 430"/>
            <p:cNvSpPr>
              <a:spLocks/>
            </p:cNvSpPr>
            <p:nvPr/>
          </p:nvSpPr>
          <p:spPr bwMode="auto">
            <a:xfrm>
              <a:off x="11148956"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273" name="Freeform 431"/>
            <p:cNvSpPr>
              <a:spLocks/>
            </p:cNvSpPr>
            <p:nvPr/>
          </p:nvSpPr>
          <p:spPr bwMode="auto">
            <a:xfrm>
              <a:off x="11163242"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274" name="Freeform 432"/>
            <p:cNvSpPr>
              <a:spLocks/>
            </p:cNvSpPr>
            <p:nvPr/>
          </p:nvSpPr>
          <p:spPr bwMode="auto">
            <a:xfrm>
              <a:off x="11177528"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75" name="Freeform 433"/>
            <p:cNvSpPr>
              <a:spLocks/>
            </p:cNvSpPr>
            <p:nvPr/>
          </p:nvSpPr>
          <p:spPr bwMode="auto">
            <a:xfrm>
              <a:off x="11190227"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276" name="Freeform 434"/>
            <p:cNvSpPr>
              <a:spLocks/>
            </p:cNvSpPr>
            <p:nvPr/>
          </p:nvSpPr>
          <p:spPr bwMode="auto">
            <a:xfrm>
              <a:off x="112045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277" name="Freeform 435"/>
            <p:cNvSpPr>
              <a:spLocks/>
            </p:cNvSpPr>
            <p:nvPr/>
          </p:nvSpPr>
          <p:spPr bwMode="auto">
            <a:xfrm>
              <a:off x="11218799"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278" name="Freeform 436"/>
            <p:cNvSpPr>
              <a:spLocks/>
            </p:cNvSpPr>
            <p:nvPr/>
          </p:nvSpPr>
          <p:spPr bwMode="auto">
            <a:xfrm>
              <a:off x="11233085"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279" name="Freeform 437"/>
            <p:cNvSpPr>
              <a:spLocks/>
            </p:cNvSpPr>
            <p:nvPr/>
          </p:nvSpPr>
          <p:spPr bwMode="auto">
            <a:xfrm>
              <a:off x="112473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80" name="Freeform 438"/>
            <p:cNvSpPr>
              <a:spLocks/>
            </p:cNvSpPr>
            <p:nvPr/>
          </p:nvSpPr>
          <p:spPr bwMode="auto">
            <a:xfrm>
              <a:off x="11260070" y="5626666"/>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281" name="Freeform 439"/>
            <p:cNvSpPr>
              <a:spLocks/>
            </p:cNvSpPr>
            <p:nvPr/>
          </p:nvSpPr>
          <p:spPr bwMode="auto">
            <a:xfrm>
              <a:off x="11274356"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282" name="Freeform 440"/>
            <p:cNvSpPr>
              <a:spLocks/>
            </p:cNvSpPr>
            <p:nvPr/>
          </p:nvSpPr>
          <p:spPr bwMode="auto">
            <a:xfrm>
              <a:off x="11288642"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283" name="Freeform 441"/>
            <p:cNvSpPr>
              <a:spLocks/>
            </p:cNvSpPr>
            <p:nvPr/>
          </p:nvSpPr>
          <p:spPr bwMode="auto">
            <a:xfrm>
              <a:off x="113029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284" name="Freeform 442"/>
            <p:cNvSpPr>
              <a:spLocks/>
            </p:cNvSpPr>
            <p:nvPr/>
          </p:nvSpPr>
          <p:spPr bwMode="auto">
            <a:xfrm>
              <a:off x="113156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85" name="Freeform 443"/>
            <p:cNvSpPr>
              <a:spLocks/>
            </p:cNvSpPr>
            <p:nvPr/>
          </p:nvSpPr>
          <p:spPr bwMode="auto">
            <a:xfrm>
              <a:off x="113299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286" name="Freeform 444"/>
            <p:cNvSpPr>
              <a:spLocks/>
            </p:cNvSpPr>
            <p:nvPr/>
          </p:nvSpPr>
          <p:spPr bwMode="auto">
            <a:xfrm>
              <a:off x="11344199"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287" name="Freeform 445"/>
            <p:cNvSpPr>
              <a:spLocks/>
            </p:cNvSpPr>
            <p:nvPr/>
          </p:nvSpPr>
          <p:spPr bwMode="auto">
            <a:xfrm>
              <a:off x="11358485" y="5626666"/>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288" name="Freeform 446"/>
            <p:cNvSpPr>
              <a:spLocks/>
            </p:cNvSpPr>
            <p:nvPr/>
          </p:nvSpPr>
          <p:spPr bwMode="auto">
            <a:xfrm>
              <a:off x="11371184" y="5626666"/>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7"/>
                  </a:lnTo>
                  <a:lnTo>
                    <a:pt x="19" y="29"/>
                  </a:lnTo>
                  <a:lnTo>
                    <a:pt x="15" y="30"/>
                  </a:lnTo>
                  <a:lnTo>
                    <a:pt x="9" y="29"/>
                  </a:lnTo>
                  <a:lnTo>
                    <a:pt x="6" y="27"/>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1289" name="Freeform 447"/>
            <p:cNvSpPr>
              <a:spLocks/>
            </p:cNvSpPr>
            <p:nvPr/>
          </p:nvSpPr>
          <p:spPr bwMode="auto">
            <a:xfrm>
              <a:off x="11385470"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290" name="Freeform 448"/>
            <p:cNvSpPr>
              <a:spLocks/>
            </p:cNvSpPr>
            <p:nvPr/>
          </p:nvSpPr>
          <p:spPr bwMode="auto">
            <a:xfrm>
              <a:off x="11399756"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291" name="Freeform 449"/>
            <p:cNvSpPr>
              <a:spLocks/>
            </p:cNvSpPr>
            <p:nvPr/>
          </p:nvSpPr>
          <p:spPr bwMode="auto">
            <a:xfrm>
              <a:off x="11414042"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292" name="Freeform 450"/>
            <p:cNvSpPr>
              <a:spLocks/>
            </p:cNvSpPr>
            <p:nvPr/>
          </p:nvSpPr>
          <p:spPr bwMode="auto">
            <a:xfrm>
              <a:off x="114283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293" name="Freeform 451"/>
            <p:cNvSpPr>
              <a:spLocks/>
            </p:cNvSpPr>
            <p:nvPr/>
          </p:nvSpPr>
          <p:spPr bwMode="auto">
            <a:xfrm>
              <a:off x="114410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294" name="Freeform 452"/>
            <p:cNvSpPr>
              <a:spLocks/>
            </p:cNvSpPr>
            <p:nvPr/>
          </p:nvSpPr>
          <p:spPr bwMode="auto">
            <a:xfrm>
              <a:off x="10967999"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295" name="Freeform 453"/>
            <p:cNvSpPr>
              <a:spLocks/>
            </p:cNvSpPr>
            <p:nvPr/>
          </p:nvSpPr>
          <p:spPr bwMode="auto">
            <a:xfrm>
              <a:off x="10982285"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296" name="Freeform 454"/>
            <p:cNvSpPr>
              <a:spLocks/>
            </p:cNvSpPr>
            <p:nvPr/>
          </p:nvSpPr>
          <p:spPr bwMode="auto">
            <a:xfrm>
              <a:off x="10996571" y="6061690"/>
              <a:ext cx="4762" cy="4763"/>
            </a:xfrm>
            <a:custGeom>
              <a:avLst/>
              <a:gdLst>
                <a:gd name="T0" fmla="*/ 14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4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1"/>
                  </a:lnTo>
                  <a:lnTo>
                    <a:pt x="30" y="16"/>
                  </a:lnTo>
                  <a:lnTo>
                    <a:pt x="29" y="20"/>
                  </a:lnTo>
                  <a:lnTo>
                    <a:pt x="27" y="25"/>
                  </a:lnTo>
                  <a:lnTo>
                    <a:pt x="23" y="28"/>
                  </a:lnTo>
                  <a:lnTo>
                    <a:pt x="19" y="30"/>
                  </a:lnTo>
                  <a:lnTo>
                    <a:pt x="14" y="30"/>
                  </a:lnTo>
                  <a:lnTo>
                    <a:pt x="10" y="30"/>
                  </a:lnTo>
                  <a:lnTo>
                    <a:pt x="6" y="28"/>
                  </a:lnTo>
                  <a:lnTo>
                    <a:pt x="2" y="25"/>
                  </a:lnTo>
                  <a:lnTo>
                    <a:pt x="0" y="20"/>
                  </a:lnTo>
                  <a:lnTo>
                    <a:pt x="0" y="16"/>
                  </a:lnTo>
                  <a:lnTo>
                    <a:pt x="0" y="11"/>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1297" name="Freeform 455"/>
            <p:cNvSpPr>
              <a:spLocks/>
            </p:cNvSpPr>
            <p:nvPr/>
          </p:nvSpPr>
          <p:spPr bwMode="auto">
            <a:xfrm>
              <a:off x="11010857" y="6061690"/>
              <a:ext cx="4762" cy="4763"/>
            </a:xfrm>
            <a:custGeom>
              <a:avLst/>
              <a:gdLst>
                <a:gd name="T0" fmla="*/ 15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1"/>
                  </a:lnTo>
                  <a:lnTo>
                    <a:pt x="30" y="16"/>
                  </a:lnTo>
                  <a:lnTo>
                    <a:pt x="29" y="20"/>
                  </a:lnTo>
                  <a:lnTo>
                    <a:pt x="27" y="25"/>
                  </a:lnTo>
                  <a:lnTo>
                    <a:pt x="24" y="28"/>
                  </a:lnTo>
                  <a:lnTo>
                    <a:pt x="20"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298" name="Freeform 456"/>
            <p:cNvSpPr>
              <a:spLocks/>
            </p:cNvSpPr>
            <p:nvPr/>
          </p:nvSpPr>
          <p:spPr bwMode="auto">
            <a:xfrm>
              <a:off x="11023556"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299" name="Freeform 457"/>
            <p:cNvSpPr>
              <a:spLocks/>
            </p:cNvSpPr>
            <p:nvPr/>
          </p:nvSpPr>
          <p:spPr bwMode="auto">
            <a:xfrm>
              <a:off x="11037842"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300" name="Freeform 458"/>
            <p:cNvSpPr>
              <a:spLocks/>
            </p:cNvSpPr>
            <p:nvPr/>
          </p:nvSpPr>
          <p:spPr bwMode="auto">
            <a:xfrm>
              <a:off x="11052128"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301" name="Freeform 459"/>
            <p:cNvSpPr>
              <a:spLocks/>
            </p:cNvSpPr>
            <p:nvPr/>
          </p:nvSpPr>
          <p:spPr bwMode="auto">
            <a:xfrm>
              <a:off x="11066414" y="6061690"/>
              <a:ext cx="4762" cy="4763"/>
            </a:xfrm>
            <a:custGeom>
              <a:avLst/>
              <a:gdLst>
                <a:gd name="T0" fmla="*/ 15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1"/>
                  </a:lnTo>
                  <a:lnTo>
                    <a:pt x="30"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302" name="Freeform 460"/>
            <p:cNvSpPr>
              <a:spLocks/>
            </p:cNvSpPr>
            <p:nvPr/>
          </p:nvSpPr>
          <p:spPr bwMode="auto">
            <a:xfrm>
              <a:off x="11079113"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303" name="Freeform 461"/>
            <p:cNvSpPr>
              <a:spLocks/>
            </p:cNvSpPr>
            <p:nvPr/>
          </p:nvSpPr>
          <p:spPr bwMode="auto">
            <a:xfrm>
              <a:off x="11093399"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304" name="Freeform 462"/>
            <p:cNvSpPr>
              <a:spLocks/>
            </p:cNvSpPr>
            <p:nvPr/>
          </p:nvSpPr>
          <p:spPr bwMode="auto">
            <a:xfrm>
              <a:off x="11107685"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1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1" y="30"/>
                  </a:lnTo>
                  <a:lnTo>
                    <a:pt x="7" y="28"/>
                  </a:lnTo>
                  <a:lnTo>
                    <a:pt x="4" y="25"/>
                  </a:lnTo>
                  <a:lnTo>
                    <a:pt x="1" y="20"/>
                  </a:lnTo>
                  <a:lnTo>
                    <a:pt x="0" y="16"/>
                  </a:lnTo>
                  <a:lnTo>
                    <a:pt x="1" y="11"/>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1305" name="Freeform 463"/>
            <p:cNvSpPr>
              <a:spLocks/>
            </p:cNvSpPr>
            <p:nvPr/>
          </p:nvSpPr>
          <p:spPr bwMode="auto">
            <a:xfrm>
              <a:off x="111219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306" name="Freeform 464"/>
            <p:cNvSpPr>
              <a:spLocks/>
            </p:cNvSpPr>
            <p:nvPr/>
          </p:nvSpPr>
          <p:spPr bwMode="auto">
            <a:xfrm>
              <a:off x="11136257"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307" name="Freeform 465"/>
            <p:cNvSpPr>
              <a:spLocks/>
            </p:cNvSpPr>
            <p:nvPr/>
          </p:nvSpPr>
          <p:spPr bwMode="auto">
            <a:xfrm>
              <a:off x="11148956"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308" name="Freeform 466"/>
            <p:cNvSpPr>
              <a:spLocks/>
            </p:cNvSpPr>
            <p:nvPr/>
          </p:nvSpPr>
          <p:spPr bwMode="auto">
            <a:xfrm>
              <a:off x="11163242"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309" name="Freeform 467"/>
            <p:cNvSpPr>
              <a:spLocks/>
            </p:cNvSpPr>
            <p:nvPr/>
          </p:nvSpPr>
          <p:spPr bwMode="auto">
            <a:xfrm>
              <a:off x="11177528"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310" name="Freeform 468"/>
            <p:cNvSpPr>
              <a:spLocks/>
            </p:cNvSpPr>
            <p:nvPr/>
          </p:nvSpPr>
          <p:spPr bwMode="auto">
            <a:xfrm>
              <a:off x="11190227"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311" name="Freeform 469"/>
            <p:cNvSpPr>
              <a:spLocks/>
            </p:cNvSpPr>
            <p:nvPr/>
          </p:nvSpPr>
          <p:spPr bwMode="auto">
            <a:xfrm>
              <a:off x="112045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312" name="Freeform 470"/>
            <p:cNvSpPr>
              <a:spLocks/>
            </p:cNvSpPr>
            <p:nvPr/>
          </p:nvSpPr>
          <p:spPr bwMode="auto">
            <a:xfrm>
              <a:off x="11218799"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313" name="Freeform 471"/>
            <p:cNvSpPr>
              <a:spLocks/>
            </p:cNvSpPr>
            <p:nvPr/>
          </p:nvSpPr>
          <p:spPr bwMode="auto">
            <a:xfrm>
              <a:off x="11233085"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314" name="Freeform 472"/>
            <p:cNvSpPr>
              <a:spLocks/>
            </p:cNvSpPr>
            <p:nvPr/>
          </p:nvSpPr>
          <p:spPr bwMode="auto">
            <a:xfrm>
              <a:off x="112473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315" name="Freeform 473"/>
            <p:cNvSpPr>
              <a:spLocks/>
            </p:cNvSpPr>
            <p:nvPr/>
          </p:nvSpPr>
          <p:spPr bwMode="auto">
            <a:xfrm>
              <a:off x="11260070" y="6061690"/>
              <a:ext cx="4762" cy="4763"/>
            </a:xfrm>
            <a:custGeom>
              <a:avLst/>
              <a:gdLst>
                <a:gd name="T0" fmla="*/ 15 w 29"/>
                <a:gd name="T1" fmla="*/ 0 h 30"/>
                <a:gd name="T2" fmla="*/ 19 w 29"/>
                <a:gd name="T3" fmla="*/ 1 h 30"/>
                <a:gd name="T4" fmla="*/ 23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3 w 29"/>
                <a:gd name="T17" fmla="*/ 28 h 30"/>
                <a:gd name="T18" fmla="*/ 19 w 29"/>
                <a:gd name="T19" fmla="*/ 30 h 30"/>
                <a:gd name="T20" fmla="*/ 15 w 29"/>
                <a:gd name="T21" fmla="*/ 30 h 30"/>
                <a:gd name="T22" fmla="*/ 10 w 29"/>
                <a:gd name="T23" fmla="*/ 30 h 30"/>
                <a:gd name="T24" fmla="*/ 6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1"/>
                  </a:lnTo>
                  <a:lnTo>
                    <a:pt x="29"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316" name="Freeform 474"/>
            <p:cNvSpPr>
              <a:spLocks/>
            </p:cNvSpPr>
            <p:nvPr/>
          </p:nvSpPr>
          <p:spPr bwMode="auto">
            <a:xfrm>
              <a:off x="11274356"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317" name="Freeform 475"/>
            <p:cNvSpPr>
              <a:spLocks/>
            </p:cNvSpPr>
            <p:nvPr/>
          </p:nvSpPr>
          <p:spPr bwMode="auto">
            <a:xfrm>
              <a:off x="11288642"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318" name="Freeform 476"/>
            <p:cNvSpPr>
              <a:spLocks/>
            </p:cNvSpPr>
            <p:nvPr/>
          </p:nvSpPr>
          <p:spPr bwMode="auto">
            <a:xfrm>
              <a:off x="113029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319" name="Freeform 477"/>
            <p:cNvSpPr>
              <a:spLocks/>
            </p:cNvSpPr>
            <p:nvPr/>
          </p:nvSpPr>
          <p:spPr bwMode="auto">
            <a:xfrm>
              <a:off x="113156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320" name="Freeform 478"/>
            <p:cNvSpPr>
              <a:spLocks/>
            </p:cNvSpPr>
            <p:nvPr/>
          </p:nvSpPr>
          <p:spPr bwMode="auto">
            <a:xfrm>
              <a:off x="113299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321" name="Freeform 479"/>
            <p:cNvSpPr>
              <a:spLocks/>
            </p:cNvSpPr>
            <p:nvPr/>
          </p:nvSpPr>
          <p:spPr bwMode="auto">
            <a:xfrm>
              <a:off x="11344199"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322" name="Freeform 480"/>
            <p:cNvSpPr>
              <a:spLocks/>
            </p:cNvSpPr>
            <p:nvPr/>
          </p:nvSpPr>
          <p:spPr bwMode="auto">
            <a:xfrm>
              <a:off x="11358485" y="6061690"/>
              <a:ext cx="4762" cy="4763"/>
            </a:xfrm>
            <a:custGeom>
              <a:avLst/>
              <a:gdLst>
                <a:gd name="T0" fmla="*/ 16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1"/>
                  </a:lnTo>
                  <a:lnTo>
                    <a:pt x="30" y="16"/>
                  </a:lnTo>
                  <a:lnTo>
                    <a:pt x="29" y="20"/>
                  </a:lnTo>
                  <a:lnTo>
                    <a:pt x="27" y="25"/>
                  </a:lnTo>
                  <a:lnTo>
                    <a:pt x="23"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323" name="Freeform 481"/>
            <p:cNvSpPr>
              <a:spLocks/>
            </p:cNvSpPr>
            <p:nvPr/>
          </p:nvSpPr>
          <p:spPr bwMode="auto">
            <a:xfrm>
              <a:off x="11371184" y="6061690"/>
              <a:ext cx="4762" cy="4763"/>
            </a:xfrm>
            <a:custGeom>
              <a:avLst/>
              <a:gdLst>
                <a:gd name="T0" fmla="*/ 15 w 29"/>
                <a:gd name="T1" fmla="*/ 0 h 30"/>
                <a:gd name="T2" fmla="*/ 19 w 29"/>
                <a:gd name="T3" fmla="*/ 1 h 30"/>
                <a:gd name="T4" fmla="*/ 24 w 29"/>
                <a:gd name="T5" fmla="*/ 4 h 30"/>
                <a:gd name="T6" fmla="*/ 27 w 29"/>
                <a:gd name="T7" fmla="*/ 7 h 30"/>
                <a:gd name="T8" fmla="*/ 28 w 29"/>
                <a:gd name="T9" fmla="*/ 11 h 30"/>
                <a:gd name="T10" fmla="*/ 29 w 29"/>
                <a:gd name="T11" fmla="*/ 16 h 30"/>
                <a:gd name="T12" fmla="*/ 28 w 29"/>
                <a:gd name="T13" fmla="*/ 20 h 30"/>
                <a:gd name="T14" fmla="*/ 27 w 29"/>
                <a:gd name="T15" fmla="*/ 25 h 30"/>
                <a:gd name="T16" fmla="*/ 24 w 29"/>
                <a:gd name="T17" fmla="*/ 28 h 30"/>
                <a:gd name="T18" fmla="*/ 19 w 29"/>
                <a:gd name="T19" fmla="*/ 30 h 30"/>
                <a:gd name="T20" fmla="*/ 15 w 29"/>
                <a:gd name="T21" fmla="*/ 30 h 30"/>
                <a:gd name="T22" fmla="*/ 9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1"/>
                  </a:lnTo>
                  <a:lnTo>
                    <a:pt x="29" y="16"/>
                  </a:lnTo>
                  <a:lnTo>
                    <a:pt x="28" y="20"/>
                  </a:lnTo>
                  <a:lnTo>
                    <a:pt x="27" y="25"/>
                  </a:lnTo>
                  <a:lnTo>
                    <a:pt x="24" y="28"/>
                  </a:lnTo>
                  <a:lnTo>
                    <a:pt x="19" y="30"/>
                  </a:lnTo>
                  <a:lnTo>
                    <a:pt x="15" y="30"/>
                  </a:lnTo>
                  <a:lnTo>
                    <a:pt x="9" y="30"/>
                  </a:lnTo>
                  <a:lnTo>
                    <a:pt x="6" y="28"/>
                  </a:lnTo>
                  <a:lnTo>
                    <a:pt x="3" y="25"/>
                  </a:lnTo>
                  <a:lnTo>
                    <a:pt x="1" y="20"/>
                  </a:lnTo>
                  <a:lnTo>
                    <a:pt x="0" y="16"/>
                  </a:lnTo>
                  <a:lnTo>
                    <a:pt x="1" y="11"/>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1324" name="Freeform 482"/>
            <p:cNvSpPr>
              <a:spLocks/>
            </p:cNvSpPr>
            <p:nvPr/>
          </p:nvSpPr>
          <p:spPr bwMode="auto">
            <a:xfrm>
              <a:off x="11385470"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325" name="Freeform 483"/>
            <p:cNvSpPr>
              <a:spLocks/>
            </p:cNvSpPr>
            <p:nvPr/>
          </p:nvSpPr>
          <p:spPr bwMode="auto">
            <a:xfrm>
              <a:off x="11399756"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326" name="Freeform 484"/>
            <p:cNvSpPr>
              <a:spLocks/>
            </p:cNvSpPr>
            <p:nvPr/>
          </p:nvSpPr>
          <p:spPr bwMode="auto">
            <a:xfrm>
              <a:off x="11414042"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327" name="Freeform 485"/>
            <p:cNvSpPr>
              <a:spLocks/>
            </p:cNvSpPr>
            <p:nvPr/>
          </p:nvSpPr>
          <p:spPr bwMode="auto">
            <a:xfrm>
              <a:off x="114283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328" name="Freeform 486"/>
            <p:cNvSpPr>
              <a:spLocks/>
            </p:cNvSpPr>
            <p:nvPr/>
          </p:nvSpPr>
          <p:spPr bwMode="auto">
            <a:xfrm>
              <a:off x="114410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329" name="Freeform 487"/>
            <p:cNvSpPr>
              <a:spLocks/>
            </p:cNvSpPr>
            <p:nvPr/>
          </p:nvSpPr>
          <p:spPr bwMode="auto">
            <a:xfrm>
              <a:off x="10967999"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330" name="Freeform 488"/>
            <p:cNvSpPr>
              <a:spLocks/>
            </p:cNvSpPr>
            <p:nvPr/>
          </p:nvSpPr>
          <p:spPr bwMode="auto">
            <a:xfrm>
              <a:off x="10982285"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31" name="Freeform 489"/>
            <p:cNvSpPr>
              <a:spLocks/>
            </p:cNvSpPr>
            <p:nvPr/>
          </p:nvSpPr>
          <p:spPr bwMode="auto">
            <a:xfrm>
              <a:off x="10996571" y="5736216"/>
              <a:ext cx="4762" cy="4763"/>
            </a:xfrm>
            <a:custGeom>
              <a:avLst/>
              <a:gdLst>
                <a:gd name="T0" fmla="*/ 14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6"/>
                  </a:lnTo>
                  <a:lnTo>
                    <a:pt x="29" y="10"/>
                  </a:lnTo>
                  <a:lnTo>
                    <a:pt x="30" y="15"/>
                  </a:lnTo>
                  <a:lnTo>
                    <a:pt x="29" y="20"/>
                  </a:lnTo>
                  <a:lnTo>
                    <a:pt x="27" y="23"/>
                  </a:lnTo>
                  <a:lnTo>
                    <a:pt x="23" y="27"/>
                  </a:lnTo>
                  <a:lnTo>
                    <a:pt x="19" y="29"/>
                  </a:lnTo>
                  <a:lnTo>
                    <a:pt x="14" y="30"/>
                  </a:lnTo>
                  <a:lnTo>
                    <a:pt x="10" y="29"/>
                  </a:lnTo>
                  <a:lnTo>
                    <a:pt x="6" y="27"/>
                  </a:lnTo>
                  <a:lnTo>
                    <a:pt x="2" y="23"/>
                  </a:lnTo>
                  <a:lnTo>
                    <a:pt x="0" y="20"/>
                  </a:lnTo>
                  <a:lnTo>
                    <a:pt x="0" y="15"/>
                  </a:lnTo>
                  <a:lnTo>
                    <a:pt x="0" y="10"/>
                  </a:lnTo>
                  <a:lnTo>
                    <a:pt x="2" y="6"/>
                  </a:lnTo>
                  <a:lnTo>
                    <a:pt x="6" y="4"/>
                  </a:lnTo>
                  <a:lnTo>
                    <a:pt x="10" y="1"/>
                  </a:lnTo>
                  <a:lnTo>
                    <a:pt x="14" y="0"/>
                  </a:lnTo>
                  <a:close/>
                </a:path>
              </a:pathLst>
            </a:custGeom>
            <a:solidFill>
              <a:schemeClr val="accent5"/>
            </a:solidFill>
            <a:ln>
              <a:noFill/>
            </a:ln>
          </p:spPr>
          <p:txBody>
            <a:bodyPr/>
            <a:lstStyle/>
            <a:p>
              <a:endParaRPr lang="de-DE" dirty="0"/>
            </a:p>
          </p:txBody>
        </p:sp>
        <p:sp>
          <p:nvSpPr>
            <p:cNvPr id="1332" name="Freeform 490"/>
            <p:cNvSpPr>
              <a:spLocks/>
            </p:cNvSpPr>
            <p:nvPr/>
          </p:nvSpPr>
          <p:spPr bwMode="auto">
            <a:xfrm>
              <a:off x="11010857" y="5736216"/>
              <a:ext cx="4762" cy="4763"/>
            </a:xfrm>
            <a:custGeom>
              <a:avLst/>
              <a:gdLst>
                <a:gd name="T0" fmla="*/ 15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29" y="10"/>
                  </a:lnTo>
                  <a:lnTo>
                    <a:pt x="30" y="15"/>
                  </a:lnTo>
                  <a:lnTo>
                    <a:pt x="29" y="20"/>
                  </a:lnTo>
                  <a:lnTo>
                    <a:pt x="27" y="23"/>
                  </a:lnTo>
                  <a:lnTo>
                    <a:pt x="24" y="27"/>
                  </a:lnTo>
                  <a:lnTo>
                    <a:pt x="20"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333" name="Freeform 491"/>
            <p:cNvSpPr>
              <a:spLocks/>
            </p:cNvSpPr>
            <p:nvPr/>
          </p:nvSpPr>
          <p:spPr bwMode="auto">
            <a:xfrm>
              <a:off x="11023556"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1334" name="Freeform 492"/>
            <p:cNvSpPr>
              <a:spLocks/>
            </p:cNvSpPr>
            <p:nvPr/>
          </p:nvSpPr>
          <p:spPr bwMode="auto">
            <a:xfrm>
              <a:off x="11037842"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335" name="Freeform 493"/>
            <p:cNvSpPr>
              <a:spLocks/>
            </p:cNvSpPr>
            <p:nvPr/>
          </p:nvSpPr>
          <p:spPr bwMode="auto">
            <a:xfrm>
              <a:off x="11052128"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36" name="Freeform 494"/>
            <p:cNvSpPr>
              <a:spLocks/>
            </p:cNvSpPr>
            <p:nvPr/>
          </p:nvSpPr>
          <p:spPr bwMode="auto">
            <a:xfrm>
              <a:off x="11066414" y="5736216"/>
              <a:ext cx="4762" cy="4763"/>
            </a:xfrm>
            <a:custGeom>
              <a:avLst/>
              <a:gdLst>
                <a:gd name="T0" fmla="*/ 15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6"/>
                  </a:lnTo>
                  <a:lnTo>
                    <a:pt x="29" y="10"/>
                  </a:lnTo>
                  <a:lnTo>
                    <a:pt x="30"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337" name="Freeform 495"/>
            <p:cNvSpPr>
              <a:spLocks/>
            </p:cNvSpPr>
            <p:nvPr/>
          </p:nvSpPr>
          <p:spPr bwMode="auto">
            <a:xfrm>
              <a:off x="11079113"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338" name="Freeform 496"/>
            <p:cNvSpPr>
              <a:spLocks/>
            </p:cNvSpPr>
            <p:nvPr/>
          </p:nvSpPr>
          <p:spPr bwMode="auto">
            <a:xfrm>
              <a:off x="11093399"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1339" name="Freeform 497"/>
            <p:cNvSpPr>
              <a:spLocks/>
            </p:cNvSpPr>
            <p:nvPr/>
          </p:nvSpPr>
          <p:spPr bwMode="auto">
            <a:xfrm>
              <a:off x="11107685"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1" y="29"/>
                  </a:lnTo>
                  <a:lnTo>
                    <a:pt x="7" y="27"/>
                  </a:lnTo>
                  <a:lnTo>
                    <a:pt x="4" y="23"/>
                  </a:lnTo>
                  <a:lnTo>
                    <a:pt x="1" y="20"/>
                  </a:lnTo>
                  <a:lnTo>
                    <a:pt x="0" y="15"/>
                  </a:lnTo>
                  <a:lnTo>
                    <a:pt x="1" y="10"/>
                  </a:lnTo>
                  <a:lnTo>
                    <a:pt x="4" y="6"/>
                  </a:lnTo>
                  <a:lnTo>
                    <a:pt x="7" y="4"/>
                  </a:lnTo>
                  <a:lnTo>
                    <a:pt x="11" y="1"/>
                  </a:lnTo>
                  <a:lnTo>
                    <a:pt x="16" y="0"/>
                  </a:lnTo>
                  <a:close/>
                </a:path>
              </a:pathLst>
            </a:custGeom>
            <a:solidFill>
              <a:schemeClr val="accent5"/>
            </a:solidFill>
            <a:ln>
              <a:noFill/>
            </a:ln>
          </p:spPr>
          <p:txBody>
            <a:bodyPr/>
            <a:lstStyle/>
            <a:p>
              <a:endParaRPr lang="de-DE" dirty="0"/>
            </a:p>
          </p:txBody>
        </p:sp>
        <p:sp>
          <p:nvSpPr>
            <p:cNvPr id="1340" name="Freeform 498"/>
            <p:cNvSpPr>
              <a:spLocks/>
            </p:cNvSpPr>
            <p:nvPr/>
          </p:nvSpPr>
          <p:spPr bwMode="auto">
            <a:xfrm>
              <a:off x="111219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41" name="Freeform 499"/>
            <p:cNvSpPr>
              <a:spLocks/>
            </p:cNvSpPr>
            <p:nvPr/>
          </p:nvSpPr>
          <p:spPr bwMode="auto">
            <a:xfrm>
              <a:off x="11136257"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342" name="Freeform 500"/>
            <p:cNvSpPr>
              <a:spLocks/>
            </p:cNvSpPr>
            <p:nvPr/>
          </p:nvSpPr>
          <p:spPr bwMode="auto">
            <a:xfrm>
              <a:off x="11148956"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343" name="Freeform 501"/>
            <p:cNvSpPr>
              <a:spLocks/>
            </p:cNvSpPr>
            <p:nvPr/>
          </p:nvSpPr>
          <p:spPr bwMode="auto">
            <a:xfrm>
              <a:off x="11163242"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344" name="Freeform 502"/>
            <p:cNvSpPr>
              <a:spLocks/>
            </p:cNvSpPr>
            <p:nvPr/>
          </p:nvSpPr>
          <p:spPr bwMode="auto">
            <a:xfrm>
              <a:off x="11177528"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45" name="Freeform 503"/>
            <p:cNvSpPr>
              <a:spLocks/>
            </p:cNvSpPr>
            <p:nvPr/>
          </p:nvSpPr>
          <p:spPr bwMode="auto">
            <a:xfrm>
              <a:off x="11190227"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1346" name="Freeform 504"/>
            <p:cNvSpPr>
              <a:spLocks/>
            </p:cNvSpPr>
            <p:nvPr/>
          </p:nvSpPr>
          <p:spPr bwMode="auto">
            <a:xfrm>
              <a:off x="112045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347" name="Freeform 505"/>
            <p:cNvSpPr>
              <a:spLocks/>
            </p:cNvSpPr>
            <p:nvPr/>
          </p:nvSpPr>
          <p:spPr bwMode="auto">
            <a:xfrm>
              <a:off x="11218799"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1348" name="Freeform 506"/>
            <p:cNvSpPr>
              <a:spLocks/>
            </p:cNvSpPr>
            <p:nvPr/>
          </p:nvSpPr>
          <p:spPr bwMode="auto">
            <a:xfrm>
              <a:off x="11233085"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349" name="Freeform 507"/>
            <p:cNvSpPr>
              <a:spLocks/>
            </p:cNvSpPr>
            <p:nvPr/>
          </p:nvSpPr>
          <p:spPr bwMode="auto">
            <a:xfrm>
              <a:off x="112473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50" name="Freeform 508"/>
            <p:cNvSpPr>
              <a:spLocks/>
            </p:cNvSpPr>
            <p:nvPr/>
          </p:nvSpPr>
          <p:spPr bwMode="auto">
            <a:xfrm>
              <a:off x="11260070" y="5736216"/>
              <a:ext cx="4762" cy="4763"/>
            </a:xfrm>
            <a:custGeom>
              <a:avLst/>
              <a:gdLst>
                <a:gd name="T0" fmla="*/ 15 w 29"/>
                <a:gd name="T1" fmla="*/ 0 h 30"/>
                <a:gd name="T2" fmla="*/ 19 w 29"/>
                <a:gd name="T3" fmla="*/ 1 h 30"/>
                <a:gd name="T4" fmla="*/ 23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6"/>
                  </a:lnTo>
                  <a:lnTo>
                    <a:pt x="29" y="10"/>
                  </a:lnTo>
                  <a:lnTo>
                    <a:pt x="29"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351" name="Freeform 509"/>
            <p:cNvSpPr>
              <a:spLocks/>
            </p:cNvSpPr>
            <p:nvPr/>
          </p:nvSpPr>
          <p:spPr bwMode="auto">
            <a:xfrm>
              <a:off x="11274356"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352" name="Freeform 510"/>
            <p:cNvSpPr>
              <a:spLocks/>
            </p:cNvSpPr>
            <p:nvPr/>
          </p:nvSpPr>
          <p:spPr bwMode="auto">
            <a:xfrm>
              <a:off x="11288642"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1353" name="Freeform 511"/>
            <p:cNvSpPr>
              <a:spLocks/>
            </p:cNvSpPr>
            <p:nvPr/>
          </p:nvSpPr>
          <p:spPr bwMode="auto">
            <a:xfrm>
              <a:off x="113029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354" name="Freeform 512"/>
            <p:cNvSpPr>
              <a:spLocks/>
            </p:cNvSpPr>
            <p:nvPr/>
          </p:nvSpPr>
          <p:spPr bwMode="auto">
            <a:xfrm>
              <a:off x="113156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55" name="Freeform 513"/>
            <p:cNvSpPr>
              <a:spLocks/>
            </p:cNvSpPr>
            <p:nvPr/>
          </p:nvSpPr>
          <p:spPr bwMode="auto">
            <a:xfrm>
              <a:off x="113299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356" name="Freeform 514"/>
            <p:cNvSpPr>
              <a:spLocks/>
            </p:cNvSpPr>
            <p:nvPr/>
          </p:nvSpPr>
          <p:spPr bwMode="auto">
            <a:xfrm>
              <a:off x="11344199"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357" name="Freeform 515"/>
            <p:cNvSpPr>
              <a:spLocks/>
            </p:cNvSpPr>
            <p:nvPr/>
          </p:nvSpPr>
          <p:spPr bwMode="auto">
            <a:xfrm>
              <a:off x="11358485" y="5736216"/>
              <a:ext cx="4762" cy="4763"/>
            </a:xfrm>
            <a:custGeom>
              <a:avLst/>
              <a:gdLst>
                <a:gd name="T0" fmla="*/ 16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6"/>
                  </a:lnTo>
                  <a:lnTo>
                    <a:pt x="29" y="10"/>
                  </a:lnTo>
                  <a:lnTo>
                    <a:pt x="30" y="15"/>
                  </a:lnTo>
                  <a:lnTo>
                    <a:pt x="29" y="20"/>
                  </a:lnTo>
                  <a:lnTo>
                    <a:pt x="27" y="23"/>
                  </a:lnTo>
                  <a:lnTo>
                    <a:pt x="23"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358" name="Freeform 516"/>
            <p:cNvSpPr>
              <a:spLocks/>
            </p:cNvSpPr>
            <p:nvPr/>
          </p:nvSpPr>
          <p:spPr bwMode="auto">
            <a:xfrm>
              <a:off x="11371184" y="5736216"/>
              <a:ext cx="4762" cy="4763"/>
            </a:xfrm>
            <a:custGeom>
              <a:avLst/>
              <a:gdLst>
                <a:gd name="T0" fmla="*/ 15 w 29"/>
                <a:gd name="T1" fmla="*/ 0 h 30"/>
                <a:gd name="T2" fmla="*/ 19 w 29"/>
                <a:gd name="T3" fmla="*/ 1 h 30"/>
                <a:gd name="T4" fmla="*/ 24 w 29"/>
                <a:gd name="T5" fmla="*/ 4 h 30"/>
                <a:gd name="T6" fmla="*/ 27 w 29"/>
                <a:gd name="T7" fmla="*/ 6 h 30"/>
                <a:gd name="T8" fmla="*/ 28 w 29"/>
                <a:gd name="T9" fmla="*/ 10 h 30"/>
                <a:gd name="T10" fmla="*/ 29 w 29"/>
                <a:gd name="T11" fmla="*/ 15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8" y="10"/>
                  </a:lnTo>
                  <a:lnTo>
                    <a:pt x="29" y="15"/>
                  </a:lnTo>
                  <a:lnTo>
                    <a:pt x="28" y="20"/>
                  </a:lnTo>
                  <a:lnTo>
                    <a:pt x="27" y="23"/>
                  </a:lnTo>
                  <a:lnTo>
                    <a:pt x="24" y="27"/>
                  </a:lnTo>
                  <a:lnTo>
                    <a:pt x="19" y="29"/>
                  </a:lnTo>
                  <a:lnTo>
                    <a:pt x="15" y="30"/>
                  </a:lnTo>
                  <a:lnTo>
                    <a:pt x="9" y="29"/>
                  </a:lnTo>
                  <a:lnTo>
                    <a:pt x="6" y="27"/>
                  </a:lnTo>
                  <a:lnTo>
                    <a:pt x="3" y="23"/>
                  </a:lnTo>
                  <a:lnTo>
                    <a:pt x="1" y="20"/>
                  </a:lnTo>
                  <a:lnTo>
                    <a:pt x="0" y="15"/>
                  </a:lnTo>
                  <a:lnTo>
                    <a:pt x="1" y="10"/>
                  </a:lnTo>
                  <a:lnTo>
                    <a:pt x="3" y="6"/>
                  </a:lnTo>
                  <a:lnTo>
                    <a:pt x="6" y="4"/>
                  </a:lnTo>
                  <a:lnTo>
                    <a:pt x="9" y="1"/>
                  </a:lnTo>
                  <a:lnTo>
                    <a:pt x="15" y="0"/>
                  </a:lnTo>
                  <a:close/>
                </a:path>
              </a:pathLst>
            </a:custGeom>
            <a:solidFill>
              <a:schemeClr val="accent5"/>
            </a:solidFill>
            <a:ln>
              <a:noFill/>
            </a:ln>
          </p:spPr>
          <p:txBody>
            <a:bodyPr/>
            <a:lstStyle/>
            <a:p>
              <a:endParaRPr lang="de-DE" dirty="0"/>
            </a:p>
          </p:txBody>
        </p:sp>
        <p:sp>
          <p:nvSpPr>
            <p:cNvPr id="1359" name="Freeform 517"/>
            <p:cNvSpPr>
              <a:spLocks/>
            </p:cNvSpPr>
            <p:nvPr/>
          </p:nvSpPr>
          <p:spPr bwMode="auto">
            <a:xfrm>
              <a:off x="11385470"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1360" name="Freeform 518"/>
            <p:cNvSpPr>
              <a:spLocks/>
            </p:cNvSpPr>
            <p:nvPr/>
          </p:nvSpPr>
          <p:spPr bwMode="auto">
            <a:xfrm>
              <a:off x="11399756"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361" name="Freeform 519"/>
            <p:cNvSpPr>
              <a:spLocks/>
            </p:cNvSpPr>
            <p:nvPr/>
          </p:nvSpPr>
          <p:spPr bwMode="auto">
            <a:xfrm>
              <a:off x="11414042"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362" name="Freeform 520"/>
            <p:cNvSpPr>
              <a:spLocks/>
            </p:cNvSpPr>
            <p:nvPr/>
          </p:nvSpPr>
          <p:spPr bwMode="auto">
            <a:xfrm>
              <a:off x="114283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363" name="Freeform 521"/>
            <p:cNvSpPr>
              <a:spLocks/>
            </p:cNvSpPr>
            <p:nvPr/>
          </p:nvSpPr>
          <p:spPr bwMode="auto">
            <a:xfrm>
              <a:off x="114410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364" name="Freeform 522"/>
            <p:cNvSpPr>
              <a:spLocks/>
            </p:cNvSpPr>
            <p:nvPr/>
          </p:nvSpPr>
          <p:spPr bwMode="auto">
            <a:xfrm>
              <a:off x="10967999"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365" name="Freeform 523"/>
            <p:cNvSpPr>
              <a:spLocks/>
            </p:cNvSpPr>
            <p:nvPr/>
          </p:nvSpPr>
          <p:spPr bwMode="auto">
            <a:xfrm>
              <a:off x="10982285"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66" name="Freeform 525"/>
            <p:cNvSpPr>
              <a:spLocks/>
            </p:cNvSpPr>
            <p:nvPr/>
          </p:nvSpPr>
          <p:spPr bwMode="auto">
            <a:xfrm>
              <a:off x="10996571" y="5790197"/>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1367" name="Freeform 526"/>
            <p:cNvSpPr>
              <a:spLocks/>
            </p:cNvSpPr>
            <p:nvPr/>
          </p:nvSpPr>
          <p:spPr bwMode="auto">
            <a:xfrm>
              <a:off x="11010857" y="5790197"/>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368" name="Freeform 527"/>
            <p:cNvSpPr>
              <a:spLocks/>
            </p:cNvSpPr>
            <p:nvPr/>
          </p:nvSpPr>
          <p:spPr bwMode="auto">
            <a:xfrm>
              <a:off x="11023556"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369" name="Freeform 528"/>
            <p:cNvSpPr>
              <a:spLocks/>
            </p:cNvSpPr>
            <p:nvPr/>
          </p:nvSpPr>
          <p:spPr bwMode="auto">
            <a:xfrm>
              <a:off x="11037842"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370" name="Freeform 529"/>
            <p:cNvSpPr>
              <a:spLocks/>
            </p:cNvSpPr>
            <p:nvPr/>
          </p:nvSpPr>
          <p:spPr bwMode="auto">
            <a:xfrm>
              <a:off x="11052128"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71" name="Freeform 530"/>
            <p:cNvSpPr>
              <a:spLocks/>
            </p:cNvSpPr>
            <p:nvPr/>
          </p:nvSpPr>
          <p:spPr bwMode="auto">
            <a:xfrm>
              <a:off x="11066414" y="5790197"/>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372" name="Freeform 531"/>
            <p:cNvSpPr>
              <a:spLocks/>
            </p:cNvSpPr>
            <p:nvPr/>
          </p:nvSpPr>
          <p:spPr bwMode="auto">
            <a:xfrm>
              <a:off x="11079113"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373" name="Freeform 532"/>
            <p:cNvSpPr>
              <a:spLocks/>
            </p:cNvSpPr>
            <p:nvPr/>
          </p:nvSpPr>
          <p:spPr bwMode="auto">
            <a:xfrm>
              <a:off x="11093399"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374" name="Freeform 533"/>
            <p:cNvSpPr>
              <a:spLocks/>
            </p:cNvSpPr>
            <p:nvPr/>
          </p:nvSpPr>
          <p:spPr bwMode="auto">
            <a:xfrm>
              <a:off x="11107685"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1375" name="Freeform 534"/>
            <p:cNvSpPr>
              <a:spLocks/>
            </p:cNvSpPr>
            <p:nvPr/>
          </p:nvSpPr>
          <p:spPr bwMode="auto">
            <a:xfrm>
              <a:off x="111219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76" name="Freeform 535"/>
            <p:cNvSpPr>
              <a:spLocks/>
            </p:cNvSpPr>
            <p:nvPr/>
          </p:nvSpPr>
          <p:spPr bwMode="auto">
            <a:xfrm>
              <a:off x="11136257"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377" name="Freeform 536"/>
            <p:cNvSpPr>
              <a:spLocks/>
            </p:cNvSpPr>
            <p:nvPr/>
          </p:nvSpPr>
          <p:spPr bwMode="auto">
            <a:xfrm>
              <a:off x="11148956"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378" name="Freeform 537"/>
            <p:cNvSpPr>
              <a:spLocks/>
            </p:cNvSpPr>
            <p:nvPr/>
          </p:nvSpPr>
          <p:spPr bwMode="auto">
            <a:xfrm>
              <a:off x="11163242"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379" name="Freeform 538"/>
            <p:cNvSpPr>
              <a:spLocks/>
            </p:cNvSpPr>
            <p:nvPr/>
          </p:nvSpPr>
          <p:spPr bwMode="auto">
            <a:xfrm>
              <a:off x="11177528"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80" name="Freeform 539"/>
            <p:cNvSpPr>
              <a:spLocks/>
            </p:cNvSpPr>
            <p:nvPr/>
          </p:nvSpPr>
          <p:spPr bwMode="auto">
            <a:xfrm>
              <a:off x="11190227"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381" name="Freeform 540"/>
            <p:cNvSpPr>
              <a:spLocks/>
            </p:cNvSpPr>
            <p:nvPr/>
          </p:nvSpPr>
          <p:spPr bwMode="auto">
            <a:xfrm>
              <a:off x="112045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382" name="Freeform 541"/>
            <p:cNvSpPr>
              <a:spLocks/>
            </p:cNvSpPr>
            <p:nvPr/>
          </p:nvSpPr>
          <p:spPr bwMode="auto">
            <a:xfrm>
              <a:off x="11218799"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383" name="Freeform 542"/>
            <p:cNvSpPr>
              <a:spLocks/>
            </p:cNvSpPr>
            <p:nvPr/>
          </p:nvSpPr>
          <p:spPr bwMode="auto">
            <a:xfrm>
              <a:off x="11233085"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384" name="Freeform 543"/>
            <p:cNvSpPr>
              <a:spLocks/>
            </p:cNvSpPr>
            <p:nvPr/>
          </p:nvSpPr>
          <p:spPr bwMode="auto">
            <a:xfrm>
              <a:off x="112473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85" name="Freeform 544"/>
            <p:cNvSpPr>
              <a:spLocks/>
            </p:cNvSpPr>
            <p:nvPr/>
          </p:nvSpPr>
          <p:spPr bwMode="auto">
            <a:xfrm>
              <a:off x="11260070" y="5790197"/>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386" name="Freeform 545"/>
            <p:cNvSpPr>
              <a:spLocks/>
            </p:cNvSpPr>
            <p:nvPr/>
          </p:nvSpPr>
          <p:spPr bwMode="auto">
            <a:xfrm>
              <a:off x="11274356"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387" name="Freeform 546"/>
            <p:cNvSpPr>
              <a:spLocks/>
            </p:cNvSpPr>
            <p:nvPr/>
          </p:nvSpPr>
          <p:spPr bwMode="auto">
            <a:xfrm>
              <a:off x="11288642"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388" name="Freeform 547"/>
            <p:cNvSpPr>
              <a:spLocks/>
            </p:cNvSpPr>
            <p:nvPr/>
          </p:nvSpPr>
          <p:spPr bwMode="auto">
            <a:xfrm>
              <a:off x="113029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389" name="Freeform 548"/>
            <p:cNvSpPr>
              <a:spLocks/>
            </p:cNvSpPr>
            <p:nvPr/>
          </p:nvSpPr>
          <p:spPr bwMode="auto">
            <a:xfrm>
              <a:off x="113156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90" name="Freeform 549"/>
            <p:cNvSpPr>
              <a:spLocks/>
            </p:cNvSpPr>
            <p:nvPr/>
          </p:nvSpPr>
          <p:spPr bwMode="auto">
            <a:xfrm>
              <a:off x="113299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391" name="Freeform 550"/>
            <p:cNvSpPr>
              <a:spLocks/>
            </p:cNvSpPr>
            <p:nvPr/>
          </p:nvSpPr>
          <p:spPr bwMode="auto">
            <a:xfrm>
              <a:off x="11344199"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392" name="Freeform 551"/>
            <p:cNvSpPr>
              <a:spLocks/>
            </p:cNvSpPr>
            <p:nvPr/>
          </p:nvSpPr>
          <p:spPr bwMode="auto">
            <a:xfrm>
              <a:off x="11358485" y="5790197"/>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393" name="Freeform 552"/>
            <p:cNvSpPr>
              <a:spLocks/>
            </p:cNvSpPr>
            <p:nvPr/>
          </p:nvSpPr>
          <p:spPr bwMode="auto">
            <a:xfrm>
              <a:off x="11371184" y="5790197"/>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1394" name="Freeform 553"/>
            <p:cNvSpPr>
              <a:spLocks/>
            </p:cNvSpPr>
            <p:nvPr/>
          </p:nvSpPr>
          <p:spPr bwMode="auto">
            <a:xfrm>
              <a:off x="11385470"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395" name="Freeform 554"/>
            <p:cNvSpPr>
              <a:spLocks/>
            </p:cNvSpPr>
            <p:nvPr/>
          </p:nvSpPr>
          <p:spPr bwMode="auto">
            <a:xfrm>
              <a:off x="11399756"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396" name="Freeform 555"/>
            <p:cNvSpPr>
              <a:spLocks/>
            </p:cNvSpPr>
            <p:nvPr/>
          </p:nvSpPr>
          <p:spPr bwMode="auto">
            <a:xfrm>
              <a:off x="11414042"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397" name="Freeform 556"/>
            <p:cNvSpPr>
              <a:spLocks/>
            </p:cNvSpPr>
            <p:nvPr/>
          </p:nvSpPr>
          <p:spPr bwMode="auto">
            <a:xfrm>
              <a:off x="114283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398" name="Freeform 557"/>
            <p:cNvSpPr>
              <a:spLocks/>
            </p:cNvSpPr>
            <p:nvPr/>
          </p:nvSpPr>
          <p:spPr bwMode="auto">
            <a:xfrm>
              <a:off x="114410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399" name="Freeform 558"/>
            <p:cNvSpPr>
              <a:spLocks/>
            </p:cNvSpPr>
            <p:nvPr/>
          </p:nvSpPr>
          <p:spPr bwMode="auto">
            <a:xfrm>
              <a:off x="10967999"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400" name="Freeform 559"/>
            <p:cNvSpPr>
              <a:spLocks/>
            </p:cNvSpPr>
            <p:nvPr/>
          </p:nvSpPr>
          <p:spPr bwMode="auto">
            <a:xfrm>
              <a:off x="10982285"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01" name="Freeform 560"/>
            <p:cNvSpPr>
              <a:spLocks/>
            </p:cNvSpPr>
            <p:nvPr/>
          </p:nvSpPr>
          <p:spPr bwMode="auto">
            <a:xfrm>
              <a:off x="10996571" y="5845766"/>
              <a:ext cx="4762" cy="3175"/>
            </a:xfrm>
            <a:custGeom>
              <a:avLst/>
              <a:gdLst>
                <a:gd name="T0" fmla="*/ 14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0"/>
                  </a:lnTo>
                  <a:lnTo>
                    <a:pt x="30" y="16"/>
                  </a:lnTo>
                  <a:lnTo>
                    <a:pt x="29" y="20"/>
                  </a:lnTo>
                  <a:lnTo>
                    <a:pt x="27" y="23"/>
                  </a:lnTo>
                  <a:lnTo>
                    <a:pt x="23" y="27"/>
                  </a:lnTo>
                  <a:lnTo>
                    <a:pt x="19" y="29"/>
                  </a:lnTo>
                  <a:lnTo>
                    <a:pt x="14" y="30"/>
                  </a:lnTo>
                  <a:lnTo>
                    <a:pt x="10" y="29"/>
                  </a:lnTo>
                  <a:lnTo>
                    <a:pt x="6" y="27"/>
                  </a:lnTo>
                  <a:lnTo>
                    <a:pt x="2" y="23"/>
                  </a:lnTo>
                  <a:lnTo>
                    <a:pt x="0" y="20"/>
                  </a:lnTo>
                  <a:lnTo>
                    <a:pt x="0" y="16"/>
                  </a:lnTo>
                  <a:lnTo>
                    <a:pt x="0" y="10"/>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1402" name="Freeform 561"/>
            <p:cNvSpPr>
              <a:spLocks/>
            </p:cNvSpPr>
            <p:nvPr/>
          </p:nvSpPr>
          <p:spPr bwMode="auto">
            <a:xfrm>
              <a:off x="11010857" y="5845766"/>
              <a:ext cx="4762" cy="3175"/>
            </a:xfrm>
            <a:custGeom>
              <a:avLst/>
              <a:gdLst>
                <a:gd name="T0" fmla="*/ 15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0"/>
                  </a:lnTo>
                  <a:lnTo>
                    <a:pt x="30" y="16"/>
                  </a:lnTo>
                  <a:lnTo>
                    <a:pt x="29" y="20"/>
                  </a:lnTo>
                  <a:lnTo>
                    <a:pt x="27" y="23"/>
                  </a:lnTo>
                  <a:lnTo>
                    <a:pt x="24" y="27"/>
                  </a:lnTo>
                  <a:lnTo>
                    <a:pt x="20"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403" name="Freeform 562"/>
            <p:cNvSpPr>
              <a:spLocks/>
            </p:cNvSpPr>
            <p:nvPr/>
          </p:nvSpPr>
          <p:spPr bwMode="auto">
            <a:xfrm>
              <a:off x="11023556"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404" name="Freeform 563"/>
            <p:cNvSpPr>
              <a:spLocks/>
            </p:cNvSpPr>
            <p:nvPr/>
          </p:nvSpPr>
          <p:spPr bwMode="auto">
            <a:xfrm>
              <a:off x="11037842"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405" name="Freeform 564"/>
            <p:cNvSpPr>
              <a:spLocks/>
            </p:cNvSpPr>
            <p:nvPr/>
          </p:nvSpPr>
          <p:spPr bwMode="auto">
            <a:xfrm>
              <a:off x="11052128"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06" name="Freeform 565"/>
            <p:cNvSpPr>
              <a:spLocks/>
            </p:cNvSpPr>
            <p:nvPr/>
          </p:nvSpPr>
          <p:spPr bwMode="auto">
            <a:xfrm>
              <a:off x="11066414" y="5845766"/>
              <a:ext cx="4762" cy="3175"/>
            </a:xfrm>
            <a:custGeom>
              <a:avLst/>
              <a:gdLst>
                <a:gd name="T0" fmla="*/ 15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0"/>
                  </a:lnTo>
                  <a:lnTo>
                    <a:pt x="30"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407" name="Freeform 566"/>
            <p:cNvSpPr>
              <a:spLocks/>
            </p:cNvSpPr>
            <p:nvPr/>
          </p:nvSpPr>
          <p:spPr bwMode="auto">
            <a:xfrm>
              <a:off x="11079113"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408" name="Freeform 567"/>
            <p:cNvSpPr>
              <a:spLocks/>
            </p:cNvSpPr>
            <p:nvPr/>
          </p:nvSpPr>
          <p:spPr bwMode="auto">
            <a:xfrm>
              <a:off x="11093399"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409" name="Freeform 568"/>
            <p:cNvSpPr>
              <a:spLocks/>
            </p:cNvSpPr>
            <p:nvPr/>
          </p:nvSpPr>
          <p:spPr bwMode="auto">
            <a:xfrm>
              <a:off x="11107685"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1" y="29"/>
                  </a:lnTo>
                  <a:lnTo>
                    <a:pt x="7" y="27"/>
                  </a:lnTo>
                  <a:lnTo>
                    <a:pt x="4" y="23"/>
                  </a:lnTo>
                  <a:lnTo>
                    <a:pt x="1" y="20"/>
                  </a:lnTo>
                  <a:lnTo>
                    <a:pt x="0" y="16"/>
                  </a:lnTo>
                  <a:lnTo>
                    <a:pt x="1" y="10"/>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1410" name="Freeform 569"/>
            <p:cNvSpPr>
              <a:spLocks/>
            </p:cNvSpPr>
            <p:nvPr/>
          </p:nvSpPr>
          <p:spPr bwMode="auto">
            <a:xfrm>
              <a:off x="111219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11" name="Freeform 570"/>
            <p:cNvSpPr>
              <a:spLocks/>
            </p:cNvSpPr>
            <p:nvPr/>
          </p:nvSpPr>
          <p:spPr bwMode="auto">
            <a:xfrm>
              <a:off x="11136257"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412" name="Freeform 571"/>
            <p:cNvSpPr>
              <a:spLocks/>
            </p:cNvSpPr>
            <p:nvPr/>
          </p:nvSpPr>
          <p:spPr bwMode="auto">
            <a:xfrm>
              <a:off x="11148956"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413" name="Freeform 572"/>
            <p:cNvSpPr>
              <a:spLocks/>
            </p:cNvSpPr>
            <p:nvPr/>
          </p:nvSpPr>
          <p:spPr bwMode="auto">
            <a:xfrm>
              <a:off x="11163242"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414" name="Freeform 573"/>
            <p:cNvSpPr>
              <a:spLocks/>
            </p:cNvSpPr>
            <p:nvPr/>
          </p:nvSpPr>
          <p:spPr bwMode="auto">
            <a:xfrm>
              <a:off x="11177528"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15" name="Freeform 574"/>
            <p:cNvSpPr>
              <a:spLocks/>
            </p:cNvSpPr>
            <p:nvPr/>
          </p:nvSpPr>
          <p:spPr bwMode="auto">
            <a:xfrm>
              <a:off x="11190227"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416" name="Freeform 575"/>
            <p:cNvSpPr>
              <a:spLocks/>
            </p:cNvSpPr>
            <p:nvPr/>
          </p:nvSpPr>
          <p:spPr bwMode="auto">
            <a:xfrm>
              <a:off x="112045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417" name="Freeform 576"/>
            <p:cNvSpPr>
              <a:spLocks/>
            </p:cNvSpPr>
            <p:nvPr/>
          </p:nvSpPr>
          <p:spPr bwMode="auto">
            <a:xfrm>
              <a:off x="11218799"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418" name="Freeform 577"/>
            <p:cNvSpPr>
              <a:spLocks/>
            </p:cNvSpPr>
            <p:nvPr/>
          </p:nvSpPr>
          <p:spPr bwMode="auto">
            <a:xfrm>
              <a:off x="11233085"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419" name="Freeform 578"/>
            <p:cNvSpPr>
              <a:spLocks/>
            </p:cNvSpPr>
            <p:nvPr/>
          </p:nvSpPr>
          <p:spPr bwMode="auto">
            <a:xfrm>
              <a:off x="112473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20" name="Freeform 579"/>
            <p:cNvSpPr>
              <a:spLocks/>
            </p:cNvSpPr>
            <p:nvPr/>
          </p:nvSpPr>
          <p:spPr bwMode="auto">
            <a:xfrm>
              <a:off x="11260070" y="5845766"/>
              <a:ext cx="4762" cy="3175"/>
            </a:xfrm>
            <a:custGeom>
              <a:avLst/>
              <a:gdLst>
                <a:gd name="T0" fmla="*/ 15 w 29"/>
                <a:gd name="T1" fmla="*/ 0 h 30"/>
                <a:gd name="T2" fmla="*/ 19 w 29"/>
                <a:gd name="T3" fmla="*/ 1 h 30"/>
                <a:gd name="T4" fmla="*/ 23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0"/>
                  </a:lnTo>
                  <a:lnTo>
                    <a:pt x="29"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421" name="Freeform 580"/>
            <p:cNvSpPr>
              <a:spLocks/>
            </p:cNvSpPr>
            <p:nvPr/>
          </p:nvSpPr>
          <p:spPr bwMode="auto">
            <a:xfrm>
              <a:off x="11274356"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422" name="Freeform 581"/>
            <p:cNvSpPr>
              <a:spLocks/>
            </p:cNvSpPr>
            <p:nvPr/>
          </p:nvSpPr>
          <p:spPr bwMode="auto">
            <a:xfrm>
              <a:off x="11288642"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423" name="Freeform 582"/>
            <p:cNvSpPr>
              <a:spLocks/>
            </p:cNvSpPr>
            <p:nvPr/>
          </p:nvSpPr>
          <p:spPr bwMode="auto">
            <a:xfrm>
              <a:off x="113029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424" name="Freeform 583"/>
            <p:cNvSpPr>
              <a:spLocks/>
            </p:cNvSpPr>
            <p:nvPr/>
          </p:nvSpPr>
          <p:spPr bwMode="auto">
            <a:xfrm>
              <a:off x="113156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25" name="Freeform 584"/>
            <p:cNvSpPr>
              <a:spLocks/>
            </p:cNvSpPr>
            <p:nvPr/>
          </p:nvSpPr>
          <p:spPr bwMode="auto">
            <a:xfrm>
              <a:off x="113299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426" name="Freeform 585"/>
            <p:cNvSpPr>
              <a:spLocks/>
            </p:cNvSpPr>
            <p:nvPr/>
          </p:nvSpPr>
          <p:spPr bwMode="auto">
            <a:xfrm>
              <a:off x="11344199"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427" name="Freeform 586"/>
            <p:cNvSpPr>
              <a:spLocks/>
            </p:cNvSpPr>
            <p:nvPr/>
          </p:nvSpPr>
          <p:spPr bwMode="auto">
            <a:xfrm>
              <a:off x="11358485" y="5845766"/>
              <a:ext cx="4762" cy="3175"/>
            </a:xfrm>
            <a:custGeom>
              <a:avLst/>
              <a:gdLst>
                <a:gd name="T0" fmla="*/ 16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0"/>
                  </a:lnTo>
                  <a:lnTo>
                    <a:pt x="30" y="16"/>
                  </a:lnTo>
                  <a:lnTo>
                    <a:pt x="29" y="20"/>
                  </a:lnTo>
                  <a:lnTo>
                    <a:pt x="27" y="23"/>
                  </a:lnTo>
                  <a:lnTo>
                    <a:pt x="23"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428" name="Freeform 587"/>
            <p:cNvSpPr>
              <a:spLocks/>
            </p:cNvSpPr>
            <p:nvPr/>
          </p:nvSpPr>
          <p:spPr bwMode="auto">
            <a:xfrm>
              <a:off x="11371184" y="5845766"/>
              <a:ext cx="4762" cy="3175"/>
            </a:xfrm>
            <a:custGeom>
              <a:avLst/>
              <a:gdLst>
                <a:gd name="T0" fmla="*/ 15 w 29"/>
                <a:gd name="T1" fmla="*/ 0 h 30"/>
                <a:gd name="T2" fmla="*/ 19 w 29"/>
                <a:gd name="T3" fmla="*/ 1 h 30"/>
                <a:gd name="T4" fmla="*/ 24 w 29"/>
                <a:gd name="T5" fmla="*/ 3 h 30"/>
                <a:gd name="T6" fmla="*/ 27 w 29"/>
                <a:gd name="T7" fmla="*/ 7 h 30"/>
                <a:gd name="T8" fmla="*/ 28 w 29"/>
                <a:gd name="T9" fmla="*/ 10 h 30"/>
                <a:gd name="T10" fmla="*/ 29 w 29"/>
                <a:gd name="T11" fmla="*/ 16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0"/>
                  </a:lnTo>
                  <a:lnTo>
                    <a:pt x="29" y="16"/>
                  </a:lnTo>
                  <a:lnTo>
                    <a:pt x="28" y="20"/>
                  </a:lnTo>
                  <a:lnTo>
                    <a:pt x="27" y="23"/>
                  </a:lnTo>
                  <a:lnTo>
                    <a:pt x="24" y="27"/>
                  </a:lnTo>
                  <a:lnTo>
                    <a:pt x="19" y="29"/>
                  </a:lnTo>
                  <a:lnTo>
                    <a:pt x="15" y="30"/>
                  </a:lnTo>
                  <a:lnTo>
                    <a:pt x="9" y="29"/>
                  </a:lnTo>
                  <a:lnTo>
                    <a:pt x="6" y="27"/>
                  </a:lnTo>
                  <a:lnTo>
                    <a:pt x="3" y="23"/>
                  </a:lnTo>
                  <a:lnTo>
                    <a:pt x="1" y="20"/>
                  </a:lnTo>
                  <a:lnTo>
                    <a:pt x="0" y="16"/>
                  </a:lnTo>
                  <a:lnTo>
                    <a:pt x="1" y="10"/>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1429" name="Freeform 588"/>
            <p:cNvSpPr>
              <a:spLocks/>
            </p:cNvSpPr>
            <p:nvPr/>
          </p:nvSpPr>
          <p:spPr bwMode="auto">
            <a:xfrm>
              <a:off x="11385470"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430" name="Freeform 589"/>
            <p:cNvSpPr>
              <a:spLocks/>
            </p:cNvSpPr>
            <p:nvPr/>
          </p:nvSpPr>
          <p:spPr bwMode="auto">
            <a:xfrm>
              <a:off x="11399756"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431" name="Freeform 590"/>
            <p:cNvSpPr>
              <a:spLocks/>
            </p:cNvSpPr>
            <p:nvPr/>
          </p:nvSpPr>
          <p:spPr bwMode="auto">
            <a:xfrm>
              <a:off x="11414042"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432" name="Freeform 591"/>
            <p:cNvSpPr>
              <a:spLocks/>
            </p:cNvSpPr>
            <p:nvPr/>
          </p:nvSpPr>
          <p:spPr bwMode="auto">
            <a:xfrm>
              <a:off x="114283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433" name="Freeform 592"/>
            <p:cNvSpPr>
              <a:spLocks/>
            </p:cNvSpPr>
            <p:nvPr/>
          </p:nvSpPr>
          <p:spPr bwMode="auto">
            <a:xfrm>
              <a:off x="114410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434" name="Freeform 593"/>
            <p:cNvSpPr>
              <a:spLocks/>
            </p:cNvSpPr>
            <p:nvPr/>
          </p:nvSpPr>
          <p:spPr bwMode="auto">
            <a:xfrm>
              <a:off x="10967999"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435" name="Freeform 594"/>
            <p:cNvSpPr>
              <a:spLocks/>
            </p:cNvSpPr>
            <p:nvPr/>
          </p:nvSpPr>
          <p:spPr bwMode="auto">
            <a:xfrm>
              <a:off x="10982285"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36" name="Freeform 595"/>
            <p:cNvSpPr>
              <a:spLocks/>
            </p:cNvSpPr>
            <p:nvPr/>
          </p:nvSpPr>
          <p:spPr bwMode="auto">
            <a:xfrm>
              <a:off x="10996571" y="5899747"/>
              <a:ext cx="4762" cy="4763"/>
            </a:xfrm>
            <a:custGeom>
              <a:avLst/>
              <a:gdLst>
                <a:gd name="T0" fmla="*/ 14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5"/>
                  </a:lnTo>
                  <a:lnTo>
                    <a:pt x="29" y="10"/>
                  </a:lnTo>
                  <a:lnTo>
                    <a:pt x="30" y="14"/>
                  </a:lnTo>
                  <a:lnTo>
                    <a:pt x="29" y="20"/>
                  </a:lnTo>
                  <a:lnTo>
                    <a:pt x="27" y="23"/>
                  </a:lnTo>
                  <a:lnTo>
                    <a:pt x="23" y="26"/>
                  </a:lnTo>
                  <a:lnTo>
                    <a:pt x="19" y="29"/>
                  </a:lnTo>
                  <a:lnTo>
                    <a:pt x="14" y="30"/>
                  </a:lnTo>
                  <a:lnTo>
                    <a:pt x="10" y="29"/>
                  </a:lnTo>
                  <a:lnTo>
                    <a:pt x="6" y="26"/>
                  </a:lnTo>
                  <a:lnTo>
                    <a:pt x="2" y="23"/>
                  </a:lnTo>
                  <a:lnTo>
                    <a:pt x="0" y="20"/>
                  </a:lnTo>
                  <a:lnTo>
                    <a:pt x="0" y="14"/>
                  </a:lnTo>
                  <a:lnTo>
                    <a:pt x="0" y="10"/>
                  </a:lnTo>
                  <a:lnTo>
                    <a:pt x="2" y="5"/>
                  </a:lnTo>
                  <a:lnTo>
                    <a:pt x="6" y="3"/>
                  </a:lnTo>
                  <a:lnTo>
                    <a:pt x="10" y="1"/>
                  </a:lnTo>
                  <a:lnTo>
                    <a:pt x="14" y="0"/>
                  </a:lnTo>
                  <a:close/>
                </a:path>
              </a:pathLst>
            </a:custGeom>
            <a:solidFill>
              <a:schemeClr val="accent5"/>
            </a:solidFill>
            <a:ln>
              <a:noFill/>
            </a:ln>
          </p:spPr>
          <p:txBody>
            <a:bodyPr/>
            <a:lstStyle/>
            <a:p>
              <a:endParaRPr lang="de-DE" dirty="0"/>
            </a:p>
          </p:txBody>
        </p:sp>
        <p:sp>
          <p:nvSpPr>
            <p:cNvPr id="1437" name="Freeform 596"/>
            <p:cNvSpPr>
              <a:spLocks/>
            </p:cNvSpPr>
            <p:nvPr/>
          </p:nvSpPr>
          <p:spPr bwMode="auto">
            <a:xfrm>
              <a:off x="11010857" y="5899747"/>
              <a:ext cx="4762" cy="4763"/>
            </a:xfrm>
            <a:custGeom>
              <a:avLst/>
              <a:gdLst>
                <a:gd name="T0" fmla="*/ 15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29" y="10"/>
                  </a:lnTo>
                  <a:lnTo>
                    <a:pt x="30" y="14"/>
                  </a:lnTo>
                  <a:lnTo>
                    <a:pt x="29" y="20"/>
                  </a:lnTo>
                  <a:lnTo>
                    <a:pt x="27" y="23"/>
                  </a:lnTo>
                  <a:lnTo>
                    <a:pt x="24" y="26"/>
                  </a:lnTo>
                  <a:lnTo>
                    <a:pt x="20"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438" name="Freeform 597"/>
            <p:cNvSpPr>
              <a:spLocks/>
            </p:cNvSpPr>
            <p:nvPr/>
          </p:nvSpPr>
          <p:spPr bwMode="auto">
            <a:xfrm>
              <a:off x="11023556"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1439" name="Freeform 598"/>
            <p:cNvSpPr>
              <a:spLocks/>
            </p:cNvSpPr>
            <p:nvPr/>
          </p:nvSpPr>
          <p:spPr bwMode="auto">
            <a:xfrm>
              <a:off x="11037842"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440" name="Freeform 599"/>
            <p:cNvSpPr>
              <a:spLocks/>
            </p:cNvSpPr>
            <p:nvPr/>
          </p:nvSpPr>
          <p:spPr bwMode="auto">
            <a:xfrm>
              <a:off x="11052128"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41" name="Freeform 600"/>
            <p:cNvSpPr>
              <a:spLocks/>
            </p:cNvSpPr>
            <p:nvPr/>
          </p:nvSpPr>
          <p:spPr bwMode="auto">
            <a:xfrm>
              <a:off x="11066414" y="5899747"/>
              <a:ext cx="4762" cy="4763"/>
            </a:xfrm>
            <a:custGeom>
              <a:avLst/>
              <a:gdLst>
                <a:gd name="T0" fmla="*/ 15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5"/>
                  </a:lnTo>
                  <a:lnTo>
                    <a:pt x="29" y="10"/>
                  </a:lnTo>
                  <a:lnTo>
                    <a:pt x="30"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442" name="Freeform 601"/>
            <p:cNvSpPr>
              <a:spLocks/>
            </p:cNvSpPr>
            <p:nvPr/>
          </p:nvSpPr>
          <p:spPr bwMode="auto">
            <a:xfrm>
              <a:off x="11079113"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443" name="Freeform 602"/>
            <p:cNvSpPr>
              <a:spLocks/>
            </p:cNvSpPr>
            <p:nvPr/>
          </p:nvSpPr>
          <p:spPr bwMode="auto">
            <a:xfrm>
              <a:off x="11093399"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1444" name="Freeform 603"/>
            <p:cNvSpPr>
              <a:spLocks/>
            </p:cNvSpPr>
            <p:nvPr/>
          </p:nvSpPr>
          <p:spPr bwMode="auto">
            <a:xfrm>
              <a:off x="11107685"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1" y="29"/>
                  </a:lnTo>
                  <a:lnTo>
                    <a:pt x="7" y="26"/>
                  </a:lnTo>
                  <a:lnTo>
                    <a:pt x="4" y="23"/>
                  </a:lnTo>
                  <a:lnTo>
                    <a:pt x="1" y="20"/>
                  </a:lnTo>
                  <a:lnTo>
                    <a:pt x="0" y="14"/>
                  </a:lnTo>
                  <a:lnTo>
                    <a:pt x="1" y="10"/>
                  </a:lnTo>
                  <a:lnTo>
                    <a:pt x="4" y="5"/>
                  </a:lnTo>
                  <a:lnTo>
                    <a:pt x="7" y="3"/>
                  </a:lnTo>
                  <a:lnTo>
                    <a:pt x="11" y="1"/>
                  </a:lnTo>
                  <a:lnTo>
                    <a:pt x="16" y="0"/>
                  </a:lnTo>
                  <a:close/>
                </a:path>
              </a:pathLst>
            </a:custGeom>
            <a:solidFill>
              <a:schemeClr val="accent5"/>
            </a:solidFill>
            <a:ln>
              <a:noFill/>
            </a:ln>
          </p:spPr>
          <p:txBody>
            <a:bodyPr/>
            <a:lstStyle/>
            <a:p>
              <a:endParaRPr lang="de-DE" dirty="0"/>
            </a:p>
          </p:txBody>
        </p:sp>
        <p:sp>
          <p:nvSpPr>
            <p:cNvPr id="1445" name="Freeform 604"/>
            <p:cNvSpPr>
              <a:spLocks/>
            </p:cNvSpPr>
            <p:nvPr/>
          </p:nvSpPr>
          <p:spPr bwMode="auto">
            <a:xfrm>
              <a:off x="111219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46" name="Freeform 605"/>
            <p:cNvSpPr>
              <a:spLocks/>
            </p:cNvSpPr>
            <p:nvPr/>
          </p:nvSpPr>
          <p:spPr bwMode="auto">
            <a:xfrm>
              <a:off x="11136257"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447" name="Freeform 606"/>
            <p:cNvSpPr>
              <a:spLocks/>
            </p:cNvSpPr>
            <p:nvPr/>
          </p:nvSpPr>
          <p:spPr bwMode="auto">
            <a:xfrm>
              <a:off x="11148956"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448" name="Freeform 607"/>
            <p:cNvSpPr>
              <a:spLocks/>
            </p:cNvSpPr>
            <p:nvPr/>
          </p:nvSpPr>
          <p:spPr bwMode="auto">
            <a:xfrm>
              <a:off x="11163242"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449" name="Freeform 608"/>
            <p:cNvSpPr>
              <a:spLocks/>
            </p:cNvSpPr>
            <p:nvPr/>
          </p:nvSpPr>
          <p:spPr bwMode="auto">
            <a:xfrm>
              <a:off x="11177528"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50" name="Freeform 609"/>
            <p:cNvSpPr>
              <a:spLocks/>
            </p:cNvSpPr>
            <p:nvPr/>
          </p:nvSpPr>
          <p:spPr bwMode="auto">
            <a:xfrm>
              <a:off x="11190227"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1451" name="Freeform 610"/>
            <p:cNvSpPr>
              <a:spLocks/>
            </p:cNvSpPr>
            <p:nvPr/>
          </p:nvSpPr>
          <p:spPr bwMode="auto">
            <a:xfrm>
              <a:off x="112045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452" name="Freeform 611"/>
            <p:cNvSpPr>
              <a:spLocks/>
            </p:cNvSpPr>
            <p:nvPr/>
          </p:nvSpPr>
          <p:spPr bwMode="auto">
            <a:xfrm>
              <a:off x="11218799"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1453" name="Freeform 612"/>
            <p:cNvSpPr>
              <a:spLocks/>
            </p:cNvSpPr>
            <p:nvPr/>
          </p:nvSpPr>
          <p:spPr bwMode="auto">
            <a:xfrm>
              <a:off x="11233085"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454" name="Freeform 613"/>
            <p:cNvSpPr>
              <a:spLocks/>
            </p:cNvSpPr>
            <p:nvPr/>
          </p:nvSpPr>
          <p:spPr bwMode="auto">
            <a:xfrm>
              <a:off x="112473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55" name="Freeform 614"/>
            <p:cNvSpPr>
              <a:spLocks/>
            </p:cNvSpPr>
            <p:nvPr/>
          </p:nvSpPr>
          <p:spPr bwMode="auto">
            <a:xfrm>
              <a:off x="11260070" y="5899747"/>
              <a:ext cx="4762" cy="4763"/>
            </a:xfrm>
            <a:custGeom>
              <a:avLst/>
              <a:gdLst>
                <a:gd name="T0" fmla="*/ 15 w 29"/>
                <a:gd name="T1" fmla="*/ 0 h 30"/>
                <a:gd name="T2" fmla="*/ 19 w 29"/>
                <a:gd name="T3" fmla="*/ 1 h 30"/>
                <a:gd name="T4" fmla="*/ 23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5"/>
                  </a:lnTo>
                  <a:lnTo>
                    <a:pt x="29" y="10"/>
                  </a:lnTo>
                  <a:lnTo>
                    <a:pt x="29"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456" name="Freeform 615"/>
            <p:cNvSpPr>
              <a:spLocks/>
            </p:cNvSpPr>
            <p:nvPr/>
          </p:nvSpPr>
          <p:spPr bwMode="auto">
            <a:xfrm>
              <a:off x="11274356"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457" name="Freeform 616"/>
            <p:cNvSpPr>
              <a:spLocks/>
            </p:cNvSpPr>
            <p:nvPr/>
          </p:nvSpPr>
          <p:spPr bwMode="auto">
            <a:xfrm>
              <a:off x="11288642"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1458" name="Freeform 617"/>
            <p:cNvSpPr>
              <a:spLocks/>
            </p:cNvSpPr>
            <p:nvPr/>
          </p:nvSpPr>
          <p:spPr bwMode="auto">
            <a:xfrm>
              <a:off x="113029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459" name="Freeform 618"/>
            <p:cNvSpPr>
              <a:spLocks/>
            </p:cNvSpPr>
            <p:nvPr/>
          </p:nvSpPr>
          <p:spPr bwMode="auto">
            <a:xfrm>
              <a:off x="113156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60" name="Freeform 619"/>
            <p:cNvSpPr>
              <a:spLocks/>
            </p:cNvSpPr>
            <p:nvPr/>
          </p:nvSpPr>
          <p:spPr bwMode="auto">
            <a:xfrm>
              <a:off x="113299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461" name="Freeform 620"/>
            <p:cNvSpPr>
              <a:spLocks/>
            </p:cNvSpPr>
            <p:nvPr/>
          </p:nvSpPr>
          <p:spPr bwMode="auto">
            <a:xfrm>
              <a:off x="11344199"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462" name="Freeform 621"/>
            <p:cNvSpPr>
              <a:spLocks/>
            </p:cNvSpPr>
            <p:nvPr/>
          </p:nvSpPr>
          <p:spPr bwMode="auto">
            <a:xfrm>
              <a:off x="11358485" y="5899747"/>
              <a:ext cx="4762" cy="4763"/>
            </a:xfrm>
            <a:custGeom>
              <a:avLst/>
              <a:gdLst>
                <a:gd name="T0" fmla="*/ 16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5"/>
                  </a:lnTo>
                  <a:lnTo>
                    <a:pt x="29" y="10"/>
                  </a:lnTo>
                  <a:lnTo>
                    <a:pt x="30" y="14"/>
                  </a:lnTo>
                  <a:lnTo>
                    <a:pt x="29" y="20"/>
                  </a:lnTo>
                  <a:lnTo>
                    <a:pt x="27" y="23"/>
                  </a:lnTo>
                  <a:lnTo>
                    <a:pt x="23"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463" name="Freeform 622"/>
            <p:cNvSpPr>
              <a:spLocks/>
            </p:cNvSpPr>
            <p:nvPr/>
          </p:nvSpPr>
          <p:spPr bwMode="auto">
            <a:xfrm>
              <a:off x="11371184" y="5899747"/>
              <a:ext cx="4762" cy="4763"/>
            </a:xfrm>
            <a:custGeom>
              <a:avLst/>
              <a:gdLst>
                <a:gd name="T0" fmla="*/ 15 w 29"/>
                <a:gd name="T1" fmla="*/ 0 h 30"/>
                <a:gd name="T2" fmla="*/ 19 w 29"/>
                <a:gd name="T3" fmla="*/ 1 h 30"/>
                <a:gd name="T4" fmla="*/ 24 w 29"/>
                <a:gd name="T5" fmla="*/ 3 h 30"/>
                <a:gd name="T6" fmla="*/ 27 w 29"/>
                <a:gd name="T7" fmla="*/ 5 h 30"/>
                <a:gd name="T8" fmla="*/ 28 w 29"/>
                <a:gd name="T9" fmla="*/ 10 h 30"/>
                <a:gd name="T10" fmla="*/ 29 w 29"/>
                <a:gd name="T11" fmla="*/ 14 h 30"/>
                <a:gd name="T12" fmla="*/ 28 w 29"/>
                <a:gd name="T13" fmla="*/ 20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8" y="10"/>
                  </a:lnTo>
                  <a:lnTo>
                    <a:pt x="29" y="14"/>
                  </a:lnTo>
                  <a:lnTo>
                    <a:pt x="28" y="20"/>
                  </a:lnTo>
                  <a:lnTo>
                    <a:pt x="27" y="23"/>
                  </a:lnTo>
                  <a:lnTo>
                    <a:pt x="24" y="26"/>
                  </a:lnTo>
                  <a:lnTo>
                    <a:pt x="19" y="29"/>
                  </a:lnTo>
                  <a:lnTo>
                    <a:pt x="15" y="30"/>
                  </a:lnTo>
                  <a:lnTo>
                    <a:pt x="9" y="29"/>
                  </a:lnTo>
                  <a:lnTo>
                    <a:pt x="6" y="26"/>
                  </a:lnTo>
                  <a:lnTo>
                    <a:pt x="3" y="23"/>
                  </a:lnTo>
                  <a:lnTo>
                    <a:pt x="1" y="20"/>
                  </a:lnTo>
                  <a:lnTo>
                    <a:pt x="0" y="14"/>
                  </a:lnTo>
                  <a:lnTo>
                    <a:pt x="1" y="10"/>
                  </a:lnTo>
                  <a:lnTo>
                    <a:pt x="3" y="5"/>
                  </a:lnTo>
                  <a:lnTo>
                    <a:pt x="6" y="3"/>
                  </a:lnTo>
                  <a:lnTo>
                    <a:pt x="9" y="1"/>
                  </a:lnTo>
                  <a:lnTo>
                    <a:pt x="15" y="0"/>
                  </a:lnTo>
                  <a:close/>
                </a:path>
              </a:pathLst>
            </a:custGeom>
            <a:solidFill>
              <a:schemeClr val="accent5"/>
            </a:solidFill>
            <a:ln>
              <a:noFill/>
            </a:ln>
          </p:spPr>
          <p:txBody>
            <a:bodyPr/>
            <a:lstStyle/>
            <a:p>
              <a:endParaRPr lang="de-DE" dirty="0"/>
            </a:p>
          </p:txBody>
        </p:sp>
        <p:sp>
          <p:nvSpPr>
            <p:cNvPr id="1464" name="Freeform 623"/>
            <p:cNvSpPr>
              <a:spLocks/>
            </p:cNvSpPr>
            <p:nvPr/>
          </p:nvSpPr>
          <p:spPr bwMode="auto">
            <a:xfrm>
              <a:off x="11385470"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1465" name="Freeform 624"/>
            <p:cNvSpPr>
              <a:spLocks/>
            </p:cNvSpPr>
            <p:nvPr/>
          </p:nvSpPr>
          <p:spPr bwMode="auto">
            <a:xfrm>
              <a:off x="11399756"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466" name="Freeform 625"/>
            <p:cNvSpPr>
              <a:spLocks/>
            </p:cNvSpPr>
            <p:nvPr/>
          </p:nvSpPr>
          <p:spPr bwMode="auto">
            <a:xfrm>
              <a:off x="11414042"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467" name="Freeform 626"/>
            <p:cNvSpPr>
              <a:spLocks/>
            </p:cNvSpPr>
            <p:nvPr/>
          </p:nvSpPr>
          <p:spPr bwMode="auto">
            <a:xfrm>
              <a:off x="114283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468" name="Freeform 627"/>
            <p:cNvSpPr>
              <a:spLocks/>
            </p:cNvSpPr>
            <p:nvPr/>
          </p:nvSpPr>
          <p:spPr bwMode="auto">
            <a:xfrm>
              <a:off x="114410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469" name="Freeform 628"/>
            <p:cNvSpPr>
              <a:spLocks/>
            </p:cNvSpPr>
            <p:nvPr/>
          </p:nvSpPr>
          <p:spPr bwMode="auto">
            <a:xfrm>
              <a:off x="10967999"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470" name="Freeform 629"/>
            <p:cNvSpPr>
              <a:spLocks/>
            </p:cNvSpPr>
            <p:nvPr/>
          </p:nvSpPr>
          <p:spPr bwMode="auto">
            <a:xfrm>
              <a:off x="10982285"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471" name="Freeform 630"/>
            <p:cNvSpPr>
              <a:spLocks/>
            </p:cNvSpPr>
            <p:nvPr/>
          </p:nvSpPr>
          <p:spPr bwMode="auto">
            <a:xfrm>
              <a:off x="10996571" y="5950553"/>
              <a:ext cx="4762" cy="4763"/>
            </a:xfrm>
            <a:custGeom>
              <a:avLst/>
              <a:gdLst>
                <a:gd name="T0" fmla="*/ 14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5"/>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5"/>
                  </a:lnTo>
                  <a:lnTo>
                    <a:pt x="6" y="2"/>
                  </a:lnTo>
                  <a:lnTo>
                    <a:pt x="10" y="0"/>
                  </a:lnTo>
                  <a:lnTo>
                    <a:pt x="14" y="0"/>
                  </a:lnTo>
                  <a:close/>
                </a:path>
              </a:pathLst>
            </a:custGeom>
            <a:solidFill>
              <a:schemeClr val="accent5"/>
            </a:solidFill>
            <a:ln>
              <a:noFill/>
            </a:ln>
          </p:spPr>
          <p:txBody>
            <a:bodyPr/>
            <a:lstStyle/>
            <a:p>
              <a:endParaRPr lang="de-DE" dirty="0"/>
            </a:p>
          </p:txBody>
        </p:sp>
        <p:sp>
          <p:nvSpPr>
            <p:cNvPr id="1472" name="Freeform 631"/>
            <p:cNvSpPr>
              <a:spLocks/>
            </p:cNvSpPr>
            <p:nvPr/>
          </p:nvSpPr>
          <p:spPr bwMode="auto">
            <a:xfrm>
              <a:off x="11010857" y="5950553"/>
              <a:ext cx="4762" cy="4763"/>
            </a:xfrm>
            <a:custGeom>
              <a:avLst/>
              <a:gdLst>
                <a:gd name="T0" fmla="*/ 15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473" name="Freeform 632"/>
            <p:cNvSpPr>
              <a:spLocks/>
            </p:cNvSpPr>
            <p:nvPr/>
          </p:nvSpPr>
          <p:spPr bwMode="auto">
            <a:xfrm>
              <a:off x="11023556"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1474" name="Freeform 633"/>
            <p:cNvSpPr>
              <a:spLocks/>
            </p:cNvSpPr>
            <p:nvPr/>
          </p:nvSpPr>
          <p:spPr bwMode="auto">
            <a:xfrm>
              <a:off x="11037842"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475" name="Freeform 634"/>
            <p:cNvSpPr>
              <a:spLocks/>
            </p:cNvSpPr>
            <p:nvPr/>
          </p:nvSpPr>
          <p:spPr bwMode="auto">
            <a:xfrm>
              <a:off x="11052128"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476" name="Freeform 635"/>
            <p:cNvSpPr>
              <a:spLocks/>
            </p:cNvSpPr>
            <p:nvPr/>
          </p:nvSpPr>
          <p:spPr bwMode="auto">
            <a:xfrm>
              <a:off x="11066414" y="5950553"/>
              <a:ext cx="4762" cy="4763"/>
            </a:xfrm>
            <a:custGeom>
              <a:avLst/>
              <a:gdLst>
                <a:gd name="T0" fmla="*/ 15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5"/>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477" name="Freeform 636"/>
            <p:cNvSpPr>
              <a:spLocks/>
            </p:cNvSpPr>
            <p:nvPr/>
          </p:nvSpPr>
          <p:spPr bwMode="auto">
            <a:xfrm>
              <a:off x="11079113"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478" name="Freeform 637"/>
            <p:cNvSpPr>
              <a:spLocks/>
            </p:cNvSpPr>
            <p:nvPr/>
          </p:nvSpPr>
          <p:spPr bwMode="auto">
            <a:xfrm>
              <a:off x="11093399"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1479" name="Freeform 638"/>
            <p:cNvSpPr>
              <a:spLocks/>
            </p:cNvSpPr>
            <p:nvPr/>
          </p:nvSpPr>
          <p:spPr bwMode="auto">
            <a:xfrm>
              <a:off x="11107685"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5"/>
                  </a:lnTo>
                  <a:lnTo>
                    <a:pt x="7" y="2"/>
                  </a:lnTo>
                  <a:lnTo>
                    <a:pt x="11" y="0"/>
                  </a:lnTo>
                  <a:lnTo>
                    <a:pt x="16" y="0"/>
                  </a:lnTo>
                  <a:close/>
                </a:path>
              </a:pathLst>
            </a:custGeom>
            <a:solidFill>
              <a:schemeClr val="accent5"/>
            </a:solidFill>
            <a:ln>
              <a:noFill/>
            </a:ln>
          </p:spPr>
          <p:txBody>
            <a:bodyPr/>
            <a:lstStyle/>
            <a:p>
              <a:endParaRPr lang="de-DE" dirty="0"/>
            </a:p>
          </p:txBody>
        </p:sp>
        <p:sp>
          <p:nvSpPr>
            <p:cNvPr id="1480" name="Freeform 639"/>
            <p:cNvSpPr>
              <a:spLocks/>
            </p:cNvSpPr>
            <p:nvPr/>
          </p:nvSpPr>
          <p:spPr bwMode="auto">
            <a:xfrm>
              <a:off x="111219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481" name="Freeform 640"/>
            <p:cNvSpPr>
              <a:spLocks/>
            </p:cNvSpPr>
            <p:nvPr/>
          </p:nvSpPr>
          <p:spPr bwMode="auto">
            <a:xfrm>
              <a:off x="11136257"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482" name="Freeform 641"/>
            <p:cNvSpPr>
              <a:spLocks/>
            </p:cNvSpPr>
            <p:nvPr/>
          </p:nvSpPr>
          <p:spPr bwMode="auto">
            <a:xfrm>
              <a:off x="11148956"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483" name="Freeform 642"/>
            <p:cNvSpPr>
              <a:spLocks/>
            </p:cNvSpPr>
            <p:nvPr/>
          </p:nvSpPr>
          <p:spPr bwMode="auto">
            <a:xfrm>
              <a:off x="11163242"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484" name="Freeform 643"/>
            <p:cNvSpPr>
              <a:spLocks/>
            </p:cNvSpPr>
            <p:nvPr/>
          </p:nvSpPr>
          <p:spPr bwMode="auto">
            <a:xfrm>
              <a:off x="11177528"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485" name="Freeform 644"/>
            <p:cNvSpPr>
              <a:spLocks/>
            </p:cNvSpPr>
            <p:nvPr/>
          </p:nvSpPr>
          <p:spPr bwMode="auto">
            <a:xfrm>
              <a:off x="11190227"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1486" name="Freeform 645"/>
            <p:cNvSpPr>
              <a:spLocks/>
            </p:cNvSpPr>
            <p:nvPr/>
          </p:nvSpPr>
          <p:spPr bwMode="auto">
            <a:xfrm>
              <a:off x="112045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487" name="Freeform 646"/>
            <p:cNvSpPr>
              <a:spLocks/>
            </p:cNvSpPr>
            <p:nvPr/>
          </p:nvSpPr>
          <p:spPr bwMode="auto">
            <a:xfrm>
              <a:off x="11218799"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1488" name="Freeform 647"/>
            <p:cNvSpPr>
              <a:spLocks/>
            </p:cNvSpPr>
            <p:nvPr/>
          </p:nvSpPr>
          <p:spPr bwMode="auto">
            <a:xfrm>
              <a:off x="11233085"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489" name="Freeform 648"/>
            <p:cNvSpPr>
              <a:spLocks/>
            </p:cNvSpPr>
            <p:nvPr/>
          </p:nvSpPr>
          <p:spPr bwMode="auto">
            <a:xfrm>
              <a:off x="112473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490" name="Freeform 649"/>
            <p:cNvSpPr>
              <a:spLocks/>
            </p:cNvSpPr>
            <p:nvPr/>
          </p:nvSpPr>
          <p:spPr bwMode="auto">
            <a:xfrm>
              <a:off x="11260070" y="5950553"/>
              <a:ext cx="4762" cy="4763"/>
            </a:xfrm>
            <a:custGeom>
              <a:avLst/>
              <a:gdLst>
                <a:gd name="T0" fmla="*/ 15 w 29"/>
                <a:gd name="T1" fmla="*/ 0 h 30"/>
                <a:gd name="T2" fmla="*/ 19 w 29"/>
                <a:gd name="T3" fmla="*/ 0 h 30"/>
                <a:gd name="T4" fmla="*/ 23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5"/>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491" name="Freeform 650"/>
            <p:cNvSpPr>
              <a:spLocks/>
            </p:cNvSpPr>
            <p:nvPr/>
          </p:nvSpPr>
          <p:spPr bwMode="auto">
            <a:xfrm>
              <a:off x="11274356"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492" name="Freeform 651"/>
            <p:cNvSpPr>
              <a:spLocks/>
            </p:cNvSpPr>
            <p:nvPr/>
          </p:nvSpPr>
          <p:spPr bwMode="auto">
            <a:xfrm>
              <a:off x="11288642"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1493" name="Freeform 652"/>
            <p:cNvSpPr>
              <a:spLocks/>
            </p:cNvSpPr>
            <p:nvPr/>
          </p:nvSpPr>
          <p:spPr bwMode="auto">
            <a:xfrm>
              <a:off x="113029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494" name="Freeform 653"/>
            <p:cNvSpPr>
              <a:spLocks/>
            </p:cNvSpPr>
            <p:nvPr/>
          </p:nvSpPr>
          <p:spPr bwMode="auto">
            <a:xfrm>
              <a:off x="113156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495" name="Freeform 654"/>
            <p:cNvSpPr>
              <a:spLocks/>
            </p:cNvSpPr>
            <p:nvPr/>
          </p:nvSpPr>
          <p:spPr bwMode="auto">
            <a:xfrm>
              <a:off x="113299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496" name="Freeform 655"/>
            <p:cNvSpPr>
              <a:spLocks/>
            </p:cNvSpPr>
            <p:nvPr/>
          </p:nvSpPr>
          <p:spPr bwMode="auto">
            <a:xfrm>
              <a:off x="11344199"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497" name="Freeform 656"/>
            <p:cNvSpPr>
              <a:spLocks/>
            </p:cNvSpPr>
            <p:nvPr/>
          </p:nvSpPr>
          <p:spPr bwMode="auto">
            <a:xfrm>
              <a:off x="11358485" y="5950553"/>
              <a:ext cx="4762" cy="4763"/>
            </a:xfrm>
            <a:custGeom>
              <a:avLst/>
              <a:gdLst>
                <a:gd name="T0" fmla="*/ 16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5"/>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498" name="Freeform 657"/>
            <p:cNvSpPr>
              <a:spLocks/>
            </p:cNvSpPr>
            <p:nvPr/>
          </p:nvSpPr>
          <p:spPr bwMode="auto">
            <a:xfrm>
              <a:off x="11371184" y="5950553"/>
              <a:ext cx="4762" cy="4763"/>
            </a:xfrm>
            <a:custGeom>
              <a:avLst/>
              <a:gdLst>
                <a:gd name="T0" fmla="*/ 15 w 29"/>
                <a:gd name="T1" fmla="*/ 0 h 30"/>
                <a:gd name="T2" fmla="*/ 19 w 29"/>
                <a:gd name="T3" fmla="*/ 0 h 30"/>
                <a:gd name="T4" fmla="*/ 24 w 29"/>
                <a:gd name="T5" fmla="*/ 2 h 30"/>
                <a:gd name="T6" fmla="*/ 27 w 29"/>
                <a:gd name="T7" fmla="*/ 5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5"/>
                  </a:lnTo>
                  <a:lnTo>
                    <a:pt x="6" y="2"/>
                  </a:lnTo>
                  <a:lnTo>
                    <a:pt x="9" y="0"/>
                  </a:lnTo>
                  <a:lnTo>
                    <a:pt x="15" y="0"/>
                  </a:lnTo>
                  <a:close/>
                </a:path>
              </a:pathLst>
            </a:custGeom>
            <a:solidFill>
              <a:schemeClr val="accent5"/>
            </a:solidFill>
            <a:ln>
              <a:noFill/>
            </a:ln>
          </p:spPr>
          <p:txBody>
            <a:bodyPr/>
            <a:lstStyle/>
            <a:p>
              <a:endParaRPr lang="de-DE" dirty="0"/>
            </a:p>
          </p:txBody>
        </p:sp>
        <p:sp>
          <p:nvSpPr>
            <p:cNvPr id="1499" name="Freeform 658"/>
            <p:cNvSpPr>
              <a:spLocks/>
            </p:cNvSpPr>
            <p:nvPr/>
          </p:nvSpPr>
          <p:spPr bwMode="auto">
            <a:xfrm>
              <a:off x="11385470"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1500" name="Freeform 659"/>
            <p:cNvSpPr>
              <a:spLocks/>
            </p:cNvSpPr>
            <p:nvPr/>
          </p:nvSpPr>
          <p:spPr bwMode="auto">
            <a:xfrm>
              <a:off x="11399756"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501" name="Freeform 660"/>
            <p:cNvSpPr>
              <a:spLocks/>
            </p:cNvSpPr>
            <p:nvPr/>
          </p:nvSpPr>
          <p:spPr bwMode="auto">
            <a:xfrm>
              <a:off x="11414042"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502" name="Freeform 661"/>
            <p:cNvSpPr>
              <a:spLocks/>
            </p:cNvSpPr>
            <p:nvPr/>
          </p:nvSpPr>
          <p:spPr bwMode="auto">
            <a:xfrm>
              <a:off x="114283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503" name="Freeform 662"/>
            <p:cNvSpPr>
              <a:spLocks/>
            </p:cNvSpPr>
            <p:nvPr/>
          </p:nvSpPr>
          <p:spPr bwMode="auto">
            <a:xfrm>
              <a:off x="114410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504" name="Freeform 663"/>
            <p:cNvSpPr>
              <a:spLocks/>
            </p:cNvSpPr>
            <p:nvPr/>
          </p:nvSpPr>
          <p:spPr bwMode="auto">
            <a:xfrm>
              <a:off x="10967999"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505" name="Freeform 664"/>
            <p:cNvSpPr>
              <a:spLocks/>
            </p:cNvSpPr>
            <p:nvPr/>
          </p:nvSpPr>
          <p:spPr bwMode="auto">
            <a:xfrm>
              <a:off x="10982285"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506" name="Freeform 665"/>
            <p:cNvSpPr>
              <a:spLocks/>
            </p:cNvSpPr>
            <p:nvPr/>
          </p:nvSpPr>
          <p:spPr bwMode="auto">
            <a:xfrm>
              <a:off x="10996571" y="6004534"/>
              <a:ext cx="4762" cy="4763"/>
            </a:xfrm>
            <a:custGeom>
              <a:avLst/>
              <a:gdLst>
                <a:gd name="T0" fmla="*/ 14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4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1"/>
                  </a:lnTo>
                  <a:lnTo>
                    <a:pt x="30" y="15"/>
                  </a:lnTo>
                  <a:lnTo>
                    <a:pt x="29" y="20"/>
                  </a:lnTo>
                  <a:lnTo>
                    <a:pt x="27" y="24"/>
                  </a:lnTo>
                  <a:lnTo>
                    <a:pt x="23" y="27"/>
                  </a:lnTo>
                  <a:lnTo>
                    <a:pt x="19" y="30"/>
                  </a:lnTo>
                  <a:lnTo>
                    <a:pt x="14" y="30"/>
                  </a:lnTo>
                  <a:lnTo>
                    <a:pt x="10" y="30"/>
                  </a:lnTo>
                  <a:lnTo>
                    <a:pt x="6" y="27"/>
                  </a:lnTo>
                  <a:lnTo>
                    <a:pt x="2" y="24"/>
                  </a:lnTo>
                  <a:lnTo>
                    <a:pt x="0" y="20"/>
                  </a:lnTo>
                  <a:lnTo>
                    <a:pt x="0" y="15"/>
                  </a:lnTo>
                  <a:lnTo>
                    <a:pt x="0" y="11"/>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1507" name="Freeform 666"/>
            <p:cNvSpPr>
              <a:spLocks/>
            </p:cNvSpPr>
            <p:nvPr/>
          </p:nvSpPr>
          <p:spPr bwMode="auto">
            <a:xfrm>
              <a:off x="11010857" y="6004534"/>
              <a:ext cx="4762" cy="4763"/>
            </a:xfrm>
            <a:custGeom>
              <a:avLst/>
              <a:gdLst>
                <a:gd name="T0" fmla="*/ 15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1"/>
                  </a:lnTo>
                  <a:lnTo>
                    <a:pt x="30" y="15"/>
                  </a:lnTo>
                  <a:lnTo>
                    <a:pt x="29" y="20"/>
                  </a:lnTo>
                  <a:lnTo>
                    <a:pt x="27" y="24"/>
                  </a:lnTo>
                  <a:lnTo>
                    <a:pt x="24" y="27"/>
                  </a:lnTo>
                  <a:lnTo>
                    <a:pt x="20"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508" name="Freeform 667"/>
            <p:cNvSpPr>
              <a:spLocks/>
            </p:cNvSpPr>
            <p:nvPr/>
          </p:nvSpPr>
          <p:spPr bwMode="auto">
            <a:xfrm>
              <a:off x="11023556"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509" name="Freeform 668"/>
            <p:cNvSpPr>
              <a:spLocks/>
            </p:cNvSpPr>
            <p:nvPr/>
          </p:nvSpPr>
          <p:spPr bwMode="auto">
            <a:xfrm>
              <a:off x="11037842"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510" name="Freeform 669"/>
            <p:cNvSpPr>
              <a:spLocks/>
            </p:cNvSpPr>
            <p:nvPr/>
          </p:nvSpPr>
          <p:spPr bwMode="auto">
            <a:xfrm>
              <a:off x="11052128"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511" name="Freeform 670"/>
            <p:cNvSpPr>
              <a:spLocks/>
            </p:cNvSpPr>
            <p:nvPr/>
          </p:nvSpPr>
          <p:spPr bwMode="auto">
            <a:xfrm>
              <a:off x="11066414" y="6004534"/>
              <a:ext cx="4762" cy="4763"/>
            </a:xfrm>
            <a:custGeom>
              <a:avLst/>
              <a:gdLst>
                <a:gd name="T0" fmla="*/ 15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1"/>
                  </a:lnTo>
                  <a:lnTo>
                    <a:pt x="30"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512" name="Freeform 671"/>
            <p:cNvSpPr>
              <a:spLocks/>
            </p:cNvSpPr>
            <p:nvPr/>
          </p:nvSpPr>
          <p:spPr bwMode="auto">
            <a:xfrm>
              <a:off x="11079113"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513" name="Freeform 672"/>
            <p:cNvSpPr>
              <a:spLocks/>
            </p:cNvSpPr>
            <p:nvPr/>
          </p:nvSpPr>
          <p:spPr bwMode="auto">
            <a:xfrm>
              <a:off x="11093399"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514" name="Freeform 673"/>
            <p:cNvSpPr>
              <a:spLocks/>
            </p:cNvSpPr>
            <p:nvPr/>
          </p:nvSpPr>
          <p:spPr bwMode="auto">
            <a:xfrm>
              <a:off x="11107685"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1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1" y="30"/>
                  </a:lnTo>
                  <a:lnTo>
                    <a:pt x="7" y="27"/>
                  </a:lnTo>
                  <a:lnTo>
                    <a:pt x="4" y="24"/>
                  </a:lnTo>
                  <a:lnTo>
                    <a:pt x="1" y="20"/>
                  </a:lnTo>
                  <a:lnTo>
                    <a:pt x="0" y="15"/>
                  </a:lnTo>
                  <a:lnTo>
                    <a:pt x="1" y="11"/>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1515" name="Freeform 674"/>
            <p:cNvSpPr>
              <a:spLocks/>
            </p:cNvSpPr>
            <p:nvPr/>
          </p:nvSpPr>
          <p:spPr bwMode="auto">
            <a:xfrm>
              <a:off x="111219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516" name="Freeform 675"/>
            <p:cNvSpPr>
              <a:spLocks/>
            </p:cNvSpPr>
            <p:nvPr/>
          </p:nvSpPr>
          <p:spPr bwMode="auto">
            <a:xfrm>
              <a:off x="11136257"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517" name="Freeform 676"/>
            <p:cNvSpPr>
              <a:spLocks/>
            </p:cNvSpPr>
            <p:nvPr/>
          </p:nvSpPr>
          <p:spPr bwMode="auto">
            <a:xfrm>
              <a:off x="11148956"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518" name="Freeform 677"/>
            <p:cNvSpPr>
              <a:spLocks/>
            </p:cNvSpPr>
            <p:nvPr/>
          </p:nvSpPr>
          <p:spPr bwMode="auto">
            <a:xfrm>
              <a:off x="11163242"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519" name="Freeform 678"/>
            <p:cNvSpPr>
              <a:spLocks/>
            </p:cNvSpPr>
            <p:nvPr/>
          </p:nvSpPr>
          <p:spPr bwMode="auto">
            <a:xfrm>
              <a:off x="11177528"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520" name="Freeform 679"/>
            <p:cNvSpPr>
              <a:spLocks/>
            </p:cNvSpPr>
            <p:nvPr/>
          </p:nvSpPr>
          <p:spPr bwMode="auto">
            <a:xfrm>
              <a:off x="11190227"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521" name="Freeform 680"/>
            <p:cNvSpPr>
              <a:spLocks/>
            </p:cNvSpPr>
            <p:nvPr/>
          </p:nvSpPr>
          <p:spPr bwMode="auto">
            <a:xfrm>
              <a:off x="112045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522" name="Freeform 681"/>
            <p:cNvSpPr>
              <a:spLocks/>
            </p:cNvSpPr>
            <p:nvPr/>
          </p:nvSpPr>
          <p:spPr bwMode="auto">
            <a:xfrm>
              <a:off x="11218799"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523" name="Freeform 682"/>
            <p:cNvSpPr>
              <a:spLocks/>
            </p:cNvSpPr>
            <p:nvPr/>
          </p:nvSpPr>
          <p:spPr bwMode="auto">
            <a:xfrm>
              <a:off x="11233085"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524" name="Freeform 683"/>
            <p:cNvSpPr>
              <a:spLocks/>
            </p:cNvSpPr>
            <p:nvPr/>
          </p:nvSpPr>
          <p:spPr bwMode="auto">
            <a:xfrm>
              <a:off x="112473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525" name="Freeform 684"/>
            <p:cNvSpPr>
              <a:spLocks/>
            </p:cNvSpPr>
            <p:nvPr/>
          </p:nvSpPr>
          <p:spPr bwMode="auto">
            <a:xfrm>
              <a:off x="11260070" y="6004534"/>
              <a:ext cx="4762" cy="4763"/>
            </a:xfrm>
            <a:custGeom>
              <a:avLst/>
              <a:gdLst>
                <a:gd name="T0" fmla="*/ 15 w 29"/>
                <a:gd name="T1" fmla="*/ 0 h 30"/>
                <a:gd name="T2" fmla="*/ 19 w 29"/>
                <a:gd name="T3" fmla="*/ 1 h 30"/>
                <a:gd name="T4" fmla="*/ 23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3 w 29"/>
                <a:gd name="T17" fmla="*/ 27 h 30"/>
                <a:gd name="T18" fmla="*/ 19 w 29"/>
                <a:gd name="T19" fmla="*/ 30 h 30"/>
                <a:gd name="T20" fmla="*/ 15 w 29"/>
                <a:gd name="T21" fmla="*/ 30 h 30"/>
                <a:gd name="T22" fmla="*/ 10 w 29"/>
                <a:gd name="T23" fmla="*/ 30 h 30"/>
                <a:gd name="T24" fmla="*/ 6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1"/>
                  </a:lnTo>
                  <a:lnTo>
                    <a:pt x="29"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526" name="Freeform 685"/>
            <p:cNvSpPr>
              <a:spLocks/>
            </p:cNvSpPr>
            <p:nvPr/>
          </p:nvSpPr>
          <p:spPr bwMode="auto">
            <a:xfrm>
              <a:off x="11274356"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527" name="Freeform 686"/>
            <p:cNvSpPr>
              <a:spLocks/>
            </p:cNvSpPr>
            <p:nvPr/>
          </p:nvSpPr>
          <p:spPr bwMode="auto">
            <a:xfrm>
              <a:off x="11288642"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528" name="Freeform 687"/>
            <p:cNvSpPr>
              <a:spLocks/>
            </p:cNvSpPr>
            <p:nvPr/>
          </p:nvSpPr>
          <p:spPr bwMode="auto">
            <a:xfrm>
              <a:off x="113029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529" name="Freeform 688"/>
            <p:cNvSpPr>
              <a:spLocks/>
            </p:cNvSpPr>
            <p:nvPr/>
          </p:nvSpPr>
          <p:spPr bwMode="auto">
            <a:xfrm>
              <a:off x="113156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530" name="Freeform 689"/>
            <p:cNvSpPr>
              <a:spLocks/>
            </p:cNvSpPr>
            <p:nvPr/>
          </p:nvSpPr>
          <p:spPr bwMode="auto">
            <a:xfrm>
              <a:off x="113299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531" name="Freeform 690"/>
            <p:cNvSpPr>
              <a:spLocks/>
            </p:cNvSpPr>
            <p:nvPr/>
          </p:nvSpPr>
          <p:spPr bwMode="auto">
            <a:xfrm>
              <a:off x="11344199"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532" name="Freeform 691"/>
            <p:cNvSpPr>
              <a:spLocks/>
            </p:cNvSpPr>
            <p:nvPr/>
          </p:nvSpPr>
          <p:spPr bwMode="auto">
            <a:xfrm>
              <a:off x="11358485" y="6004534"/>
              <a:ext cx="4762" cy="4763"/>
            </a:xfrm>
            <a:custGeom>
              <a:avLst/>
              <a:gdLst>
                <a:gd name="T0" fmla="*/ 16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1"/>
                  </a:lnTo>
                  <a:lnTo>
                    <a:pt x="30" y="15"/>
                  </a:lnTo>
                  <a:lnTo>
                    <a:pt x="29" y="20"/>
                  </a:lnTo>
                  <a:lnTo>
                    <a:pt x="27" y="24"/>
                  </a:lnTo>
                  <a:lnTo>
                    <a:pt x="23"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533" name="Freeform 692"/>
            <p:cNvSpPr>
              <a:spLocks/>
            </p:cNvSpPr>
            <p:nvPr/>
          </p:nvSpPr>
          <p:spPr bwMode="auto">
            <a:xfrm>
              <a:off x="11371184" y="6004534"/>
              <a:ext cx="4762" cy="4763"/>
            </a:xfrm>
            <a:custGeom>
              <a:avLst/>
              <a:gdLst>
                <a:gd name="T0" fmla="*/ 15 w 29"/>
                <a:gd name="T1" fmla="*/ 0 h 30"/>
                <a:gd name="T2" fmla="*/ 19 w 29"/>
                <a:gd name="T3" fmla="*/ 1 h 30"/>
                <a:gd name="T4" fmla="*/ 24 w 29"/>
                <a:gd name="T5" fmla="*/ 3 h 30"/>
                <a:gd name="T6" fmla="*/ 27 w 29"/>
                <a:gd name="T7" fmla="*/ 7 h 30"/>
                <a:gd name="T8" fmla="*/ 28 w 29"/>
                <a:gd name="T9" fmla="*/ 11 h 30"/>
                <a:gd name="T10" fmla="*/ 29 w 29"/>
                <a:gd name="T11" fmla="*/ 15 h 30"/>
                <a:gd name="T12" fmla="*/ 28 w 29"/>
                <a:gd name="T13" fmla="*/ 20 h 30"/>
                <a:gd name="T14" fmla="*/ 27 w 29"/>
                <a:gd name="T15" fmla="*/ 24 h 30"/>
                <a:gd name="T16" fmla="*/ 24 w 29"/>
                <a:gd name="T17" fmla="*/ 27 h 30"/>
                <a:gd name="T18" fmla="*/ 19 w 29"/>
                <a:gd name="T19" fmla="*/ 30 h 30"/>
                <a:gd name="T20" fmla="*/ 15 w 29"/>
                <a:gd name="T21" fmla="*/ 30 h 30"/>
                <a:gd name="T22" fmla="*/ 9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1"/>
                  </a:lnTo>
                  <a:lnTo>
                    <a:pt x="29" y="15"/>
                  </a:lnTo>
                  <a:lnTo>
                    <a:pt x="28" y="20"/>
                  </a:lnTo>
                  <a:lnTo>
                    <a:pt x="27" y="24"/>
                  </a:lnTo>
                  <a:lnTo>
                    <a:pt x="24" y="27"/>
                  </a:lnTo>
                  <a:lnTo>
                    <a:pt x="19" y="30"/>
                  </a:lnTo>
                  <a:lnTo>
                    <a:pt x="15" y="30"/>
                  </a:lnTo>
                  <a:lnTo>
                    <a:pt x="9" y="30"/>
                  </a:lnTo>
                  <a:lnTo>
                    <a:pt x="6" y="27"/>
                  </a:lnTo>
                  <a:lnTo>
                    <a:pt x="3" y="24"/>
                  </a:lnTo>
                  <a:lnTo>
                    <a:pt x="1" y="20"/>
                  </a:lnTo>
                  <a:lnTo>
                    <a:pt x="0" y="15"/>
                  </a:lnTo>
                  <a:lnTo>
                    <a:pt x="1" y="11"/>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1534" name="Freeform 693"/>
            <p:cNvSpPr>
              <a:spLocks/>
            </p:cNvSpPr>
            <p:nvPr/>
          </p:nvSpPr>
          <p:spPr bwMode="auto">
            <a:xfrm>
              <a:off x="11385470"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535" name="Freeform 694"/>
            <p:cNvSpPr>
              <a:spLocks/>
            </p:cNvSpPr>
            <p:nvPr/>
          </p:nvSpPr>
          <p:spPr bwMode="auto">
            <a:xfrm>
              <a:off x="11399756"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536" name="Freeform 695"/>
            <p:cNvSpPr>
              <a:spLocks/>
            </p:cNvSpPr>
            <p:nvPr/>
          </p:nvSpPr>
          <p:spPr bwMode="auto">
            <a:xfrm>
              <a:off x="11414042"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537" name="Freeform 696"/>
            <p:cNvSpPr>
              <a:spLocks/>
            </p:cNvSpPr>
            <p:nvPr/>
          </p:nvSpPr>
          <p:spPr bwMode="auto">
            <a:xfrm>
              <a:off x="114283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538" name="Freeform 697"/>
            <p:cNvSpPr>
              <a:spLocks/>
            </p:cNvSpPr>
            <p:nvPr/>
          </p:nvSpPr>
          <p:spPr bwMode="auto">
            <a:xfrm>
              <a:off x="114410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grpSp>
      <p:sp>
        <p:nvSpPr>
          <p:cNvPr id="1539" name="Textfeld 1538">
            <a:extLst>
              <a:ext uri="{FF2B5EF4-FFF2-40B4-BE49-F238E27FC236}">
                <a16:creationId xmlns:a16="http://schemas.microsoft.com/office/drawing/2014/main" id="{A89AA882-1BAC-40ED-9B66-213BB26D9FD0}"/>
              </a:ext>
            </a:extLst>
          </p:cNvPr>
          <p:cNvSpPr txBox="1"/>
          <p:nvPr/>
        </p:nvSpPr>
        <p:spPr>
          <a:xfrm>
            <a:off x="10920481" y="6125388"/>
            <a:ext cx="57600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Register</a:t>
            </a:r>
          </a:p>
        </p:txBody>
      </p:sp>
      <p:cxnSp>
        <p:nvCxnSpPr>
          <p:cNvPr id="1540" name="Gerade Verbindung mit Pfeil 1539">
            <a:extLst>
              <a:ext uri="{FF2B5EF4-FFF2-40B4-BE49-F238E27FC236}">
                <a16:creationId xmlns:a16="http://schemas.microsoft.com/office/drawing/2014/main" id="{15A2AC61-1CBB-4B2B-BC63-0843DE316C4F}"/>
              </a:ext>
            </a:extLst>
          </p:cNvPr>
          <p:cNvCxnSpPr>
            <a:cxnSpLocks/>
          </p:cNvCxnSpPr>
          <p:nvPr/>
        </p:nvCxnSpPr>
        <p:spPr>
          <a:xfrm rot="2100000" flipH="1" flipV="1">
            <a:off x="10351566" y="5501378"/>
            <a:ext cx="530978" cy="0"/>
          </a:xfrm>
          <a:prstGeom prst="straightConnector1">
            <a:avLst/>
          </a:prstGeom>
          <a:ln w="381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541" name="Rechteck 1540"/>
          <p:cNvSpPr/>
          <p:nvPr/>
        </p:nvSpPr>
        <p:spPr>
          <a:xfrm>
            <a:off x="9116188" y="4644179"/>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542" name="Rechteck 1541"/>
          <p:cNvSpPr/>
          <p:nvPr/>
        </p:nvSpPr>
        <p:spPr>
          <a:xfrm>
            <a:off x="6616296" y="5484929"/>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543" name="Rechteck 1542"/>
          <p:cNvSpPr/>
          <p:nvPr/>
        </p:nvSpPr>
        <p:spPr>
          <a:xfrm>
            <a:off x="6945039" y="2359435"/>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pic>
        <p:nvPicPr>
          <p:cNvPr id="1544" name="Grafik 1543"/>
          <p:cNvPicPr>
            <a:picLocks noChangeAspect="1"/>
          </p:cNvPicPr>
          <p:nvPr/>
        </p:nvPicPr>
        <p:blipFill>
          <a:blip r:embed="rId6"/>
          <a:stretch>
            <a:fillRect/>
          </a:stretch>
        </p:blipFill>
        <p:spPr>
          <a:xfrm>
            <a:off x="5357389" y="2314379"/>
            <a:ext cx="806353" cy="137670"/>
          </a:xfrm>
          <a:prstGeom prst="rect">
            <a:avLst/>
          </a:prstGeom>
        </p:spPr>
      </p:pic>
      <p:sp>
        <p:nvSpPr>
          <p:cNvPr id="1545" name="Abgerundetes Rechteck 12">
            <a:extLst>
              <a:ext uri="{FF2B5EF4-FFF2-40B4-BE49-F238E27FC236}">
                <a16:creationId xmlns:a16="http://schemas.microsoft.com/office/drawing/2014/main" id="{1B9D5F0D-4D47-461F-87B4-88108D79727F}"/>
              </a:ext>
            </a:extLst>
          </p:cNvPr>
          <p:cNvSpPr/>
          <p:nvPr/>
        </p:nvSpPr>
        <p:spPr>
          <a:xfrm>
            <a:off x="5310565" y="2505081"/>
            <a:ext cx="900000" cy="684000"/>
          </a:xfrm>
          <a:prstGeom prst="roundRect">
            <a:avLst>
              <a:gd name="adj" fmla="val 9983"/>
            </a:avLst>
          </a:prstGeom>
          <a:solidFill>
            <a:schemeClr val="bg1">
              <a:lumMod val="6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800" dirty="0">
              <a:solidFill>
                <a:schemeClr val="tx1"/>
              </a:solidFill>
            </a:endParaRPr>
          </a:p>
        </p:txBody>
      </p:sp>
      <p:grpSp>
        <p:nvGrpSpPr>
          <p:cNvPr id="1546" name="Gruppieren 1545"/>
          <p:cNvGrpSpPr/>
          <p:nvPr/>
        </p:nvGrpSpPr>
        <p:grpSpPr>
          <a:xfrm>
            <a:off x="5403888" y="2645228"/>
            <a:ext cx="254762" cy="157335"/>
            <a:chOff x="7073453" y="2563341"/>
            <a:chExt cx="254762" cy="157335"/>
          </a:xfrm>
        </p:grpSpPr>
        <p:sp>
          <p:nvSpPr>
            <p:cNvPr id="1547" name="Freihandform: Form 223">
              <a:extLst>
                <a:ext uri="{FF2B5EF4-FFF2-40B4-BE49-F238E27FC236}">
                  <a16:creationId xmlns:a16="http://schemas.microsoft.com/office/drawing/2014/main" id="{D4806A20-A82F-4A5F-AD8C-BD961479E435}"/>
                </a:ext>
              </a:extLst>
            </p:cNvPr>
            <p:cNvSpPr/>
            <p:nvPr/>
          </p:nvSpPr>
          <p:spPr>
            <a:xfrm>
              <a:off x="7073453" y="2584094"/>
              <a:ext cx="162122" cy="136582"/>
            </a:xfrm>
            <a:custGeom>
              <a:avLst/>
              <a:gdLst>
                <a:gd name="connsiteX0" fmla="*/ 169545 w 266700"/>
                <a:gd name="connsiteY0" fmla="*/ 206873 h 314505"/>
                <a:gd name="connsiteX1" fmla="*/ 165735 w 266700"/>
                <a:gd name="connsiteY1" fmla="*/ 183060 h 314505"/>
                <a:gd name="connsiteX2" fmla="*/ 238125 w 266700"/>
                <a:gd name="connsiteY2" fmla="*/ 181155 h 314505"/>
                <a:gd name="connsiteX3" fmla="*/ 209550 w 266700"/>
                <a:gd name="connsiteY3" fmla="*/ 95430 h 314505"/>
                <a:gd name="connsiteX4" fmla="*/ 209550 w 266700"/>
                <a:gd name="connsiteY4" fmla="*/ 79238 h 314505"/>
                <a:gd name="connsiteX5" fmla="*/ 138113 w 266700"/>
                <a:gd name="connsiteY5" fmla="*/ 180 h 314505"/>
                <a:gd name="connsiteX6" fmla="*/ 57150 w 266700"/>
                <a:gd name="connsiteY6" fmla="*/ 70665 h 314505"/>
                <a:gd name="connsiteX7" fmla="*/ 57150 w 266700"/>
                <a:gd name="connsiteY7" fmla="*/ 75428 h 314505"/>
                <a:gd name="connsiteX8" fmla="*/ 57150 w 266700"/>
                <a:gd name="connsiteY8" fmla="*/ 94478 h 314505"/>
                <a:gd name="connsiteX9" fmla="*/ 28575 w 266700"/>
                <a:gd name="connsiteY9" fmla="*/ 180203 h 314505"/>
                <a:gd name="connsiteX10" fmla="*/ 100013 w 266700"/>
                <a:gd name="connsiteY10" fmla="*/ 182108 h 314505"/>
                <a:gd name="connsiteX11" fmla="*/ 96203 w 266700"/>
                <a:gd name="connsiteY11" fmla="*/ 205920 h 314505"/>
                <a:gd name="connsiteX12" fmla="*/ 82868 w 266700"/>
                <a:gd name="connsiteY12" fmla="*/ 221160 h 314505"/>
                <a:gd name="connsiteX13" fmla="*/ 20003 w 266700"/>
                <a:gd name="connsiteY13" fmla="*/ 240210 h 314505"/>
                <a:gd name="connsiteX14" fmla="*/ 0 w 266700"/>
                <a:gd name="connsiteY14" fmla="*/ 268785 h 314505"/>
                <a:gd name="connsiteX15" fmla="*/ 0 w 266700"/>
                <a:gd name="connsiteY15" fmla="*/ 314505 h 314505"/>
                <a:gd name="connsiteX16" fmla="*/ 266700 w 266700"/>
                <a:gd name="connsiteY16" fmla="*/ 314505 h 314505"/>
                <a:gd name="connsiteX17" fmla="*/ 266700 w 266700"/>
                <a:gd name="connsiteY17" fmla="*/ 268785 h 314505"/>
                <a:gd name="connsiteX18" fmla="*/ 246698 w 266700"/>
                <a:gd name="connsiteY18" fmla="*/ 241163 h 314505"/>
                <a:gd name="connsiteX19" fmla="*/ 183833 w 266700"/>
                <a:gd name="connsiteY19" fmla="*/ 222113 h 314505"/>
                <a:gd name="connsiteX20" fmla="*/ 169545 w 266700"/>
                <a:gd name="connsiteY20" fmla="*/ 206873 h 3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700" h="314505">
                  <a:moveTo>
                    <a:pt x="169545" y="206873"/>
                  </a:moveTo>
                  <a:lnTo>
                    <a:pt x="165735" y="183060"/>
                  </a:lnTo>
                  <a:cubicBezTo>
                    <a:pt x="212408" y="193538"/>
                    <a:pt x="238125" y="181155"/>
                    <a:pt x="238125" y="181155"/>
                  </a:cubicBezTo>
                  <a:cubicBezTo>
                    <a:pt x="221933" y="155438"/>
                    <a:pt x="211455" y="125910"/>
                    <a:pt x="209550" y="95430"/>
                  </a:cubicBezTo>
                  <a:lnTo>
                    <a:pt x="209550" y="79238"/>
                  </a:lnTo>
                  <a:cubicBezTo>
                    <a:pt x="210503" y="38280"/>
                    <a:pt x="179070" y="3990"/>
                    <a:pt x="138113" y="180"/>
                  </a:cubicBezTo>
                  <a:cubicBezTo>
                    <a:pt x="96203" y="-2677"/>
                    <a:pt x="60008" y="28755"/>
                    <a:pt x="57150" y="70665"/>
                  </a:cubicBezTo>
                  <a:cubicBezTo>
                    <a:pt x="57150" y="72570"/>
                    <a:pt x="57150" y="74475"/>
                    <a:pt x="57150" y="75428"/>
                  </a:cubicBezTo>
                  <a:lnTo>
                    <a:pt x="57150" y="94478"/>
                  </a:lnTo>
                  <a:cubicBezTo>
                    <a:pt x="55245" y="124958"/>
                    <a:pt x="44768" y="154485"/>
                    <a:pt x="28575" y="180203"/>
                  </a:cubicBezTo>
                  <a:cubicBezTo>
                    <a:pt x="28575" y="180203"/>
                    <a:pt x="54293" y="192585"/>
                    <a:pt x="100013" y="182108"/>
                  </a:cubicBezTo>
                  <a:lnTo>
                    <a:pt x="96203" y="205920"/>
                  </a:lnTo>
                  <a:cubicBezTo>
                    <a:pt x="95250" y="213540"/>
                    <a:pt x="89535" y="219255"/>
                    <a:pt x="82868" y="221160"/>
                  </a:cubicBezTo>
                  <a:lnTo>
                    <a:pt x="20003" y="240210"/>
                  </a:lnTo>
                  <a:cubicBezTo>
                    <a:pt x="8573" y="244973"/>
                    <a:pt x="0" y="256403"/>
                    <a:pt x="0" y="268785"/>
                  </a:cubicBezTo>
                  <a:lnTo>
                    <a:pt x="0" y="314505"/>
                  </a:lnTo>
                  <a:lnTo>
                    <a:pt x="266700" y="314505"/>
                  </a:lnTo>
                  <a:lnTo>
                    <a:pt x="266700" y="268785"/>
                  </a:lnTo>
                  <a:cubicBezTo>
                    <a:pt x="266700" y="256403"/>
                    <a:pt x="258128" y="244973"/>
                    <a:pt x="246698" y="241163"/>
                  </a:cubicBezTo>
                  <a:lnTo>
                    <a:pt x="183833" y="222113"/>
                  </a:lnTo>
                  <a:cubicBezTo>
                    <a:pt x="176213" y="220208"/>
                    <a:pt x="170498" y="214493"/>
                    <a:pt x="169545" y="206873"/>
                  </a:cubicBezTo>
                  <a:close/>
                </a:path>
              </a:pathLst>
            </a:custGeom>
            <a:noFill/>
            <a:ln w="12700" cap="sq">
              <a:solidFill>
                <a:schemeClr val="accent5"/>
              </a:solidFill>
              <a:prstDash val="solid"/>
              <a:miter/>
            </a:ln>
          </p:spPr>
          <p:txBody>
            <a:bodyPr lIns="36000" tIns="36000" rIns="36000" bIns="36000" rtlCol="0" anchor="ctr"/>
            <a:lstStyle/>
            <a:p>
              <a:pPr>
                <a:defRPr/>
              </a:pPr>
              <a:endParaRPr lang="de-DE" sz="800" kern="0" dirty="0"/>
            </a:p>
          </p:txBody>
        </p:sp>
        <p:sp>
          <p:nvSpPr>
            <p:cNvPr id="1548" name="Freihandform: Form 224">
              <a:extLst>
                <a:ext uri="{FF2B5EF4-FFF2-40B4-BE49-F238E27FC236}">
                  <a16:creationId xmlns:a16="http://schemas.microsoft.com/office/drawing/2014/main" id="{B0DE8EF5-AD7F-4C08-A1DE-FD7551BB1E27}"/>
                </a:ext>
              </a:extLst>
            </p:cNvPr>
            <p:cNvSpPr/>
            <p:nvPr/>
          </p:nvSpPr>
          <p:spPr>
            <a:xfrm>
              <a:off x="7208940" y="2563341"/>
              <a:ext cx="119275" cy="157335"/>
            </a:xfrm>
            <a:custGeom>
              <a:avLst/>
              <a:gdLst>
                <a:gd name="connsiteX0" fmla="*/ 100965 w 196215"/>
                <a:gd name="connsiteY0" fmla="*/ 362294 h 362293"/>
                <a:gd name="connsiteX1" fmla="*/ 196215 w 196215"/>
                <a:gd name="connsiteY1" fmla="*/ 362294 h 362293"/>
                <a:gd name="connsiteX2" fmla="*/ 196215 w 196215"/>
                <a:gd name="connsiteY2" fmla="*/ 296571 h 362293"/>
                <a:gd name="connsiteX3" fmla="*/ 177165 w 196215"/>
                <a:gd name="connsiteY3" fmla="*/ 269901 h 362293"/>
                <a:gd name="connsiteX4" fmla="*/ 101917 w 196215"/>
                <a:gd name="connsiteY4" fmla="*/ 242279 h 362293"/>
                <a:gd name="connsiteX5" fmla="*/ 89535 w 196215"/>
                <a:gd name="connsiteY5" fmla="*/ 227039 h 362293"/>
                <a:gd name="connsiteX6" fmla="*/ 84773 w 196215"/>
                <a:gd name="connsiteY6" fmla="*/ 193701 h 362293"/>
                <a:gd name="connsiteX7" fmla="*/ 129540 w 196215"/>
                <a:gd name="connsiteY7" fmla="*/ 124169 h 362293"/>
                <a:gd name="connsiteX8" fmla="*/ 129540 w 196215"/>
                <a:gd name="connsiteY8" fmla="*/ 67971 h 362293"/>
                <a:gd name="connsiteX9" fmla="*/ 87630 w 196215"/>
                <a:gd name="connsiteY9" fmla="*/ 26061 h 362293"/>
                <a:gd name="connsiteX10" fmla="*/ 77153 w 196215"/>
                <a:gd name="connsiteY10" fmla="*/ 4154 h 362293"/>
                <a:gd name="connsiteX11" fmla="*/ 67628 w 196215"/>
                <a:gd name="connsiteY11" fmla="*/ 344 h 362293"/>
                <a:gd name="connsiteX12" fmla="*/ 16193 w 196215"/>
                <a:gd name="connsiteY12" fmla="*/ 19394 h 362293"/>
                <a:gd name="connsiteX13" fmla="*/ 0 w 196215"/>
                <a:gd name="connsiteY13" fmla="*/ 28919 h 36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215" h="362293">
                  <a:moveTo>
                    <a:pt x="100965" y="362294"/>
                  </a:moveTo>
                  <a:lnTo>
                    <a:pt x="196215" y="362294"/>
                  </a:lnTo>
                  <a:lnTo>
                    <a:pt x="196215" y="296571"/>
                  </a:lnTo>
                  <a:cubicBezTo>
                    <a:pt x="196215" y="284189"/>
                    <a:pt x="188595" y="273711"/>
                    <a:pt x="177165" y="269901"/>
                  </a:cubicBezTo>
                  <a:lnTo>
                    <a:pt x="101917" y="242279"/>
                  </a:lnTo>
                  <a:cubicBezTo>
                    <a:pt x="95250" y="239421"/>
                    <a:pt x="90488" y="233706"/>
                    <a:pt x="89535" y="227039"/>
                  </a:cubicBezTo>
                  <a:lnTo>
                    <a:pt x="84773" y="193701"/>
                  </a:lnTo>
                  <a:cubicBezTo>
                    <a:pt x="112395" y="181319"/>
                    <a:pt x="129540" y="153696"/>
                    <a:pt x="129540" y="124169"/>
                  </a:cubicBezTo>
                  <a:lnTo>
                    <a:pt x="129540" y="67971"/>
                  </a:lnTo>
                  <a:cubicBezTo>
                    <a:pt x="129540" y="45111"/>
                    <a:pt x="110490" y="26061"/>
                    <a:pt x="87630" y="26061"/>
                  </a:cubicBezTo>
                  <a:lnTo>
                    <a:pt x="77153" y="4154"/>
                  </a:lnTo>
                  <a:cubicBezTo>
                    <a:pt x="75248" y="344"/>
                    <a:pt x="71438" y="-609"/>
                    <a:pt x="67628" y="344"/>
                  </a:cubicBezTo>
                  <a:lnTo>
                    <a:pt x="16193" y="19394"/>
                  </a:lnTo>
                  <a:cubicBezTo>
                    <a:pt x="10478" y="21299"/>
                    <a:pt x="4763" y="25109"/>
                    <a:pt x="0" y="28919"/>
                  </a:cubicBezTo>
                </a:path>
              </a:pathLst>
            </a:custGeom>
            <a:noFill/>
            <a:ln w="12700" cap="sq">
              <a:solidFill>
                <a:schemeClr val="accent5"/>
              </a:solidFill>
              <a:prstDash val="solid"/>
              <a:miter/>
            </a:ln>
          </p:spPr>
          <p:txBody>
            <a:bodyPr lIns="36000" tIns="36000" rIns="36000" bIns="36000" rtlCol="0" anchor="ctr"/>
            <a:lstStyle/>
            <a:p>
              <a:pPr>
                <a:defRPr/>
              </a:pPr>
              <a:endParaRPr lang="de-DE" sz="800" kern="0" dirty="0"/>
            </a:p>
          </p:txBody>
        </p:sp>
      </p:grpSp>
      <p:grpSp>
        <p:nvGrpSpPr>
          <p:cNvPr id="1549" name="Gruppieren 510">
            <a:extLst>
              <a:ext uri="{FF2B5EF4-FFF2-40B4-BE49-F238E27FC236}">
                <a16:creationId xmlns:a16="http://schemas.microsoft.com/office/drawing/2014/main" id="{74CD490D-35A7-4536-8EEC-8323CEB1A910}"/>
              </a:ext>
            </a:extLst>
          </p:cNvPr>
          <p:cNvGrpSpPr>
            <a:grpSpLocks noChangeAspect="1"/>
          </p:cNvGrpSpPr>
          <p:nvPr/>
        </p:nvGrpSpPr>
        <p:grpSpPr>
          <a:xfrm>
            <a:off x="5887191" y="2659265"/>
            <a:ext cx="196748" cy="129260"/>
            <a:chOff x="3925395" y="1785648"/>
            <a:chExt cx="552450" cy="457200"/>
          </a:xfrm>
        </p:grpSpPr>
        <p:sp>
          <p:nvSpPr>
            <p:cNvPr id="1550" name="Freihandform: Form 166">
              <a:extLst>
                <a:ext uri="{FF2B5EF4-FFF2-40B4-BE49-F238E27FC236}">
                  <a16:creationId xmlns:a16="http://schemas.microsoft.com/office/drawing/2014/main" id="{A7DE4998-3E89-4A94-ACAA-107376A89B44}"/>
                </a:ext>
              </a:extLst>
            </p:cNvPr>
            <p:cNvSpPr/>
            <p:nvPr/>
          </p:nvSpPr>
          <p:spPr>
            <a:xfrm>
              <a:off x="3992070" y="1852323"/>
              <a:ext cx="419100" cy="200025"/>
            </a:xfrm>
            <a:custGeom>
              <a:avLst/>
              <a:gdLst>
                <a:gd name="connsiteX0" fmla="*/ 0 w 419100"/>
                <a:gd name="connsiteY0" fmla="*/ 0 h 200025"/>
                <a:gd name="connsiteX1" fmla="*/ 209550 w 419100"/>
                <a:gd name="connsiteY1" fmla="*/ 200025 h 200025"/>
                <a:gd name="connsiteX2" fmla="*/ 419100 w 419100"/>
                <a:gd name="connsiteY2" fmla="*/ 0 h 200025"/>
              </a:gdLst>
              <a:ahLst/>
              <a:cxnLst>
                <a:cxn ang="0">
                  <a:pos x="connsiteX0" y="connsiteY0"/>
                </a:cxn>
                <a:cxn ang="0">
                  <a:pos x="connsiteX1" y="connsiteY1"/>
                </a:cxn>
                <a:cxn ang="0">
                  <a:pos x="connsiteX2" y="connsiteY2"/>
                </a:cxn>
              </a:cxnLst>
              <a:rect l="l" t="t" r="r" b="b"/>
              <a:pathLst>
                <a:path w="419100" h="200025">
                  <a:moveTo>
                    <a:pt x="0" y="0"/>
                  </a:moveTo>
                  <a:lnTo>
                    <a:pt x="209550" y="200025"/>
                  </a:lnTo>
                  <a:lnTo>
                    <a:pt x="419100" y="0"/>
                  </a:lnTo>
                </a:path>
              </a:pathLst>
            </a:custGeom>
            <a:noFill/>
            <a:ln w="12700" cap="sq">
              <a:solidFill>
                <a:schemeClr val="accent5"/>
              </a:solidFill>
              <a:prstDash val="solid"/>
              <a:miter/>
            </a:ln>
          </p:spPr>
          <p:txBody>
            <a:bodyPr lIns="36000" tIns="36000" rIns="36000" bIns="36000" rtlCol="0" anchor="ctr"/>
            <a:lstStyle/>
            <a:p>
              <a:endParaRPr lang="de-DE" sz="800" dirty="0"/>
            </a:p>
          </p:txBody>
        </p:sp>
        <p:sp>
          <p:nvSpPr>
            <p:cNvPr id="1551" name="Freihandform: Form 167">
              <a:extLst>
                <a:ext uri="{FF2B5EF4-FFF2-40B4-BE49-F238E27FC236}">
                  <a16:creationId xmlns:a16="http://schemas.microsoft.com/office/drawing/2014/main" id="{DC64D642-5C23-4E56-9C33-AC23CE2E1CA0}"/>
                </a:ext>
              </a:extLst>
            </p:cNvPr>
            <p:cNvSpPr/>
            <p:nvPr/>
          </p:nvSpPr>
          <p:spPr>
            <a:xfrm>
              <a:off x="3992070" y="2033298"/>
              <a:ext cx="95250" cy="123825"/>
            </a:xfrm>
            <a:custGeom>
              <a:avLst/>
              <a:gdLst>
                <a:gd name="connsiteX0" fmla="*/ 0 w 95250"/>
                <a:gd name="connsiteY0" fmla="*/ 123825 h 123825"/>
                <a:gd name="connsiteX1" fmla="*/ 95250 w 95250"/>
                <a:gd name="connsiteY1" fmla="*/ 0 h 123825"/>
              </a:gdLst>
              <a:ahLst/>
              <a:cxnLst>
                <a:cxn ang="0">
                  <a:pos x="connsiteX0" y="connsiteY0"/>
                </a:cxn>
                <a:cxn ang="0">
                  <a:pos x="connsiteX1" y="connsiteY1"/>
                </a:cxn>
              </a:cxnLst>
              <a:rect l="l" t="t" r="r" b="b"/>
              <a:pathLst>
                <a:path w="95250" h="123825">
                  <a:moveTo>
                    <a:pt x="0" y="123825"/>
                  </a:moveTo>
                  <a:lnTo>
                    <a:pt x="95250" y="0"/>
                  </a:lnTo>
                </a:path>
              </a:pathLst>
            </a:custGeom>
            <a:ln w="12700" cap="sq">
              <a:solidFill>
                <a:schemeClr val="accent5"/>
              </a:solidFill>
              <a:prstDash val="solid"/>
              <a:miter/>
            </a:ln>
          </p:spPr>
          <p:txBody>
            <a:bodyPr lIns="36000" tIns="36000" rIns="36000" bIns="36000" rtlCol="0" anchor="ctr"/>
            <a:lstStyle/>
            <a:p>
              <a:endParaRPr lang="de-DE" sz="800" dirty="0"/>
            </a:p>
          </p:txBody>
        </p:sp>
        <p:sp>
          <p:nvSpPr>
            <p:cNvPr id="1552" name="Freihandform: Form 168">
              <a:extLst>
                <a:ext uri="{FF2B5EF4-FFF2-40B4-BE49-F238E27FC236}">
                  <a16:creationId xmlns:a16="http://schemas.microsoft.com/office/drawing/2014/main" id="{75577E59-DD76-48BE-917E-8C56AB080038}"/>
                </a:ext>
              </a:extLst>
            </p:cNvPr>
            <p:cNvSpPr/>
            <p:nvPr/>
          </p:nvSpPr>
          <p:spPr>
            <a:xfrm>
              <a:off x="4315920" y="2033298"/>
              <a:ext cx="95250" cy="123825"/>
            </a:xfrm>
            <a:custGeom>
              <a:avLst/>
              <a:gdLst>
                <a:gd name="connsiteX0" fmla="*/ 0 w 95250"/>
                <a:gd name="connsiteY0" fmla="*/ 0 h 123825"/>
                <a:gd name="connsiteX1" fmla="*/ 95250 w 95250"/>
                <a:gd name="connsiteY1" fmla="*/ 123825 h 123825"/>
              </a:gdLst>
              <a:ahLst/>
              <a:cxnLst>
                <a:cxn ang="0">
                  <a:pos x="connsiteX0" y="connsiteY0"/>
                </a:cxn>
                <a:cxn ang="0">
                  <a:pos x="connsiteX1" y="connsiteY1"/>
                </a:cxn>
              </a:cxnLst>
              <a:rect l="l" t="t" r="r" b="b"/>
              <a:pathLst>
                <a:path w="95250" h="123825">
                  <a:moveTo>
                    <a:pt x="0" y="0"/>
                  </a:moveTo>
                  <a:lnTo>
                    <a:pt x="95250" y="123825"/>
                  </a:lnTo>
                </a:path>
              </a:pathLst>
            </a:custGeom>
            <a:ln w="12700" cap="sq">
              <a:solidFill>
                <a:schemeClr val="accent5"/>
              </a:solidFill>
              <a:prstDash val="solid"/>
              <a:miter/>
            </a:ln>
          </p:spPr>
          <p:txBody>
            <a:bodyPr lIns="36000" tIns="36000" rIns="36000" bIns="36000" rtlCol="0" anchor="ctr"/>
            <a:lstStyle/>
            <a:p>
              <a:endParaRPr lang="de-DE" sz="800" dirty="0"/>
            </a:p>
          </p:txBody>
        </p:sp>
        <p:sp>
          <p:nvSpPr>
            <p:cNvPr id="1553" name="Freihandform: Form 169">
              <a:extLst>
                <a:ext uri="{FF2B5EF4-FFF2-40B4-BE49-F238E27FC236}">
                  <a16:creationId xmlns:a16="http://schemas.microsoft.com/office/drawing/2014/main" id="{8CF40263-D27C-4B24-8C84-AAA8BE8EEE48}"/>
                </a:ext>
              </a:extLst>
            </p:cNvPr>
            <p:cNvSpPr/>
            <p:nvPr/>
          </p:nvSpPr>
          <p:spPr>
            <a:xfrm>
              <a:off x="3925395" y="1785648"/>
              <a:ext cx="552450" cy="457200"/>
            </a:xfrm>
            <a:custGeom>
              <a:avLst/>
              <a:gdLst>
                <a:gd name="connsiteX0" fmla="*/ 0 w 552450"/>
                <a:gd name="connsiteY0" fmla="*/ 47625 h 457200"/>
                <a:gd name="connsiteX1" fmla="*/ 0 w 552450"/>
                <a:gd name="connsiteY1" fmla="*/ 409575 h 457200"/>
                <a:gd name="connsiteX2" fmla="*/ 47625 w 552450"/>
                <a:gd name="connsiteY2" fmla="*/ 457200 h 457200"/>
                <a:gd name="connsiteX3" fmla="*/ 504825 w 552450"/>
                <a:gd name="connsiteY3" fmla="*/ 457200 h 457200"/>
                <a:gd name="connsiteX4" fmla="*/ 552450 w 552450"/>
                <a:gd name="connsiteY4" fmla="*/ 409575 h 457200"/>
                <a:gd name="connsiteX5" fmla="*/ 552450 w 552450"/>
                <a:gd name="connsiteY5" fmla="*/ 47625 h 457200"/>
                <a:gd name="connsiteX6" fmla="*/ 504825 w 552450"/>
                <a:gd name="connsiteY6" fmla="*/ 0 h 457200"/>
                <a:gd name="connsiteX7" fmla="*/ 47625 w 552450"/>
                <a:gd name="connsiteY7" fmla="*/ 0 h 457200"/>
                <a:gd name="connsiteX8" fmla="*/ 0 w 552450"/>
                <a:gd name="connsiteY8" fmla="*/ 47625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2450" h="457200">
                  <a:moveTo>
                    <a:pt x="0" y="47625"/>
                  </a:moveTo>
                  <a:lnTo>
                    <a:pt x="0" y="409575"/>
                  </a:lnTo>
                  <a:cubicBezTo>
                    <a:pt x="0" y="436245"/>
                    <a:pt x="20955" y="457200"/>
                    <a:pt x="47625" y="457200"/>
                  </a:cubicBezTo>
                  <a:lnTo>
                    <a:pt x="504825" y="457200"/>
                  </a:lnTo>
                  <a:cubicBezTo>
                    <a:pt x="531495" y="457200"/>
                    <a:pt x="552450" y="436245"/>
                    <a:pt x="552450" y="409575"/>
                  </a:cubicBezTo>
                  <a:lnTo>
                    <a:pt x="552450" y="47625"/>
                  </a:lnTo>
                  <a:cubicBezTo>
                    <a:pt x="552450" y="20955"/>
                    <a:pt x="531495" y="0"/>
                    <a:pt x="504825" y="0"/>
                  </a:cubicBezTo>
                  <a:lnTo>
                    <a:pt x="47625" y="0"/>
                  </a:lnTo>
                  <a:cubicBezTo>
                    <a:pt x="20955" y="0"/>
                    <a:pt x="0" y="20955"/>
                    <a:pt x="0" y="47625"/>
                  </a:cubicBezTo>
                  <a:close/>
                </a:path>
              </a:pathLst>
            </a:custGeom>
            <a:noFill/>
            <a:ln w="12700" cap="sq">
              <a:solidFill>
                <a:schemeClr val="accent5"/>
              </a:solidFill>
              <a:prstDash val="solid"/>
              <a:miter/>
            </a:ln>
          </p:spPr>
          <p:txBody>
            <a:bodyPr lIns="36000" tIns="36000" rIns="36000" bIns="36000" rtlCol="0" anchor="ctr"/>
            <a:lstStyle/>
            <a:p>
              <a:endParaRPr lang="de-DE" sz="800" dirty="0"/>
            </a:p>
          </p:txBody>
        </p:sp>
      </p:grpSp>
      <p:sp>
        <p:nvSpPr>
          <p:cNvPr id="1554" name="Textfeld 509">
            <a:extLst>
              <a:ext uri="{FF2B5EF4-FFF2-40B4-BE49-F238E27FC236}">
                <a16:creationId xmlns:a16="http://schemas.microsoft.com/office/drawing/2014/main" id="{F8B1162D-90A9-4807-A120-E2E6D7A3F0B9}"/>
              </a:ext>
            </a:extLst>
          </p:cNvPr>
          <p:cNvSpPr txBox="1">
            <a:spLocks/>
          </p:cNvSpPr>
          <p:nvPr/>
        </p:nvSpPr>
        <p:spPr>
          <a:xfrm>
            <a:off x="5310565"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Nutzer-konto</a:t>
            </a:r>
          </a:p>
        </p:txBody>
      </p:sp>
      <p:sp>
        <p:nvSpPr>
          <p:cNvPr id="1555" name="Textfeld 515">
            <a:extLst>
              <a:ext uri="{FF2B5EF4-FFF2-40B4-BE49-F238E27FC236}">
                <a16:creationId xmlns:a16="http://schemas.microsoft.com/office/drawing/2014/main" id="{4C3251A9-846A-47F8-8F0F-B1B5F99431EE}"/>
              </a:ext>
            </a:extLst>
          </p:cNvPr>
          <p:cNvSpPr txBox="1">
            <a:spLocks/>
          </p:cNvSpPr>
          <p:nvPr/>
        </p:nvSpPr>
        <p:spPr>
          <a:xfrm>
            <a:off x="5760565" y="2868933"/>
            <a:ext cx="450000" cy="180000"/>
          </a:xfrm>
          <a:prstGeom prst="rect">
            <a:avLst/>
          </a:prstGeom>
          <a:noFill/>
          <a:ln>
            <a:noFill/>
          </a:ln>
        </p:spPr>
        <p:txBody>
          <a:bodyPr wrap="square" lIns="0" tIns="0" rIns="0" bIns="0" rtlCol="0">
            <a:noAutofit/>
          </a:bodyPr>
          <a:lstStyle>
            <a:defPPr>
              <a:defRPr lang="en-US"/>
            </a:defPPr>
            <a:lvl1pPr algn="ctr">
              <a:defRPr sz="800">
                <a:latin typeface="+mn-lt"/>
              </a:defRPr>
            </a:lvl1pPr>
          </a:lstStyle>
          <a:p>
            <a:r>
              <a:rPr lang="de-DE" dirty="0"/>
              <a:t>Postfach</a:t>
            </a:r>
          </a:p>
        </p:txBody>
      </p:sp>
      <p:sp>
        <p:nvSpPr>
          <p:cNvPr id="1556" name="Flowchart: Connector 245">
            <a:extLst>
              <a:ext uri="{FF2B5EF4-FFF2-40B4-BE49-F238E27FC236}">
                <a16:creationId xmlns:a16="http://schemas.microsoft.com/office/drawing/2014/main" id="{9BBC6C77-2C86-44A1-87C7-9F88B8D44D2A}"/>
              </a:ext>
            </a:extLst>
          </p:cNvPr>
          <p:cNvSpPr/>
          <p:nvPr/>
        </p:nvSpPr>
        <p:spPr>
          <a:xfrm>
            <a:off x="5185676" y="3112476"/>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5a</a:t>
            </a:r>
          </a:p>
        </p:txBody>
      </p:sp>
      <p:sp>
        <p:nvSpPr>
          <p:cNvPr id="1557" name="Flowchart: Connector 287">
            <a:extLst>
              <a:ext uri="{FF2B5EF4-FFF2-40B4-BE49-F238E27FC236}">
                <a16:creationId xmlns:a16="http://schemas.microsoft.com/office/drawing/2014/main" id="{A7356286-1A53-46A5-A1F2-8CC75D667FF0}"/>
              </a:ext>
            </a:extLst>
          </p:cNvPr>
          <p:cNvSpPr/>
          <p:nvPr/>
        </p:nvSpPr>
        <p:spPr>
          <a:xfrm>
            <a:off x="6082214" y="3117195"/>
            <a:ext cx="252000" cy="252000"/>
          </a:xfrm>
          <a:prstGeom prst="flowChartConnector">
            <a:avLst/>
          </a:prstGeom>
          <a:solidFill>
            <a:schemeClr val="accent1"/>
          </a:solidFill>
          <a:ln w="63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200" b="1" dirty="0">
                <a:solidFill>
                  <a:schemeClr val="bg1"/>
                </a:solidFill>
              </a:rPr>
              <a:t>5b</a:t>
            </a:r>
          </a:p>
        </p:txBody>
      </p:sp>
      <p:grpSp>
        <p:nvGrpSpPr>
          <p:cNvPr id="1558" name="Gruppieren 1557"/>
          <p:cNvGrpSpPr/>
          <p:nvPr/>
        </p:nvGrpSpPr>
        <p:grpSpPr>
          <a:xfrm>
            <a:off x="5239994" y="4842251"/>
            <a:ext cx="792000" cy="1590275"/>
            <a:chOff x="5264148" y="4842251"/>
            <a:chExt cx="792000" cy="1590275"/>
          </a:xfrm>
        </p:grpSpPr>
        <p:sp>
          <p:nvSpPr>
            <p:cNvPr id="1559" name="Textfeld 1558">
              <a:extLst>
                <a:ext uri="{FF2B5EF4-FFF2-40B4-BE49-F238E27FC236}">
                  <a16:creationId xmlns:a16="http://schemas.microsoft.com/office/drawing/2014/main" id="{61FA0F73-A2AB-420B-B790-4ACF959411DD}"/>
                </a:ext>
              </a:extLst>
            </p:cNvPr>
            <p:cNvSpPr txBox="1">
              <a:spLocks/>
            </p:cNvSpPr>
            <p:nvPr/>
          </p:nvSpPr>
          <p:spPr>
            <a:xfrm>
              <a:off x="5264148" y="5198916"/>
              <a:ext cx="792000" cy="324000"/>
            </a:xfrm>
            <a:prstGeom prst="rect">
              <a:avLst/>
            </a:prstGeom>
            <a:noFill/>
          </p:spPr>
          <p:txBody>
            <a:bodyPr wrap="square" lIns="36000" tIns="36000" rIns="36000" bIns="36000" rtlCol="0">
              <a:spAutoFit/>
            </a:bodyPr>
            <a:lstStyle/>
            <a:p>
              <a:pPr algn="ctr" fontAlgn="base">
                <a:spcBef>
                  <a:spcPct val="0"/>
                </a:spcBef>
                <a:spcAft>
                  <a:spcPct val="0"/>
                </a:spcAft>
              </a:pPr>
              <a:r>
                <a:rPr lang="de-DE" sz="800" dirty="0"/>
                <a:t>Nachweise oder</a:t>
              </a:r>
              <a:br>
                <a:rPr lang="de-DE" sz="800" dirty="0"/>
              </a:br>
              <a:r>
                <a:rPr lang="de-DE" sz="800" dirty="0"/>
                <a:t>Registerabfragen</a:t>
              </a:r>
            </a:p>
          </p:txBody>
        </p:sp>
        <p:sp>
          <p:nvSpPr>
            <p:cNvPr id="1560" name="noun_project_04039.eps"/>
            <p:cNvSpPr>
              <a:spLocks noChangeAspect="1" noEditPoints="1"/>
            </p:cNvSpPr>
            <p:nvPr/>
          </p:nvSpPr>
          <p:spPr bwMode="auto">
            <a:xfrm>
              <a:off x="5408148" y="4842251"/>
              <a:ext cx="504000" cy="333375"/>
            </a:xfrm>
            <a:custGeom>
              <a:avLst/>
              <a:gdLst>
                <a:gd name="T0" fmla="*/ 146 w 3458"/>
                <a:gd name="T1" fmla="*/ 619 h 2286"/>
                <a:gd name="T2" fmla="*/ 121 w 3458"/>
                <a:gd name="T3" fmla="*/ 623 h 2286"/>
                <a:gd name="T4" fmla="*/ 113 w 3458"/>
                <a:gd name="T5" fmla="*/ 632 h 2286"/>
                <a:gd name="T6" fmla="*/ 111 w 3458"/>
                <a:gd name="T7" fmla="*/ 2164 h 2286"/>
                <a:gd name="T8" fmla="*/ 120 w 3458"/>
                <a:gd name="T9" fmla="*/ 2179 h 2286"/>
                <a:gd name="T10" fmla="*/ 3315 w 3458"/>
                <a:gd name="T11" fmla="*/ 2181 h 2286"/>
                <a:gd name="T12" fmla="*/ 3331 w 3458"/>
                <a:gd name="T13" fmla="*/ 2172 h 2286"/>
                <a:gd name="T14" fmla="*/ 3333 w 3458"/>
                <a:gd name="T15" fmla="*/ 2164 h 2286"/>
                <a:gd name="T16" fmla="*/ 3333 w 3458"/>
                <a:gd name="T17" fmla="*/ 631 h 2286"/>
                <a:gd name="T18" fmla="*/ 3328 w 3458"/>
                <a:gd name="T19" fmla="*/ 622 h 2286"/>
                <a:gd name="T20" fmla="*/ 3309 w 3458"/>
                <a:gd name="T21" fmla="*/ 618 h 2286"/>
                <a:gd name="T22" fmla="*/ 542 w 3458"/>
                <a:gd name="T23" fmla="*/ 385 h 2286"/>
                <a:gd name="T24" fmla="*/ 526 w 3458"/>
                <a:gd name="T25" fmla="*/ 394 h 2286"/>
                <a:gd name="T26" fmla="*/ 523 w 3458"/>
                <a:gd name="T27" fmla="*/ 525 h 2286"/>
                <a:gd name="T28" fmla="*/ 533 w 3458"/>
                <a:gd name="T29" fmla="*/ 540 h 2286"/>
                <a:gd name="T30" fmla="*/ 3315 w 3458"/>
                <a:gd name="T31" fmla="*/ 543 h 2286"/>
                <a:gd name="T32" fmla="*/ 3331 w 3458"/>
                <a:gd name="T33" fmla="*/ 534 h 2286"/>
                <a:gd name="T34" fmla="*/ 3333 w 3458"/>
                <a:gd name="T35" fmla="*/ 525 h 2286"/>
                <a:gd name="T36" fmla="*/ 3331 w 3458"/>
                <a:gd name="T37" fmla="*/ 394 h 2286"/>
                <a:gd name="T38" fmla="*/ 3315 w 3458"/>
                <a:gd name="T39" fmla="*/ 385 h 2286"/>
                <a:gd name="T40" fmla="*/ 299 w 3458"/>
                <a:gd name="T41" fmla="*/ 0 h 2286"/>
                <a:gd name="T42" fmla="*/ 1762 w 3458"/>
                <a:gd name="T43" fmla="*/ 1 h 2286"/>
                <a:gd name="T44" fmla="*/ 1795 w 3458"/>
                <a:gd name="T45" fmla="*/ 5 h 2286"/>
                <a:gd name="T46" fmla="*/ 1813 w 3458"/>
                <a:gd name="T47" fmla="*/ 14 h 2286"/>
                <a:gd name="T48" fmla="*/ 1822 w 3458"/>
                <a:gd name="T49" fmla="*/ 26 h 2286"/>
                <a:gd name="T50" fmla="*/ 1828 w 3458"/>
                <a:gd name="T51" fmla="*/ 39 h 2286"/>
                <a:gd name="T52" fmla="*/ 1909 w 3458"/>
                <a:gd name="T53" fmla="*/ 202 h 2286"/>
                <a:gd name="T54" fmla="*/ 1926 w 3458"/>
                <a:gd name="T55" fmla="*/ 215 h 2286"/>
                <a:gd name="T56" fmla="*/ 1950 w 3458"/>
                <a:gd name="T57" fmla="*/ 218 h 2286"/>
                <a:gd name="T58" fmla="*/ 3440 w 3458"/>
                <a:gd name="T59" fmla="*/ 218 h 2286"/>
                <a:gd name="T60" fmla="*/ 3454 w 3458"/>
                <a:gd name="T61" fmla="*/ 227 h 2286"/>
                <a:gd name="T62" fmla="*/ 3458 w 3458"/>
                <a:gd name="T63" fmla="*/ 2244 h 2286"/>
                <a:gd name="T64" fmla="*/ 3452 w 3458"/>
                <a:gd name="T65" fmla="*/ 2273 h 2286"/>
                <a:gd name="T66" fmla="*/ 3432 w 3458"/>
                <a:gd name="T67" fmla="*/ 2284 h 2286"/>
                <a:gd name="T68" fmla="*/ 38 w 3458"/>
                <a:gd name="T69" fmla="*/ 2286 h 2286"/>
                <a:gd name="T70" fmla="*/ 13 w 3458"/>
                <a:gd name="T71" fmla="*/ 2279 h 2286"/>
                <a:gd name="T72" fmla="*/ 1 w 3458"/>
                <a:gd name="T73" fmla="*/ 2261 h 2286"/>
                <a:gd name="T74" fmla="*/ 0 w 3458"/>
                <a:gd name="T75" fmla="*/ 236 h 2286"/>
                <a:gd name="T76" fmla="*/ 5 w 3458"/>
                <a:gd name="T77" fmla="*/ 223 h 2286"/>
                <a:gd name="T78" fmla="*/ 18 w 3458"/>
                <a:gd name="T79" fmla="*/ 218 h 2286"/>
                <a:gd name="T80" fmla="*/ 122 w 3458"/>
                <a:gd name="T81" fmla="*/ 216 h 2286"/>
                <a:gd name="T82" fmla="*/ 158 w 3458"/>
                <a:gd name="T83" fmla="*/ 207 h 2286"/>
                <a:gd name="T84" fmla="*/ 179 w 3458"/>
                <a:gd name="T85" fmla="*/ 184 h 2286"/>
                <a:gd name="T86" fmla="*/ 207 w 3458"/>
                <a:gd name="T87" fmla="*/ 50 h 2286"/>
                <a:gd name="T88" fmla="*/ 221 w 3458"/>
                <a:gd name="T89" fmla="*/ 22 h 2286"/>
                <a:gd name="T90" fmla="*/ 250 w 3458"/>
                <a:gd name="T91" fmla="*/ 5 h 2286"/>
                <a:gd name="T92" fmla="*/ 299 w 3458"/>
                <a:gd name="T93" fmla="*/ 0 h 2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58" h="2286">
                  <a:moveTo>
                    <a:pt x="167" y="618"/>
                  </a:moveTo>
                  <a:lnTo>
                    <a:pt x="146" y="619"/>
                  </a:lnTo>
                  <a:lnTo>
                    <a:pt x="132" y="621"/>
                  </a:lnTo>
                  <a:lnTo>
                    <a:pt x="121" y="623"/>
                  </a:lnTo>
                  <a:lnTo>
                    <a:pt x="115" y="627"/>
                  </a:lnTo>
                  <a:lnTo>
                    <a:pt x="113" y="632"/>
                  </a:lnTo>
                  <a:lnTo>
                    <a:pt x="111" y="636"/>
                  </a:lnTo>
                  <a:lnTo>
                    <a:pt x="111" y="2164"/>
                  </a:lnTo>
                  <a:lnTo>
                    <a:pt x="114" y="2172"/>
                  </a:lnTo>
                  <a:lnTo>
                    <a:pt x="120" y="2179"/>
                  </a:lnTo>
                  <a:lnTo>
                    <a:pt x="129" y="2181"/>
                  </a:lnTo>
                  <a:lnTo>
                    <a:pt x="3315" y="2181"/>
                  </a:lnTo>
                  <a:lnTo>
                    <a:pt x="3325" y="2179"/>
                  </a:lnTo>
                  <a:lnTo>
                    <a:pt x="3331" y="2172"/>
                  </a:lnTo>
                  <a:lnTo>
                    <a:pt x="3333" y="2164"/>
                  </a:lnTo>
                  <a:lnTo>
                    <a:pt x="3333" y="2164"/>
                  </a:lnTo>
                  <a:lnTo>
                    <a:pt x="3333" y="636"/>
                  </a:lnTo>
                  <a:lnTo>
                    <a:pt x="3333" y="631"/>
                  </a:lnTo>
                  <a:lnTo>
                    <a:pt x="3332" y="625"/>
                  </a:lnTo>
                  <a:lnTo>
                    <a:pt x="3328" y="622"/>
                  </a:lnTo>
                  <a:lnTo>
                    <a:pt x="3322" y="619"/>
                  </a:lnTo>
                  <a:lnTo>
                    <a:pt x="3309" y="618"/>
                  </a:lnTo>
                  <a:lnTo>
                    <a:pt x="167" y="618"/>
                  </a:lnTo>
                  <a:close/>
                  <a:moveTo>
                    <a:pt x="542" y="385"/>
                  </a:moveTo>
                  <a:lnTo>
                    <a:pt x="533" y="388"/>
                  </a:lnTo>
                  <a:lnTo>
                    <a:pt x="526" y="394"/>
                  </a:lnTo>
                  <a:lnTo>
                    <a:pt x="523" y="403"/>
                  </a:lnTo>
                  <a:lnTo>
                    <a:pt x="523" y="525"/>
                  </a:lnTo>
                  <a:lnTo>
                    <a:pt x="526" y="534"/>
                  </a:lnTo>
                  <a:lnTo>
                    <a:pt x="533" y="540"/>
                  </a:lnTo>
                  <a:lnTo>
                    <a:pt x="542" y="543"/>
                  </a:lnTo>
                  <a:lnTo>
                    <a:pt x="3315" y="543"/>
                  </a:lnTo>
                  <a:lnTo>
                    <a:pt x="3325" y="540"/>
                  </a:lnTo>
                  <a:lnTo>
                    <a:pt x="3331" y="534"/>
                  </a:lnTo>
                  <a:lnTo>
                    <a:pt x="3333" y="525"/>
                  </a:lnTo>
                  <a:lnTo>
                    <a:pt x="3333" y="525"/>
                  </a:lnTo>
                  <a:lnTo>
                    <a:pt x="3333" y="403"/>
                  </a:lnTo>
                  <a:lnTo>
                    <a:pt x="3331" y="394"/>
                  </a:lnTo>
                  <a:lnTo>
                    <a:pt x="3325" y="388"/>
                  </a:lnTo>
                  <a:lnTo>
                    <a:pt x="3315" y="385"/>
                  </a:lnTo>
                  <a:lnTo>
                    <a:pt x="542" y="385"/>
                  </a:lnTo>
                  <a:close/>
                  <a:moveTo>
                    <a:pt x="299" y="0"/>
                  </a:moveTo>
                  <a:lnTo>
                    <a:pt x="1739" y="0"/>
                  </a:lnTo>
                  <a:lnTo>
                    <a:pt x="1762" y="1"/>
                  </a:lnTo>
                  <a:lnTo>
                    <a:pt x="1781" y="2"/>
                  </a:lnTo>
                  <a:lnTo>
                    <a:pt x="1795" y="5"/>
                  </a:lnTo>
                  <a:lnTo>
                    <a:pt x="1806" y="10"/>
                  </a:lnTo>
                  <a:lnTo>
                    <a:pt x="1813" y="14"/>
                  </a:lnTo>
                  <a:lnTo>
                    <a:pt x="1818" y="19"/>
                  </a:lnTo>
                  <a:lnTo>
                    <a:pt x="1822" y="26"/>
                  </a:lnTo>
                  <a:lnTo>
                    <a:pt x="1825" y="33"/>
                  </a:lnTo>
                  <a:lnTo>
                    <a:pt x="1828" y="39"/>
                  </a:lnTo>
                  <a:lnTo>
                    <a:pt x="1900" y="190"/>
                  </a:lnTo>
                  <a:lnTo>
                    <a:pt x="1909" y="202"/>
                  </a:lnTo>
                  <a:lnTo>
                    <a:pt x="1917" y="210"/>
                  </a:lnTo>
                  <a:lnTo>
                    <a:pt x="1926" y="215"/>
                  </a:lnTo>
                  <a:lnTo>
                    <a:pt x="1936" y="217"/>
                  </a:lnTo>
                  <a:lnTo>
                    <a:pt x="1950" y="218"/>
                  </a:lnTo>
                  <a:lnTo>
                    <a:pt x="1968" y="218"/>
                  </a:lnTo>
                  <a:lnTo>
                    <a:pt x="3440" y="218"/>
                  </a:lnTo>
                  <a:lnTo>
                    <a:pt x="3448" y="221"/>
                  </a:lnTo>
                  <a:lnTo>
                    <a:pt x="3454" y="227"/>
                  </a:lnTo>
                  <a:lnTo>
                    <a:pt x="3458" y="236"/>
                  </a:lnTo>
                  <a:lnTo>
                    <a:pt x="3458" y="2244"/>
                  </a:lnTo>
                  <a:lnTo>
                    <a:pt x="3457" y="2261"/>
                  </a:lnTo>
                  <a:lnTo>
                    <a:pt x="3452" y="2273"/>
                  </a:lnTo>
                  <a:lnTo>
                    <a:pt x="3444" y="2280"/>
                  </a:lnTo>
                  <a:lnTo>
                    <a:pt x="3432" y="2284"/>
                  </a:lnTo>
                  <a:lnTo>
                    <a:pt x="3415" y="2286"/>
                  </a:lnTo>
                  <a:lnTo>
                    <a:pt x="38" y="2286"/>
                  </a:lnTo>
                  <a:lnTo>
                    <a:pt x="23" y="2284"/>
                  </a:lnTo>
                  <a:lnTo>
                    <a:pt x="13" y="2279"/>
                  </a:lnTo>
                  <a:lnTo>
                    <a:pt x="5" y="2272"/>
                  </a:lnTo>
                  <a:lnTo>
                    <a:pt x="1" y="2261"/>
                  </a:lnTo>
                  <a:lnTo>
                    <a:pt x="0" y="2247"/>
                  </a:lnTo>
                  <a:lnTo>
                    <a:pt x="0" y="236"/>
                  </a:lnTo>
                  <a:lnTo>
                    <a:pt x="1" y="228"/>
                  </a:lnTo>
                  <a:lnTo>
                    <a:pt x="5" y="223"/>
                  </a:lnTo>
                  <a:lnTo>
                    <a:pt x="11" y="219"/>
                  </a:lnTo>
                  <a:lnTo>
                    <a:pt x="18" y="218"/>
                  </a:lnTo>
                  <a:lnTo>
                    <a:pt x="99" y="218"/>
                  </a:lnTo>
                  <a:lnTo>
                    <a:pt x="122" y="216"/>
                  </a:lnTo>
                  <a:lnTo>
                    <a:pt x="142" y="213"/>
                  </a:lnTo>
                  <a:lnTo>
                    <a:pt x="158" y="207"/>
                  </a:lnTo>
                  <a:lnTo>
                    <a:pt x="171" y="197"/>
                  </a:lnTo>
                  <a:lnTo>
                    <a:pt x="179" y="184"/>
                  </a:lnTo>
                  <a:lnTo>
                    <a:pt x="185" y="168"/>
                  </a:lnTo>
                  <a:lnTo>
                    <a:pt x="207" y="50"/>
                  </a:lnTo>
                  <a:lnTo>
                    <a:pt x="212" y="35"/>
                  </a:lnTo>
                  <a:lnTo>
                    <a:pt x="221" y="22"/>
                  </a:lnTo>
                  <a:lnTo>
                    <a:pt x="233" y="13"/>
                  </a:lnTo>
                  <a:lnTo>
                    <a:pt x="250" y="5"/>
                  </a:lnTo>
                  <a:lnTo>
                    <a:pt x="273" y="1"/>
                  </a:lnTo>
                  <a:lnTo>
                    <a:pt x="299" y="0"/>
                  </a:lnTo>
                  <a:close/>
                </a:path>
              </a:pathLst>
            </a:custGeom>
            <a:solidFill>
              <a:schemeClr val="accent5"/>
            </a:solidFill>
            <a:ln w="0">
              <a:solidFill>
                <a:schemeClr val="accent5"/>
              </a:solidFill>
              <a:prstDash val="solid"/>
              <a:round/>
              <a:headEnd/>
              <a:tailEnd/>
            </a:ln>
          </p:spPr>
          <p:txBody>
            <a:bodyPr/>
            <a:lstStyle/>
            <a:p>
              <a:endParaRPr lang="de-DE" dirty="0"/>
            </a:p>
          </p:txBody>
        </p:sp>
        <p:grpSp>
          <p:nvGrpSpPr>
            <p:cNvPr id="1561" name="Gruppieren 1560"/>
            <p:cNvGrpSpPr/>
            <p:nvPr/>
          </p:nvGrpSpPr>
          <p:grpSpPr>
            <a:xfrm>
              <a:off x="5370458" y="5682421"/>
              <a:ext cx="579380" cy="555688"/>
              <a:chOff x="10918791" y="5571097"/>
              <a:chExt cx="579380" cy="555688"/>
            </a:xfrm>
          </p:grpSpPr>
          <p:sp>
            <p:nvSpPr>
              <p:cNvPr id="1564" name="Rectangle 324"/>
              <p:cNvSpPr>
                <a:spLocks noChangeArrowheads="1"/>
              </p:cNvSpPr>
              <p:nvPr/>
            </p:nvSpPr>
            <p:spPr bwMode="auto">
              <a:xfrm>
                <a:off x="10918791" y="5571097"/>
                <a:ext cx="579380" cy="555688"/>
              </a:xfrm>
              <a:prstGeom prst="rect">
                <a:avLst/>
              </a:prstGeom>
              <a:noFill/>
              <a:ln>
                <a:noFill/>
              </a:ln>
              <a:extLst>
                <a:ext uri="{909E8E84-426E-40DD-AFC4-6F175D3DCCD1}">
                  <a14:hiddenFill xmlns:a14="http://schemas.microsoft.com/office/drawing/2010/main">
                    <a:solidFill>
                      <a:srgbClr val="797979"/>
                    </a:solidFill>
                  </a14:hiddenFill>
                </a:ext>
                <a:ext uri="{91240B29-F687-4F45-9708-019B960494DF}">
                  <a14:hiddenLine xmlns:a14="http://schemas.microsoft.com/office/drawing/2010/main" w="0">
                    <a:solidFill>
                      <a:schemeClr val="accent2"/>
                    </a:solidFill>
                    <a:miter lim="800000"/>
                    <a:headEnd/>
                    <a:tailEnd/>
                  </a14:hiddenLine>
                </a:ext>
              </a:extLst>
            </p:spPr>
            <p:txBody>
              <a:bodyPr/>
              <a:lstStyle/>
              <a:p>
                <a:endParaRPr lang="de-DE" dirty="0"/>
              </a:p>
            </p:txBody>
          </p:sp>
          <p:sp>
            <p:nvSpPr>
              <p:cNvPr id="1565" name="Freeform 325"/>
              <p:cNvSpPr>
                <a:spLocks noEditPoints="1"/>
              </p:cNvSpPr>
              <p:nvPr/>
            </p:nvSpPr>
            <p:spPr bwMode="auto">
              <a:xfrm>
                <a:off x="10921966" y="5577448"/>
                <a:ext cx="574618" cy="544574"/>
              </a:xfrm>
              <a:custGeom>
                <a:avLst/>
                <a:gdLst>
                  <a:gd name="T0" fmla="*/ 2944 w 3617"/>
                  <a:gd name="T1" fmla="*/ 184 h 3429"/>
                  <a:gd name="T2" fmla="*/ 2182 w 3617"/>
                  <a:gd name="T3" fmla="*/ 189 h 3429"/>
                  <a:gd name="T4" fmla="*/ 1620 w 3617"/>
                  <a:gd name="T5" fmla="*/ 170 h 3429"/>
                  <a:gd name="T6" fmla="*/ 1050 w 3617"/>
                  <a:gd name="T7" fmla="*/ 170 h 3429"/>
                  <a:gd name="T8" fmla="*/ 484 w 3617"/>
                  <a:gd name="T9" fmla="*/ 190 h 3429"/>
                  <a:gd name="T10" fmla="*/ 196 w 3617"/>
                  <a:gd name="T11" fmla="*/ 290 h 3429"/>
                  <a:gd name="T12" fmla="*/ 198 w 3617"/>
                  <a:gd name="T13" fmla="*/ 859 h 3429"/>
                  <a:gd name="T14" fmla="*/ 177 w 3617"/>
                  <a:gd name="T15" fmla="*/ 1431 h 3429"/>
                  <a:gd name="T16" fmla="*/ 203 w 3617"/>
                  <a:gd name="T17" fmla="*/ 1999 h 3429"/>
                  <a:gd name="T18" fmla="*/ 201 w 3617"/>
                  <a:gd name="T19" fmla="*/ 2566 h 3429"/>
                  <a:gd name="T20" fmla="*/ 176 w 3617"/>
                  <a:gd name="T21" fmla="*/ 3141 h 3429"/>
                  <a:gd name="T22" fmla="*/ 484 w 3617"/>
                  <a:gd name="T23" fmla="*/ 3240 h 3429"/>
                  <a:gd name="T24" fmla="*/ 1058 w 3617"/>
                  <a:gd name="T25" fmla="*/ 3245 h 3429"/>
                  <a:gd name="T26" fmla="*/ 1620 w 3617"/>
                  <a:gd name="T27" fmla="*/ 3225 h 3429"/>
                  <a:gd name="T28" fmla="*/ 2189 w 3617"/>
                  <a:gd name="T29" fmla="*/ 3257 h 3429"/>
                  <a:gd name="T30" fmla="*/ 2756 w 3617"/>
                  <a:gd name="T31" fmla="*/ 3234 h 3429"/>
                  <a:gd name="T32" fmla="*/ 3324 w 3617"/>
                  <a:gd name="T33" fmla="*/ 3237 h 3429"/>
                  <a:gd name="T34" fmla="*/ 3424 w 3617"/>
                  <a:gd name="T35" fmla="*/ 2938 h 3429"/>
                  <a:gd name="T36" fmla="*/ 3422 w 3617"/>
                  <a:gd name="T37" fmla="*/ 2376 h 3429"/>
                  <a:gd name="T38" fmla="*/ 3420 w 3617"/>
                  <a:gd name="T39" fmla="*/ 1810 h 3429"/>
                  <a:gd name="T40" fmla="*/ 3445 w 3617"/>
                  <a:gd name="T41" fmla="*/ 1242 h 3429"/>
                  <a:gd name="T42" fmla="*/ 3419 w 3617"/>
                  <a:gd name="T43" fmla="*/ 856 h 3429"/>
                  <a:gd name="T44" fmla="*/ 3447 w 3617"/>
                  <a:gd name="T45" fmla="*/ 285 h 3429"/>
                  <a:gd name="T46" fmla="*/ 3325 w 3617"/>
                  <a:gd name="T47" fmla="*/ 0 h 3429"/>
                  <a:gd name="T48" fmla="*/ 3586 w 3617"/>
                  <a:gd name="T49" fmla="*/ 484 h 3429"/>
                  <a:gd name="T50" fmla="*/ 3595 w 3617"/>
                  <a:gd name="T51" fmla="*/ 1044 h 3429"/>
                  <a:gd name="T52" fmla="*/ 3584 w 3617"/>
                  <a:gd name="T53" fmla="*/ 1623 h 3429"/>
                  <a:gd name="T54" fmla="*/ 3593 w 3617"/>
                  <a:gd name="T55" fmla="*/ 2191 h 3429"/>
                  <a:gd name="T56" fmla="*/ 3614 w 3617"/>
                  <a:gd name="T57" fmla="*/ 2755 h 3429"/>
                  <a:gd name="T58" fmla="*/ 3596 w 3617"/>
                  <a:gd name="T59" fmla="*/ 3403 h 3429"/>
                  <a:gd name="T60" fmla="*/ 2942 w 3617"/>
                  <a:gd name="T61" fmla="*/ 3425 h 3429"/>
                  <a:gd name="T62" fmla="*/ 2378 w 3617"/>
                  <a:gd name="T63" fmla="*/ 3403 h 3429"/>
                  <a:gd name="T64" fmla="*/ 1808 w 3617"/>
                  <a:gd name="T65" fmla="*/ 3394 h 3429"/>
                  <a:gd name="T66" fmla="*/ 1242 w 3617"/>
                  <a:gd name="T67" fmla="*/ 3421 h 3429"/>
                  <a:gd name="T68" fmla="*/ 676 w 3617"/>
                  <a:gd name="T69" fmla="*/ 3413 h 3429"/>
                  <a:gd name="T70" fmla="*/ 21 w 3617"/>
                  <a:gd name="T71" fmla="*/ 3416 h 3429"/>
                  <a:gd name="T72" fmla="*/ 17 w 3617"/>
                  <a:gd name="T73" fmla="*/ 2759 h 3429"/>
                  <a:gd name="T74" fmla="*/ 16 w 3617"/>
                  <a:gd name="T75" fmla="*/ 2180 h 3429"/>
                  <a:gd name="T76" fmla="*/ 6 w 3617"/>
                  <a:gd name="T77" fmla="*/ 1621 h 3429"/>
                  <a:gd name="T78" fmla="*/ 15 w 3617"/>
                  <a:gd name="T79" fmla="*/ 1044 h 3429"/>
                  <a:gd name="T80" fmla="*/ 10 w 3617"/>
                  <a:gd name="T81" fmla="*/ 477 h 3429"/>
                  <a:gd name="T82" fmla="*/ 299 w 3617"/>
                  <a:gd name="T83" fmla="*/ 9 h 3429"/>
                  <a:gd name="T84" fmla="*/ 861 w 3617"/>
                  <a:gd name="T85" fmla="*/ 4 h 3429"/>
                  <a:gd name="T86" fmla="*/ 1428 w 3617"/>
                  <a:gd name="T87" fmla="*/ 12 h 3429"/>
                  <a:gd name="T88" fmla="*/ 2001 w 3617"/>
                  <a:gd name="T89" fmla="*/ 5 h 3429"/>
                  <a:gd name="T90" fmla="*/ 2754 w 3617"/>
                  <a:gd name="T91" fmla="*/ 0 h 3429"/>
                  <a:gd name="T92" fmla="*/ 3325 w 3617"/>
                  <a:gd name="T93" fmla="*/ 0 h 3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17" h="3429">
                    <a:moveTo>
                      <a:pt x="3325" y="169"/>
                    </a:moveTo>
                    <a:lnTo>
                      <a:pt x="3140" y="179"/>
                    </a:lnTo>
                    <a:lnTo>
                      <a:pt x="2944" y="184"/>
                    </a:lnTo>
                    <a:lnTo>
                      <a:pt x="2759" y="170"/>
                    </a:lnTo>
                    <a:lnTo>
                      <a:pt x="2572" y="193"/>
                    </a:lnTo>
                    <a:lnTo>
                      <a:pt x="2182" y="189"/>
                    </a:lnTo>
                    <a:lnTo>
                      <a:pt x="1997" y="174"/>
                    </a:lnTo>
                    <a:lnTo>
                      <a:pt x="1808" y="181"/>
                    </a:lnTo>
                    <a:lnTo>
                      <a:pt x="1620" y="170"/>
                    </a:lnTo>
                    <a:lnTo>
                      <a:pt x="1433" y="181"/>
                    </a:lnTo>
                    <a:lnTo>
                      <a:pt x="1236" y="180"/>
                    </a:lnTo>
                    <a:lnTo>
                      <a:pt x="1050" y="170"/>
                    </a:lnTo>
                    <a:lnTo>
                      <a:pt x="863" y="173"/>
                    </a:lnTo>
                    <a:lnTo>
                      <a:pt x="676" y="174"/>
                    </a:lnTo>
                    <a:lnTo>
                      <a:pt x="484" y="190"/>
                    </a:lnTo>
                    <a:lnTo>
                      <a:pt x="290" y="178"/>
                    </a:lnTo>
                    <a:lnTo>
                      <a:pt x="186" y="175"/>
                    </a:lnTo>
                    <a:lnTo>
                      <a:pt x="196" y="290"/>
                    </a:lnTo>
                    <a:lnTo>
                      <a:pt x="180" y="483"/>
                    </a:lnTo>
                    <a:lnTo>
                      <a:pt x="184" y="666"/>
                    </a:lnTo>
                    <a:lnTo>
                      <a:pt x="198" y="859"/>
                    </a:lnTo>
                    <a:lnTo>
                      <a:pt x="184" y="1052"/>
                    </a:lnTo>
                    <a:lnTo>
                      <a:pt x="182" y="1240"/>
                    </a:lnTo>
                    <a:lnTo>
                      <a:pt x="177" y="1431"/>
                    </a:lnTo>
                    <a:lnTo>
                      <a:pt x="175" y="1617"/>
                    </a:lnTo>
                    <a:lnTo>
                      <a:pt x="187" y="1803"/>
                    </a:lnTo>
                    <a:lnTo>
                      <a:pt x="203" y="1999"/>
                    </a:lnTo>
                    <a:lnTo>
                      <a:pt x="185" y="2193"/>
                    </a:lnTo>
                    <a:lnTo>
                      <a:pt x="180" y="2374"/>
                    </a:lnTo>
                    <a:lnTo>
                      <a:pt x="201" y="2566"/>
                    </a:lnTo>
                    <a:lnTo>
                      <a:pt x="187" y="2755"/>
                    </a:lnTo>
                    <a:lnTo>
                      <a:pt x="206" y="2950"/>
                    </a:lnTo>
                    <a:lnTo>
                      <a:pt x="176" y="3141"/>
                    </a:lnTo>
                    <a:lnTo>
                      <a:pt x="182" y="3243"/>
                    </a:lnTo>
                    <a:lnTo>
                      <a:pt x="292" y="3240"/>
                    </a:lnTo>
                    <a:lnTo>
                      <a:pt x="484" y="3240"/>
                    </a:lnTo>
                    <a:lnTo>
                      <a:pt x="670" y="3243"/>
                    </a:lnTo>
                    <a:lnTo>
                      <a:pt x="863" y="3226"/>
                    </a:lnTo>
                    <a:lnTo>
                      <a:pt x="1058" y="3245"/>
                    </a:lnTo>
                    <a:lnTo>
                      <a:pt x="1242" y="3251"/>
                    </a:lnTo>
                    <a:lnTo>
                      <a:pt x="1425" y="3247"/>
                    </a:lnTo>
                    <a:lnTo>
                      <a:pt x="1620" y="3225"/>
                    </a:lnTo>
                    <a:lnTo>
                      <a:pt x="1812" y="3225"/>
                    </a:lnTo>
                    <a:lnTo>
                      <a:pt x="2011" y="3233"/>
                    </a:lnTo>
                    <a:lnTo>
                      <a:pt x="2189" y="3257"/>
                    </a:lnTo>
                    <a:lnTo>
                      <a:pt x="2379" y="3231"/>
                    </a:lnTo>
                    <a:lnTo>
                      <a:pt x="2568" y="3258"/>
                    </a:lnTo>
                    <a:lnTo>
                      <a:pt x="2756" y="3234"/>
                    </a:lnTo>
                    <a:lnTo>
                      <a:pt x="2951" y="3256"/>
                    </a:lnTo>
                    <a:lnTo>
                      <a:pt x="3131" y="3254"/>
                    </a:lnTo>
                    <a:lnTo>
                      <a:pt x="3324" y="3237"/>
                    </a:lnTo>
                    <a:lnTo>
                      <a:pt x="3419" y="3236"/>
                    </a:lnTo>
                    <a:lnTo>
                      <a:pt x="3416" y="3137"/>
                    </a:lnTo>
                    <a:lnTo>
                      <a:pt x="3424" y="2938"/>
                    </a:lnTo>
                    <a:lnTo>
                      <a:pt x="3442" y="2758"/>
                    </a:lnTo>
                    <a:lnTo>
                      <a:pt x="3418" y="2571"/>
                    </a:lnTo>
                    <a:lnTo>
                      <a:pt x="3422" y="2376"/>
                    </a:lnTo>
                    <a:lnTo>
                      <a:pt x="3424" y="2180"/>
                    </a:lnTo>
                    <a:lnTo>
                      <a:pt x="3440" y="1998"/>
                    </a:lnTo>
                    <a:lnTo>
                      <a:pt x="3420" y="1810"/>
                    </a:lnTo>
                    <a:lnTo>
                      <a:pt x="3415" y="1612"/>
                    </a:lnTo>
                    <a:lnTo>
                      <a:pt x="3445" y="1421"/>
                    </a:lnTo>
                    <a:lnTo>
                      <a:pt x="3445" y="1242"/>
                    </a:lnTo>
                    <a:lnTo>
                      <a:pt x="3425" y="1051"/>
                    </a:lnTo>
                    <a:lnTo>
                      <a:pt x="3419" y="858"/>
                    </a:lnTo>
                    <a:lnTo>
                      <a:pt x="3419" y="856"/>
                    </a:lnTo>
                    <a:lnTo>
                      <a:pt x="3427" y="670"/>
                    </a:lnTo>
                    <a:lnTo>
                      <a:pt x="3416" y="475"/>
                    </a:lnTo>
                    <a:lnTo>
                      <a:pt x="3447" y="285"/>
                    </a:lnTo>
                    <a:lnTo>
                      <a:pt x="3441" y="174"/>
                    </a:lnTo>
                    <a:lnTo>
                      <a:pt x="3325" y="169"/>
                    </a:lnTo>
                    <a:close/>
                    <a:moveTo>
                      <a:pt x="3325" y="0"/>
                    </a:moveTo>
                    <a:lnTo>
                      <a:pt x="3603" y="12"/>
                    </a:lnTo>
                    <a:lnTo>
                      <a:pt x="3617" y="295"/>
                    </a:lnTo>
                    <a:lnTo>
                      <a:pt x="3586" y="484"/>
                    </a:lnTo>
                    <a:lnTo>
                      <a:pt x="3597" y="668"/>
                    </a:lnTo>
                    <a:lnTo>
                      <a:pt x="3589" y="859"/>
                    </a:lnTo>
                    <a:lnTo>
                      <a:pt x="3595" y="1044"/>
                    </a:lnTo>
                    <a:lnTo>
                      <a:pt x="3614" y="1239"/>
                    </a:lnTo>
                    <a:lnTo>
                      <a:pt x="3613" y="1441"/>
                    </a:lnTo>
                    <a:lnTo>
                      <a:pt x="3584" y="1623"/>
                    </a:lnTo>
                    <a:lnTo>
                      <a:pt x="3591" y="1802"/>
                    </a:lnTo>
                    <a:lnTo>
                      <a:pt x="3611" y="1997"/>
                    </a:lnTo>
                    <a:lnTo>
                      <a:pt x="3593" y="2191"/>
                    </a:lnTo>
                    <a:lnTo>
                      <a:pt x="3592" y="2378"/>
                    </a:lnTo>
                    <a:lnTo>
                      <a:pt x="3588" y="2562"/>
                    </a:lnTo>
                    <a:lnTo>
                      <a:pt x="3614" y="2755"/>
                    </a:lnTo>
                    <a:lnTo>
                      <a:pt x="3592" y="2952"/>
                    </a:lnTo>
                    <a:lnTo>
                      <a:pt x="3586" y="3137"/>
                    </a:lnTo>
                    <a:lnTo>
                      <a:pt x="3596" y="3403"/>
                    </a:lnTo>
                    <a:lnTo>
                      <a:pt x="3329" y="3406"/>
                    </a:lnTo>
                    <a:lnTo>
                      <a:pt x="3137" y="3423"/>
                    </a:lnTo>
                    <a:lnTo>
                      <a:pt x="2942" y="3425"/>
                    </a:lnTo>
                    <a:lnTo>
                      <a:pt x="2757" y="3404"/>
                    </a:lnTo>
                    <a:lnTo>
                      <a:pt x="2567" y="3429"/>
                    </a:lnTo>
                    <a:lnTo>
                      <a:pt x="2378" y="3403"/>
                    </a:lnTo>
                    <a:lnTo>
                      <a:pt x="2189" y="3427"/>
                    </a:lnTo>
                    <a:lnTo>
                      <a:pt x="1992" y="3402"/>
                    </a:lnTo>
                    <a:lnTo>
                      <a:pt x="1808" y="3394"/>
                    </a:lnTo>
                    <a:lnTo>
                      <a:pt x="1626" y="3395"/>
                    </a:lnTo>
                    <a:lnTo>
                      <a:pt x="1433" y="3416"/>
                    </a:lnTo>
                    <a:lnTo>
                      <a:pt x="1242" y="3421"/>
                    </a:lnTo>
                    <a:lnTo>
                      <a:pt x="1044" y="3414"/>
                    </a:lnTo>
                    <a:lnTo>
                      <a:pt x="862" y="3396"/>
                    </a:lnTo>
                    <a:lnTo>
                      <a:pt x="676" y="3413"/>
                    </a:lnTo>
                    <a:lnTo>
                      <a:pt x="483" y="3409"/>
                    </a:lnTo>
                    <a:lnTo>
                      <a:pt x="295" y="3409"/>
                    </a:lnTo>
                    <a:lnTo>
                      <a:pt x="21" y="3416"/>
                    </a:lnTo>
                    <a:lnTo>
                      <a:pt x="6" y="3132"/>
                    </a:lnTo>
                    <a:lnTo>
                      <a:pt x="36" y="2944"/>
                    </a:lnTo>
                    <a:lnTo>
                      <a:pt x="17" y="2759"/>
                    </a:lnTo>
                    <a:lnTo>
                      <a:pt x="30" y="2569"/>
                    </a:lnTo>
                    <a:lnTo>
                      <a:pt x="9" y="2381"/>
                    </a:lnTo>
                    <a:lnTo>
                      <a:pt x="16" y="2180"/>
                    </a:lnTo>
                    <a:lnTo>
                      <a:pt x="32" y="1998"/>
                    </a:lnTo>
                    <a:lnTo>
                      <a:pt x="18" y="1816"/>
                    </a:lnTo>
                    <a:lnTo>
                      <a:pt x="6" y="1621"/>
                    </a:lnTo>
                    <a:lnTo>
                      <a:pt x="8" y="1428"/>
                    </a:lnTo>
                    <a:lnTo>
                      <a:pt x="13" y="1237"/>
                    </a:lnTo>
                    <a:lnTo>
                      <a:pt x="15" y="1044"/>
                    </a:lnTo>
                    <a:lnTo>
                      <a:pt x="28" y="859"/>
                    </a:lnTo>
                    <a:lnTo>
                      <a:pt x="14" y="671"/>
                    </a:lnTo>
                    <a:lnTo>
                      <a:pt x="10" y="477"/>
                    </a:lnTo>
                    <a:lnTo>
                      <a:pt x="26" y="290"/>
                    </a:lnTo>
                    <a:lnTo>
                      <a:pt x="0" y="2"/>
                    </a:lnTo>
                    <a:lnTo>
                      <a:pt x="299" y="9"/>
                    </a:lnTo>
                    <a:lnTo>
                      <a:pt x="483" y="20"/>
                    </a:lnTo>
                    <a:lnTo>
                      <a:pt x="672" y="5"/>
                    </a:lnTo>
                    <a:lnTo>
                      <a:pt x="861" y="4"/>
                    </a:lnTo>
                    <a:lnTo>
                      <a:pt x="1053" y="0"/>
                    </a:lnTo>
                    <a:lnTo>
                      <a:pt x="1244" y="11"/>
                    </a:lnTo>
                    <a:lnTo>
                      <a:pt x="1428" y="12"/>
                    </a:lnTo>
                    <a:lnTo>
                      <a:pt x="1620" y="1"/>
                    </a:lnTo>
                    <a:lnTo>
                      <a:pt x="1810" y="12"/>
                    </a:lnTo>
                    <a:lnTo>
                      <a:pt x="2001" y="5"/>
                    </a:lnTo>
                    <a:lnTo>
                      <a:pt x="2192" y="20"/>
                    </a:lnTo>
                    <a:lnTo>
                      <a:pt x="2563" y="23"/>
                    </a:lnTo>
                    <a:lnTo>
                      <a:pt x="2754" y="0"/>
                    </a:lnTo>
                    <a:lnTo>
                      <a:pt x="2948" y="15"/>
                    </a:lnTo>
                    <a:lnTo>
                      <a:pt x="3133" y="9"/>
                    </a:lnTo>
                    <a:lnTo>
                      <a:pt x="3325" y="0"/>
                    </a:lnTo>
                    <a:close/>
                  </a:path>
                </a:pathLst>
              </a:custGeom>
              <a:solidFill>
                <a:schemeClr val="accent5"/>
              </a:solidFill>
              <a:ln>
                <a:noFill/>
              </a:ln>
            </p:spPr>
            <p:txBody>
              <a:bodyPr/>
              <a:lstStyle/>
              <a:p>
                <a:endParaRPr lang="de-DE" dirty="0"/>
              </a:p>
            </p:txBody>
          </p:sp>
          <p:sp>
            <p:nvSpPr>
              <p:cNvPr id="1566" name="Freeform 326"/>
              <p:cNvSpPr>
                <a:spLocks/>
              </p:cNvSpPr>
              <p:nvPr/>
            </p:nvSpPr>
            <p:spPr bwMode="auto">
              <a:xfrm>
                <a:off x="10979110" y="5647306"/>
                <a:ext cx="55557" cy="15877"/>
              </a:xfrm>
              <a:custGeom>
                <a:avLst/>
                <a:gdLst>
                  <a:gd name="T0" fmla="*/ 51 w 344"/>
                  <a:gd name="T1" fmla="*/ 0 h 101"/>
                  <a:gd name="T2" fmla="*/ 293 w 344"/>
                  <a:gd name="T3" fmla="*/ 0 h 101"/>
                  <a:gd name="T4" fmla="*/ 310 w 344"/>
                  <a:gd name="T5" fmla="*/ 2 h 101"/>
                  <a:gd name="T6" fmla="*/ 323 w 344"/>
                  <a:gd name="T7" fmla="*/ 10 h 101"/>
                  <a:gd name="T8" fmla="*/ 334 w 344"/>
                  <a:gd name="T9" fmla="*/ 21 h 101"/>
                  <a:gd name="T10" fmla="*/ 342 w 344"/>
                  <a:gd name="T11" fmla="*/ 34 h 101"/>
                  <a:gd name="T12" fmla="*/ 344 w 344"/>
                  <a:gd name="T13" fmla="*/ 51 h 101"/>
                  <a:gd name="T14" fmla="*/ 342 w 344"/>
                  <a:gd name="T15" fmla="*/ 66 h 101"/>
                  <a:gd name="T16" fmla="*/ 334 w 344"/>
                  <a:gd name="T17" fmla="*/ 81 h 101"/>
                  <a:gd name="T18" fmla="*/ 323 w 344"/>
                  <a:gd name="T19" fmla="*/ 91 h 101"/>
                  <a:gd name="T20" fmla="*/ 310 w 344"/>
                  <a:gd name="T21" fmla="*/ 99 h 101"/>
                  <a:gd name="T22" fmla="*/ 293 w 344"/>
                  <a:gd name="T23" fmla="*/ 101 h 101"/>
                  <a:gd name="T24" fmla="*/ 51 w 344"/>
                  <a:gd name="T25" fmla="*/ 101 h 101"/>
                  <a:gd name="T26" fmla="*/ 34 w 344"/>
                  <a:gd name="T27" fmla="*/ 99 h 101"/>
                  <a:gd name="T28" fmla="*/ 21 w 344"/>
                  <a:gd name="T29" fmla="*/ 91 h 101"/>
                  <a:gd name="T30" fmla="*/ 10 w 344"/>
                  <a:gd name="T31" fmla="*/ 81 h 101"/>
                  <a:gd name="T32" fmla="*/ 3 w 344"/>
                  <a:gd name="T33" fmla="*/ 66 h 101"/>
                  <a:gd name="T34" fmla="*/ 0 w 344"/>
                  <a:gd name="T35" fmla="*/ 51 h 101"/>
                  <a:gd name="T36" fmla="*/ 3 w 344"/>
                  <a:gd name="T37" fmla="*/ 34 h 101"/>
                  <a:gd name="T38" fmla="*/ 10 w 344"/>
                  <a:gd name="T39" fmla="*/ 21 h 101"/>
                  <a:gd name="T40" fmla="*/ 21 w 344"/>
                  <a:gd name="T41" fmla="*/ 10 h 101"/>
                  <a:gd name="T42" fmla="*/ 34 w 344"/>
                  <a:gd name="T43" fmla="*/ 2 h 101"/>
                  <a:gd name="T44" fmla="*/ 51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1" y="0"/>
                    </a:moveTo>
                    <a:lnTo>
                      <a:pt x="293" y="0"/>
                    </a:lnTo>
                    <a:lnTo>
                      <a:pt x="310" y="2"/>
                    </a:lnTo>
                    <a:lnTo>
                      <a:pt x="323" y="10"/>
                    </a:lnTo>
                    <a:lnTo>
                      <a:pt x="334" y="21"/>
                    </a:lnTo>
                    <a:lnTo>
                      <a:pt x="342" y="34"/>
                    </a:lnTo>
                    <a:lnTo>
                      <a:pt x="344" y="51"/>
                    </a:lnTo>
                    <a:lnTo>
                      <a:pt x="342" y="66"/>
                    </a:lnTo>
                    <a:lnTo>
                      <a:pt x="334" y="81"/>
                    </a:lnTo>
                    <a:lnTo>
                      <a:pt x="323" y="91"/>
                    </a:lnTo>
                    <a:lnTo>
                      <a:pt x="310" y="99"/>
                    </a:lnTo>
                    <a:lnTo>
                      <a:pt x="293" y="101"/>
                    </a:lnTo>
                    <a:lnTo>
                      <a:pt x="51" y="101"/>
                    </a:lnTo>
                    <a:lnTo>
                      <a:pt x="34" y="99"/>
                    </a:lnTo>
                    <a:lnTo>
                      <a:pt x="21" y="91"/>
                    </a:lnTo>
                    <a:lnTo>
                      <a:pt x="10" y="81"/>
                    </a:lnTo>
                    <a:lnTo>
                      <a:pt x="3" y="66"/>
                    </a:lnTo>
                    <a:lnTo>
                      <a:pt x="0" y="51"/>
                    </a:lnTo>
                    <a:lnTo>
                      <a:pt x="3"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1567" name="Freeform 327"/>
              <p:cNvSpPr>
                <a:spLocks/>
              </p:cNvSpPr>
              <p:nvPr/>
            </p:nvSpPr>
            <p:spPr bwMode="auto">
              <a:xfrm>
                <a:off x="11037842" y="5652069"/>
                <a:ext cx="55557" cy="17464"/>
              </a:xfrm>
              <a:custGeom>
                <a:avLst/>
                <a:gdLst>
                  <a:gd name="T0" fmla="*/ 51 w 347"/>
                  <a:gd name="T1" fmla="*/ 0 h 101"/>
                  <a:gd name="T2" fmla="*/ 298 w 347"/>
                  <a:gd name="T3" fmla="*/ 0 h 101"/>
                  <a:gd name="T4" fmla="*/ 313 w 347"/>
                  <a:gd name="T5" fmla="*/ 3 h 101"/>
                  <a:gd name="T6" fmla="*/ 328 w 347"/>
                  <a:gd name="T7" fmla="*/ 10 h 101"/>
                  <a:gd name="T8" fmla="*/ 339 w 347"/>
                  <a:gd name="T9" fmla="*/ 21 h 101"/>
                  <a:gd name="T10" fmla="*/ 345 w 347"/>
                  <a:gd name="T11" fmla="*/ 35 h 101"/>
                  <a:gd name="T12" fmla="*/ 347 w 347"/>
                  <a:gd name="T13" fmla="*/ 50 h 101"/>
                  <a:gd name="T14" fmla="*/ 345 w 347"/>
                  <a:gd name="T15" fmla="*/ 67 h 101"/>
                  <a:gd name="T16" fmla="*/ 339 w 347"/>
                  <a:gd name="T17" fmla="*/ 80 h 101"/>
                  <a:gd name="T18" fmla="*/ 328 w 347"/>
                  <a:gd name="T19" fmla="*/ 91 h 101"/>
                  <a:gd name="T20" fmla="*/ 313 w 347"/>
                  <a:gd name="T21" fmla="*/ 98 h 101"/>
                  <a:gd name="T22" fmla="*/ 298 w 347"/>
                  <a:gd name="T23" fmla="*/ 101 h 101"/>
                  <a:gd name="T24" fmla="*/ 51 w 347"/>
                  <a:gd name="T25" fmla="*/ 101 h 101"/>
                  <a:gd name="T26" fmla="*/ 35 w 347"/>
                  <a:gd name="T27" fmla="*/ 98 h 101"/>
                  <a:gd name="T28" fmla="*/ 21 w 347"/>
                  <a:gd name="T29" fmla="*/ 91 h 101"/>
                  <a:gd name="T30" fmla="*/ 10 w 347"/>
                  <a:gd name="T31" fmla="*/ 80 h 101"/>
                  <a:gd name="T32" fmla="*/ 3 w 347"/>
                  <a:gd name="T33" fmla="*/ 67 h 101"/>
                  <a:gd name="T34" fmla="*/ 0 w 347"/>
                  <a:gd name="T35" fmla="*/ 50 h 101"/>
                  <a:gd name="T36" fmla="*/ 3 w 347"/>
                  <a:gd name="T37" fmla="*/ 35 h 101"/>
                  <a:gd name="T38" fmla="*/ 10 w 347"/>
                  <a:gd name="T39" fmla="*/ 21 h 101"/>
                  <a:gd name="T40" fmla="*/ 21 w 347"/>
                  <a:gd name="T41" fmla="*/ 10 h 101"/>
                  <a:gd name="T42" fmla="*/ 35 w 347"/>
                  <a:gd name="T43" fmla="*/ 3 h 101"/>
                  <a:gd name="T44" fmla="*/ 51 w 347"/>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7" h="101">
                    <a:moveTo>
                      <a:pt x="51" y="0"/>
                    </a:moveTo>
                    <a:lnTo>
                      <a:pt x="298" y="0"/>
                    </a:lnTo>
                    <a:lnTo>
                      <a:pt x="313" y="3"/>
                    </a:lnTo>
                    <a:lnTo>
                      <a:pt x="328" y="10"/>
                    </a:lnTo>
                    <a:lnTo>
                      <a:pt x="339" y="21"/>
                    </a:lnTo>
                    <a:lnTo>
                      <a:pt x="345" y="35"/>
                    </a:lnTo>
                    <a:lnTo>
                      <a:pt x="347" y="50"/>
                    </a:lnTo>
                    <a:lnTo>
                      <a:pt x="345" y="67"/>
                    </a:lnTo>
                    <a:lnTo>
                      <a:pt x="339" y="80"/>
                    </a:lnTo>
                    <a:lnTo>
                      <a:pt x="328" y="91"/>
                    </a:lnTo>
                    <a:lnTo>
                      <a:pt x="313" y="98"/>
                    </a:lnTo>
                    <a:lnTo>
                      <a:pt x="298" y="101"/>
                    </a:lnTo>
                    <a:lnTo>
                      <a:pt x="51" y="101"/>
                    </a:lnTo>
                    <a:lnTo>
                      <a:pt x="35" y="98"/>
                    </a:lnTo>
                    <a:lnTo>
                      <a:pt x="21" y="91"/>
                    </a:lnTo>
                    <a:lnTo>
                      <a:pt x="10" y="80"/>
                    </a:lnTo>
                    <a:lnTo>
                      <a:pt x="3" y="67"/>
                    </a:lnTo>
                    <a:lnTo>
                      <a:pt x="0" y="50"/>
                    </a:lnTo>
                    <a:lnTo>
                      <a:pt x="3" y="35"/>
                    </a:lnTo>
                    <a:lnTo>
                      <a:pt x="10" y="21"/>
                    </a:lnTo>
                    <a:lnTo>
                      <a:pt x="21" y="10"/>
                    </a:lnTo>
                    <a:lnTo>
                      <a:pt x="35" y="3"/>
                    </a:lnTo>
                    <a:lnTo>
                      <a:pt x="51" y="0"/>
                    </a:lnTo>
                    <a:close/>
                  </a:path>
                </a:pathLst>
              </a:custGeom>
              <a:solidFill>
                <a:schemeClr val="accent5"/>
              </a:solidFill>
              <a:ln>
                <a:noFill/>
              </a:ln>
            </p:spPr>
            <p:txBody>
              <a:bodyPr/>
              <a:lstStyle/>
              <a:p>
                <a:endParaRPr lang="de-DE" dirty="0"/>
              </a:p>
            </p:txBody>
          </p:sp>
          <p:sp>
            <p:nvSpPr>
              <p:cNvPr id="1568" name="Freeform 328"/>
              <p:cNvSpPr>
                <a:spLocks/>
              </p:cNvSpPr>
              <p:nvPr/>
            </p:nvSpPr>
            <p:spPr bwMode="auto">
              <a:xfrm>
                <a:off x="11114034" y="5648893"/>
                <a:ext cx="52382" cy="15877"/>
              </a:xfrm>
              <a:custGeom>
                <a:avLst/>
                <a:gdLst>
                  <a:gd name="T0" fmla="*/ 48 w 325"/>
                  <a:gd name="T1" fmla="*/ 0 h 98"/>
                  <a:gd name="T2" fmla="*/ 276 w 325"/>
                  <a:gd name="T3" fmla="*/ 0 h 98"/>
                  <a:gd name="T4" fmla="*/ 292 w 325"/>
                  <a:gd name="T5" fmla="*/ 3 h 98"/>
                  <a:gd name="T6" fmla="*/ 305 w 325"/>
                  <a:gd name="T7" fmla="*/ 9 h 98"/>
                  <a:gd name="T8" fmla="*/ 315 w 325"/>
                  <a:gd name="T9" fmla="*/ 20 h 98"/>
                  <a:gd name="T10" fmla="*/ 323 w 325"/>
                  <a:gd name="T11" fmla="*/ 34 h 98"/>
                  <a:gd name="T12" fmla="*/ 325 w 325"/>
                  <a:gd name="T13" fmla="*/ 49 h 98"/>
                  <a:gd name="T14" fmla="*/ 323 w 325"/>
                  <a:gd name="T15" fmla="*/ 64 h 98"/>
                  <a:gd name="T16" fmla="*/ 315 w 325"/>
                  <a:gd name="T17" fmla="*/ 78 h 98"/>
                  <a:gd name="T18" fmla="*/ 305 w 325"/>
                  <a:gd name="T19" fmla="*/ 89 h 98"/>
                  <a:gd name="T20" fmla="*/ 292 w 325"/>
                  <a:gd name="T21" fmla="*/ 95 h 98"/>
                  <a:gd name="T22" fmla="*/ 276 w 325"/>
                  <a:gd name="T23" fmla="*/ 98 h 98"/>
                  <a:gd name="T24" fmla="*/ 48 w 325"/>
                  <a:gd name="T25" fmla="*/ 98 h 98"/>
                  <a:gd name="T26" fmla="*/ 33 w 325"/>
                  <a:gd name="T27" fmla="*/ 95 h 98"/>
                  <a:gd name="T28" fmla="*/ 19 w 325"/>
                  <a:gd name="T29" fmla="*/ 89 h 98"/>
                  <a:gd name="T30" fmla="*/ 8 w 325"/>
                  <a:gd name="T31" fmla="*/ 78 h 98"/>
                  <a:gd name="T32" fmla="*/ 2 w 325"/>
                  <a:gd name="T33" fmla="*/ 64 h 98"/>
                  <a:gd name="T34" fmla="*/ 0 w 325"/>
                  <a:gd name="T35" fmla="*/ 49 h 98"/>
                  <a:gd name="T36" fmla="*/ 2 w 325"/>
                  <a:gd name="T37" fmla="*/ 34 h 98"/>
                  <a:gd name="T38" fmla="*/ 8 w 325"/>
                  <a:gd name="T39" fmla="*/ 20 h 98"/>
                  <a:gd name="T40" fmla="*/ 19 w 325"/>
                  <a:gd name="T41" fmla="*/ 9 h 98"/>
                  <a:gd name="T42" fmla="*/ 33 w 325"/>
                  <a:gd name="T43" fmla="*/ 3 h 98"/>
                  <a:gd name="T44" fmla="*/ 48 w 325"/>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5" h="98">
                    <a:moveTo>
                      <a:pt x="48" y="0"/>
                    </a:moveTo>
                    <a:lnTo>
                      <a:pt x="276" y="0"/>
                    </a:lnTo>
                    <a:lnTo>
                      <a:pt x="292" y="3"/>
                    </a:lnTo>
                    <a:lnTo>
                      <a:pt x="305" y="9"/>
                    </a:lnTo>
                    <a:lnTo>
                      <a:pt x="315" y="20"/>
                    </a:lnTo>
                    <a:lnTo>
                      <a:pt x="323" y="34"/>
                    </a:lnTo>
                    <a:lnTo>
                      <a:pt x="325" y="49"/>
                    </a:lnTo>
                    <a:lnTo>
                      <a:pt x="323" y="64"/>
                    </a:lnTo>
                    <a:lnTo>
                      <a:pt x="315" y="78"/>
                    </a:lnTo>
                    <a:lnTo>
                      <a:pt x="305" y="89"/>
                    </a:lnTo>
                    <a:lnTo>
                      <a:pt x="292" y="95"/>
                    </a:lnTo>
                    <a:lnTo>
                      <a:pt x="276" y="98"/>
                    </a:lnTo>
                    <a:lnTo>
                      <a:pt x="48" y="98"/>
                    </a:lnTo>
                    <a:lnTo>
                      <a:pt x="33" y="95"/>
                    </a:lnTo>
                    <a:lnTo>
                      <a:pt x="19" y="89"/>
                    </a:lnTo>
                    <a:lnTo>
                      <a:pt x="8" y="78"/>
                    </a:lnTo>
                    <a:lnTo>
                      <a:pt x="2" y="64"/>
                    </a:lnTo>
                    <a:lnTo>
                      <a:pt x="0" y="49"/>
                    </a:lnTo>
                    <a:lnTo>
                      <a:pt x="2" y="34"/>
                    </a:lnTo>
                    <a:lnTo>
                      <a:pt x="8" y="20"/>
                    </a:lnTo>
                    <a:lnTo>
                      <a:pt x="19" y="9"/>
                    </a:lnTo>
                    <a:lnTo>
                      <a:pt x="33" y="3"/>
                    </a:lnTo>
                    <a:lnTo>
                      <a:pt x="48" y="0"/>
                    </a:lnTo>
                    <a:close/>
                  </a:path>
                </a:pathLst>
              </a:custGeom>
              <a:solidFill>
                <a:schemeClr val="accent5"/>
              </a:solidFill>
              <a:ln>
                <a:noFill/>
              </a:ln>
            </p:spPr>
            <p:txBody>
              <a:bodyPr/>
              <a:lstStyle/>
              <a:p>
                <a:endParaRPr lang="de-DE" dirty="0"/>
              </a:p>
            </p:txBody>
          </p:sp>
          <p:sp>
            <p:nvSpPr>
              <p:cNvPr id="1569" name="Freeform 329"/>
              <p:cNvSpPr>
                <a:spLocks/>
              </p:cNvSpPr>
              <p:nvPr/>
            </p:nvSpPr>
            <p:spPr bwMode="auto">
              <a:xfrm>
                <a:off x="11188639" y="5648893"/>
                <a:ext cx="41271" cy="12701"/>
              </a:xfrm>
              <a:custGeom>
                <a:avLst/>
                <a:gdLst>
                  <a:gd name="T0" fmla="*/ 43 w 266"/>
                  <a:gd name="T1" fmla="*/ 0 h 86"/>
                  <a:gd name="T2" fmla="*/ 221 w 266"/>
                  <a:gd name="T3" fmla="*/ 0 h 86"/>
                  <a:gd name="T4" fmla="*/ 236 w 266"/>
                  <a:gd name="T5" fmla="*/ 2 h 86"/>
                  <a:gd name="T6" fmla="*/ 248 w 266"/>
                  <a:gd name="T7" fmla="*/ 9 h 86"/>
                  <a:gd name="T8" fmla="*/ 257 w 266"/>
                  <a:gd name="T9" fmla="*/ 18 h 86"/>
                  <a:gd name="T10" fmla="*/ 264 w 266"/>
                  <a:gd name="T11" fmla="*/ 30 h 86"/>
                  <a:gd name="T12" fmla="*/ 266 w 266"/>
                  <a:gd name="T13" fmla="*/ 43 h 86"/>
                  <a:gd name="T14" fmla="*/ 264 w 266"/>
                  <a:gd name="T15" fmla="*/ 57 h 86"/>
                  <a:gd name="T16" fmla="*/ 257 w 266"/>
                  <a:gd name="T17" fmla="*/ 70 h 86"/>
                  <a:gd name="T18" fmla="*/ 248 w 266"/>
                  <a:gd name="T19" fmla="*/ 78 h 86"/>
                  <a:gd name="T20" fmla="*/ 236 w 266"/>
                  <a:gd name="T21" fmla="*/ 85 h 86"/>
                  <a:gd name="T22" fmla="*/ 221 w 266"/>
                  <a:gd name="T23" fmla="*/ 86 h 86"/>
                  <a:gd name="T24" fmla="*/ 43 w 266"/>
                  <a:gd name="T25" fmla="*/ 86 h 86"/>
                  <a:gd name="T26" fmla="*/ 29 w 266"/>
                  <a:gd name="T27" fmla="*/ 85 h 86"/>
                  <a:gd name="T28" fmla="*/ 18 w 266"/>
                  <a:gd name="T29" fmla="*/ 78 h 86"/>
                  <a:gd name="T30" fmla="*/ 8 w 266"/>
                  <a:gd name="T31" fmla="*/ 70 h 86"/>
                  <a:gd name="T32" fmla="*/ 2 w 266"/>
                  <a:gd name="T33" fmla="*/ 57 h 86"/>
                  <a:gd name="T34" fmla="*/ 0 w 266"/>
                  <a:gd name="T35" fmla="*/ 43 h 86"/>
                  <a:gd name="T36" fmla="*/ 2 w 266"/>
                  <a:gd name="T37" fmla="*/ 30 h 86"/>
                  <a:gd name="T38" fmla="*/ 8 w 266"/>
                  <a:gd name="T39" fmla="*/ 18 h 86"/>
                  <a:gd name="T40" fmla="*/ 18 w 266"/>
                  <a:gd name="T41" fmla="*/ 9 h 86"/>
                  <a:gd name="T42" fmla="*/ 29 w 266"/>
                  <a:gd name="T43" fmla="*/ 2 h 86"/>
                  <a:gd name="T44" fmla="*/ 43 w 266"/>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86">
                    <a:moveTo>
                      <a:pt x="43" y="0"/>
                    </a:moveTo>
                    <a:lnTo>
                      <a:pt x="221" y="0"/>
                    </a:lnTo>
                    <a:lnTo>
                      <a:pt x="236" y="2"/>
                    </a:lnTo>
                    <a:lnTo>
                      <a:pt x="248" y="9"/>
                    </a:lnTo>
                    <a:lnTo>
                      <a:pt x="257" y="18"/>
                    </a:lnTo>
                    <a:lnTo>
                      <a:pt x="264" y="30"/>
                    </a:lnTo>
                    <a:lnTo>
                      <a:pt x="266" y="43"/>
                    </a:lnTo>
                    <a:lnTo>
                      <a:pt x="264" y="57"/>
                    </a:lnTo>
                    <a:lnTo>
                      <a:pt x="257" y="70"/>
                    </a:lnTo>
                    <a:lnTo>
                      <a:pt x="248" y="78"/>
                    </a:lnTo>
                    <a:lnTo>
                      <a:pt x="236" y="85"/>
                    </a:lnTo>
                    <a:lnTo>
                      <a:pt x="221" y="86"/>
                    </a:lnTo>
                    <a:lnTo>
                      <a:pt x="43" y="86"/>
                    </a:lnTo>
                    <a:lnTo>
                      <a:pt x="29" y="85"/>
                    </a:lnTo>
                    <a:lnTo>
                      <a:pt x="18" y="78"/>
                    </a:lnTo>
                    <a:lnTo>
                      <a:pt x="8" y="70"/>
                    </a:lnTo>
                    <a:lnTo>
                      <a:pt x="2" y="57"/>
                    </a:lnTo>
                    <a:lnTo>
                      <a:pt x="0" y="43"/>
                    </a:lnTo>
                    <a:lnTo>
                      <a:pt x="2" y="30"/>
                    </a:lnTo>
                    <a:lnTo>
                      <a:pt x="8" y="18"/>
                    </a:lnTo>
                    <a:lnTo>
                      <a:pt x="18" y="9"/>
                    </a:lnTo>
                    <a:lnTo>
                      <a:pt x="29" y="2"/>
                    </a:lnTo>
                    <a:lnTo>
                      <a:pt x="43" y="0"/>
                    </a:lnTo>
                    <a:close/>
                  </a:path>
                </a:pathLst>
              </a:custGeom>
              <a:solidFill>
                <a:schemeClr val="accent5"/>
              </a:solidFill>
              <a:ln>
                <a:noFill/>
              </a:ln>
            </p:spPr>
            <p:txBody>
              <a:bodyPr/>
              <a:lstStyle/>
              <a:p>
                <a:endParaRPr lang="de-DE" dirty="0"/>
              </a:p>
            </p:txBody>
          </p:sp>
          <p:sp>
            <p:nvSpPr>
              <p:cNvPr id="1570" name="Freeform 330"/>
              <p:cNvSpPr>
                <a:spLocks/>
              </p:cNvSpPr>
              <p:nvPr/>
            </p:nvSpPr>
            <p:spPr bwMode="auto">
              <a:xfrm>
                <a:off x="11255308" y="5647306"/>
                <a:ext cx="53970" cy="15877"/>
              </a:xfrm>
              <a:custGeom>
                <a:avLst/>
                <a:gdLst>
                  <a:gd name="T0" fmla="*/ 51 w 338"/>
                  <a:gd name="T1" fmla="*/ 0 h 99"/>
                  <a:gd name="T2" fmla="*/ 287 w 338"/>
                  <a:gd name="T3" fmla="*/ 0 h 99"/>
                  <a:gd name="T4" fmla="*/ 304 w 338"/>
                  <a:gd name="T5" fmla="*/ 2 h 99"/>
                  <a:gd name="T6" fmla="*/ 317 w 338"/>
                  <a:gd name="T7" fmla="*/ 8 h 99"/>
                  <a:gd name="T8" fmla="*/ 328 w 338"/>
                  <a:gd name="T9" fmla="*/ 19 h 99"/>
                  <a:gd name="T10" fmla="*/ 335 w 338"/>
                  <a:gd name="T11" fmla="*/ 33 h 99"/>
                  <a:gd name="T12" fmla="*/ 338 w 338"/>
                  <a:gd name="T13" fmla="*/ 49 h 99"/>
                  <a:gd name="T14" fmla="*/ 335 w 338"/>
                  <a:gd name="T15" fmla="*/ 65 h 99"/>
                  <a:gd name="T16" fmla="*/ 328 w 338"/>
                  <a:gd name="T17" fmla="*/ 78 h 99"/>
                  <a:gd name="T18" fmla="*/ 317 w 338"/>
                  <a:gd name="T19" fmla="*/ 89 h 99"/>
                  <a:gd name="T20" fmla="*/ 304 w 338"/>
                  <a:gd name="T21" fmla="*/ 96 h 99"/>
                  <a:gd name="T22" fmla="*/ 287 w 338"/>
                  <a:gd name="T23" fmla="*/ 99 h 99"/>
                  <a:gd name="T24" fmla="*/ 51 w 338"/>
                  <a:gd name="T25" fmla="*/ 99 h 99"/>
                  <a:gd name="T26" fmla="*/ 34 w 338"/>
                  <a:gd name="T27" fmla="*/ 96 h 99"/>
                  <a:gd name="T28" fmla="*/ 21 w 338"/>
                  <a:gd name="T29" fmla="*/ 89 h 99"/>
                  <a:gd name="T30" fmla="*/ 10 w 338"/>
                  <a:gd name="T31" fmla="*/ 78 h 99"/>
                  <a:gd name="T32" fmla="*/ 3 w 338"/>
                  <a:gd name="T33" fmla="*/ 65 h 99"/>
                  <a:gd name="T34" fmla="*/ 0 w 338"/>
                  <a:gd name="T35" fmla="*/ 49 h 99"/>
                  <a:gd name="T36" fmla="*/ 3 w 338"/>
                  <a:gd name="T37" fmla="*/ 33 h 99"/>
                  <a:gd name="T38" fmla="*/ 10 w 338"/>
                  <a:gd name="T39" fmla="*/ 19 h 99"/>
                  <a:gd name="T40" fmla="*/ 21 w 338"/>
                  <a:gd name="T41" fmla="*/ 8 h 99"/>
                  <a:gd name="T42" fmla="*/ 34 w 338"/>
                  <a:gd name="T43" fmla="*/ 2 h 99"/>
                  <a:gd name="T44" fmla="*/ 51 w 338"/>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8" h="99">
                    <a:moveTo>
                      <a:pt x="51" y="0"/>
                    </a:moveTo>
                    <a:lnTo>
                      <a:pt x="287" y="0"/>
                    </a:lnTo>
                    <a:lnTo>
                      <a:pt x="304" y="2"/>
                    </a:lnTo>
                    <a:lnTo>
                      <a:pt x="317" y="8"/>
                    </a:lnTo>
                    <a:lnTo>
                      <a:pt x="328" y="19"/>
                    </a:lnTo>
                    <a:lnTo>
                      <a:pt x="335" y="33"/>
                    </a:lnTo>
                    <a:lnTo>
                      <a:pt x="338" y="49"/>
                    </a:lnTo>
                    <a:lnTo>
                      <a:pt x="335" y="65"/>
                    </a:lnTo>
                    <a:lnTo>
                      <a:pt x="328" y="78"/>
                    </a:lnTo>
                    <a:lnTo>
                      <a:pt x="317" y="89"/>
                    </a:lnTo>
                    <a:lnTo>
                      <a:pt x="304" y="96"/>
                    </a:lnTo>
                    <a:lnTo>
                      <a:pt x="287" y="99"/>
                    </a:lnTo>
                    <a:lnTo>
                      <a:pt x="51" y="99"/>
                    </a:lnTo>
                    <a:lnTo>
                      <a:pt x="34" y="96"/>
                    </a:lnTo>
                    <a:lnTo>
                      <a:pt x="21" y="89"/>
                    </a:lnTo>
                    <a:lnTo>
                      <a:pt x="10" y="78"/>
                    </a:lnTo>
                    <a:lnTo>
                      <a:pt x="3" y="65"/>
                    </a:lnTo>
                    <a:lnTo>
                      <a:pt x="0" y="49"/>
                    </a:lnTo>
                    <a:lnTo>
                      <a:pt x="3" y="33"/>
                    </a:lnTo>
                    <a:lnTo>
                      <a:pt x="10" y="19"/>
                    </a:lnTo>
                    <a:lnTo>
                      <a:pt x="21" y="8"/>
                    </a:lnTo>
                    <a:lnTo>
                      <a:pt x="34" y="2"/>
                    </a:lnTo>
                    <a:lnTo>
                      <a:pt x="51" y="0"/>
                    </a:lnTo>
                    <a:close/>
                  </a:path>
                </a:pathLst>
              </a:custGeom>
              <a:solidFill>
                <a:schemeClr val="accent5"/>
              </a:solidFill>
              <a:ln>
                <a:noFill/>
              </a:ln>
            </p:spPr>
            <p:txBody>
              <a:bodyPr/>
              <a:lstStyle/>
              <a:p>
                <a:endParaRPr lang="de-DE" dirty="0"/>
              </a:p>
            </p:txBody>
          </p:sp>
          <p:sp>
            <p:nvSpPr>
              <p:cNvPr id="1571" name="Freeform 331"/>
              <p:cNvSpPr>
                <a:spLocks/>
              </p:cNvSpPr>
              <p:nvPr/>
            </p:nvSpPr>
            <p:spPr bwMode="auto">
              <a:xfrm>
                <a:off x="11321976" y="5652069"/>
                <a:ext cx="46033" cy="14289"/>
              </a:xfrm>
              <a:custGeom>
                <a:avLst/>
                <a:gdLst>
                  <a:gd name="T0" fmla="*/ 44 w 283"/>
                  <a:gd name="T1" fmla="*/ 0 h 90"/>
                  <a:gd name="T2" fmla="*/ 239 w 283"/>
                  <a:gd name="T3" fmla="*/ 0 h 90"/>
                  <a:gd name="T4" fmla="*/ 253 w 283"/>
                  <a:gd name="T5" fmla="*/ 2 h 90"/>
                  <a:gd name="T6" fmla="*/ 265 w 283"/>
                  <a:gd name="T7" fmla="*/ 8 h 90"/>
                  <a:gd name="T8" fmla="*/ 275 w 283"/>
                  <a:gd name="T9" fmla="*/ 18 h 90"/>
                  <a:gd name="T10" fmla="*/ 281 w 283"/>
                  <a:gd name="T11" fmla="*/ 31 h 90"/>
                  <a:gd name="T12" fmla="*/ 283 w 283"/>
                  <a:gd name="T13" fmla="*/ 44 h 90"/>
                  <a:gd name="T14" fmla="*/ 281 w 283"/>
                  <a:gd name="T15" fmla="*/ 59 h 90"/>
                  <a:gd name="T16" fmla="*/ 275 w 283"/>
                  <a:gd name="T17" fmla="*/ 71 h 90"/>
                  <a:gd name="T18" fmla="*/ 265 w 283"/>
                  <a:gd name="T19" fmla="*/ 81 h 90"/>
                  <a:gd name="T20" fmla="*/ 253 w 283"/>
                  <a:gd name="T21" fmla="*/ 87 h 90"/>
                  <a:gd name="T22" fmla="*/ 239 w 283"/>
                  <a:gd name="T23" fmla="*/ 90 h 90"/>
                  <a:gd name="T24" fmla="*/ 44 w 283"/>
                  <a:gd name="T25" fmla="*/ 90 h 90"/>
                  <a:gd name="T26" fmla="*/ 30 w 283"/>
                  <a:gd name="T27" fmla="*/ 87 h 90"/>
                  <a:gd name="T28" fmla="*/ 17 w 283"/>
                  <a:gd name="T29" fmla="*/ 81 h 90"/>
                  <a:gd name="T30" fmla="*/ 7 w 283"/>
                  <a:gd name="T31" fmla="*/ 71 h 90"/>
                  <a:gd name="T32" fmla="*/ 2 w 283"/>
                  <a:gd name="T33" fmla="*/ 59 h 90"/>
                  <a:gd name="T34" fmla="*/ 0 w 283"/>
                  <a:gd name="T35" fmla="*/ 44 h 90"/>
                  <a:gd name="T36" fmla="*/ 2 w 283"/>
                  <a:gd name="T37" fmla="*/ 31 h 90"/>
                  <a:gd name="T38" fmla="*/ 7 w 283"/>
                  <a:gd name="T39" fmla="*/ 18 h 90"/>
                  <a:gd name="T40" fmla="*/ 17 w 283"/>
                  <a:gd name="T41" fmla="*/ 8 h 90"/>
                  <a:gd name="T42" fmla="*/ 30 w 283"/>
                  <a:gd name="T43" fmla="*/ 2 h 90"/>
                  <a:gd name="T44" fmla="*/ 44 w 283"/>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3" h="90">
                    <a:moveTo>
                      <a:pt x="44" y="0"/>
                    </a:moveTo>
                    <a:lnTo>
                      <a:pt x="239" y="0"/>
                    </a:lnTo>
                    <a:lnTo>
                      <a:pt x="253" y="2"/>
                    </a:lnTo>
                    <a:lnTo>
                      <a:pt x="265" y="8"/>
                    </a:lnTo>
                    <a:lnTo>
                      <a:pt x="275" y="18"/>
                    </a:lnTo>
                    <a:lnTo>
                      <a:pt x="281" y="31"/>
                    </a:lnTo>
                    <a:lnTo>
                      <a:pt x="283" y="44"/>
                    </a:lnTo>
                    <a:lnTo>
                      <a:pt x="281" y="59"/>
                    </a:lnTo>
                    <a:lnTo>
                      <a:pt x="275" y="71"/>
                    </a:lnTo>
                    <a:lnTo>
                      <a:pt x="265" y="81"/>
                    </a:lnTo>
                    <a:lnTo>
                      <a:pt x="253" y="87"/>
                    </a:lnTo>
                    <a:lnTo>
                      <a:pt x="239" y="90"/>
                    </a:lnTo>
                    <a:lnTo>
                      <a:pt x="44" y="90"/>
                    </a:lnTo>
                    <a:lnTo>
                      <a:pt x="30" y="87"/>
                    </a:lnTo>
                    <a:lnTo>
                      <a:pt x="17" y="81"/>
                    </a:lnTo>
                    <a:lnTo>
                      <a:pt x="7" y="71"/>
                    </a:lnTo>
                    <a:lnTo>
                      <a:pt x="2" y="59"/>
                    </a:lnTo>
                    <a:lnTo>
                      <a:pt x="0" y="44"/>
                    </a:lnTo>
                    <a:lnTo>
                      <a:pt x="2" y="31"/>
                    </a:lnTo>
                    <a:lnTo>
                      <a:pt x="7" y="18"/>
                    </a:lnTo>
                    <a:lnTo>
                      <a:pt x="17" y="8"/>
                    </a:lnTo>
                    <a:lnTo>
                      <a:pt x="30" y="2"/>
                    </a:lnTo>
                    <a:lnTo>
                      <a:pt x="44" y="0"/>
                    </a:lnTo>
                    <a:close/>
                  </a:path>
                </a:pathLst>
              </a:custGeom>
              <a:solidFill>
                <a:schemeClr val="accent5"/>
              </a:solidFill>
              <a:ln>
                <a:noFill/>
              </a:ln>
            </p:spPr>
            <p:txBody>
              <a:bodyPr/>
              <a:lstStyle/>
              <a:p>
                <a:endParaRPr lang="de-DE" dirty="0"/>
              </a:p>
            </p:txBody>
          </p:sp>
          <p:sp>
            <p:nvSpPr>
              <p:cNvPr id="1572" name="Freeform 332"/>
              <p:cNvSpPr>
                <a:spLocks/>
              </p:cNvSpPr>
              <p:nvPr/>
            </p:nvSpPr>
            <p:spPr bwMode="auto">
              <a:xfrm>
                <a:off x="11388644" y="5653656"/>
                <a:ext cx="47620" cy="14289"/>
              </a:xfrm>
              <a:custGeom>
                <a:avLst/>
                <a:gdLst>
                  <a:gd name="T0" fmla="*/ 46 w 304"/>
                  <a:gd name="T1" fmla="*/ 0 h 94"/>
                  <a:gd name="T2" fmla="*/ 257 w 304"/>
                  <a:gd name="T3" fmla="*/ 0 h 94"/>
                  <a:gd name="T4" fmla="*/ 272 w 304"/>
                  <a:gd name="T5" fmla="*/ 2 h 94"/>
                  <a:gd name="T6" fmla="*/ 285 w 304"/>
                  <a:gd name="T7" fmla="*/ 9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7 w 304"/>
                  <a:gd name="T23" fmla="*/ 94 h 94"/>
                  <a:gd name="T24" fmla="*/ 46 w 304"/>
                  <a:gd name="T25" fmla="*/ 94 h 94"/>
                  <a:gd name="T26" fmla="*/ 32 w 304"/>
                  <a:gd name="T27" fmla="*/ 92 h 94"/>
                  <a:gd name="T28" fmla="*/ 18 w 304"/>
                  <a:gd name="T29" fmla="*/ 85 h 94"/>
                  <a:gd name="T30" fmla="*/ 8 w 304"/>
                  <a:gd name="T31" fmla="*/ 75 h 94"/>
                  <a:gd name="T32" fmla="*/ 2 w 304"/>
                  <a:gd name="T33" fmla="*/ 62 h 94"/>
                  <a:gd name="T34" fmla="*/ 0 w 304"/>
                  <a:gd name="T35" fmla="*/ 47 h 94"/>
                  <a:gd name="T36" fmla="*/ 2 w 304"/>
                  <a:gd name="T37" fmla="*/ 32 h 94"/>
                  <a:gd name="T38" fmla="*/ 8 w 304"/>
                  <a:gd name="T39" fmla="*/ 20 h 94"/>
                  <a:gd name="T40" fmla="*/ 18 w 304"/>
                  <a:gd name="T41" fmla="*/ 9 h 94"/>
                  <a:gd name="T42" fmla="*/ 32 w 304"/>
                  <a:gd name="T43" fmla="*/ 2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7" y="0"/>
                    </a:lnTo>
                    <a:lnTo>
                      <a:pt x="272" y="2"/>
                    </a:lnTo>
                    <a:lnTo>
                      <a:pt x="285" y="9"/>
                    </a:lnTo>
                    <a:lnTo>
                      <a:pt x="295" y="20"/>
                    </a:lnTo>
                    <a:lnTo>
                      <a:pt x="302" y="32"/>
                    </a:lnTo>
                    <a:lnTo>
                      <a:pt x="304" y="47"/>
                    </a:lnTo>
                    <a:lnTo>
                      <a:pt x="302" y="62"/>
                    </a:lnTo>
                    <a:lnTo>
                      <a:pt x="295" y="75"/>
                    </a:lnTo>
                    <a:lnTo>
                      <a:pt x="285" y="85"/>
                    </a:lnTo>
                    <a:lnTo>
                      <a:pt x="272" y="92"/>
                    </a:lnTo>
                    <a:lnTo>
                      <a:pt x="257" y="94"/>
                    </a:lnTo>
                    <a:lnTo>
                      <a:pt x="46" y="94"/>
                    </a:lnTo>
                    <a:lnTo>
                      <a:pt x="32" y="92"/>
                    </a:lnTo>
                    <a:lnTo>
                      <a:pt x="18" y="85"/>
                    </a:lnTo>
                    <a:lnTo>
                      <a:pt x="8" y="75"/>
                    </a:lnTo>
                    <a:lnTo>
                      <a:pt x="2" y="62"/>
                    </a:lnTo>
                    <a:lnTo>
                      <a:pt x="0" y="47"/>
                    </a:lnTo>
                    <a:lnTo>
                      <a:pt x="2" y="32"/>
                    </a:lnTo>
                    <a:lnTo>
                      <a:pt x="8" y="20"/>
                    </a:lnTo>
                    <a:lnTo>
                      <a:pt x="18" y="9"/>
                    </a:lnTo>
                    <a:lnTo>
                      <a:pt x="32" y="2"/>
                    </a:lnTo>
                    <a:lnTo>
                      <a:pt x="46" y="0"/>
                    </a:lnTo>
                    <a:close/>
                  </a:path>
                </a:pathLst>
              </a:custGeom>
              <a:solidFill>
                <a:schemeClr val="accent5"/>
              </a:solidFill>
              <a:ln>
                <a:noFill/>
              </a:ln>
            </p:spPr>
            <p:txBody>
              <a:bodyPr/>
              <a:lstStyle/>
              <a:p>
                <a:endParaRPr lang="de-DE" dirty="0"/>
              </a:p>
            </p:txBody>
          </p:sp>
          <p:sp>
            <p:nvSpPr>
              <p:cNvPr id="1573" name="Freeform 333"/>
              <p:cNvSpPr>
                <a:spLocks/>
              </p:cNvSpPr>
              <p:nvPr/>
            </p:nvSpPr>
            <p:spPr bwMode="auto">
              <a:xfrm>
                <a:off x="10971173" y="5701287"/>
                <a:ext cx="53970" cy="15877"/>
              </a:xfrm>
              <a:custGeom>
                <a:avLst/>
                <a:gdLst>
                  <a:gd name="T0" fmla="*/ 49 w 341"/>
                  <a:gd name="T1" fmla="*/ 0 h 100"/>
                  <a:gd name="T2" fmla="*/ 291 w 341"/>
                  <a:gd name="T3" fmla="*/ 0 h 100"/>
                  <a:gd name="T4" fmla="*/ 307 w 341"/>
                  <a:gd name="T5" fmla="*/ 2 h 100"/>
                  <a:gd name="T6" fmla="*/ 320 w 341"/>
                  <a:gd name="T7" fmla="*/ 10 h 100"/>
                  <a:gd name="T8" fmla="*/ 332 w 341"/>
                  <a:gd name="T9" fmla="*/ 21 h 100"/>
                  <a:gd name="T10" fmla="*/ 338 w 341"/>
                  <a:gd name="T11" fmla="*/ 34 h 100"/>
                  <a:gd name="T12" fmla="*/ 341 w 341"/>
                  <a:gd name="T13" fmla="*/ 49 h 100"/>
                  <a:gd name="T14" fmla="*/ 338 w 341"/>
                  <a:gd name="T15" fmla="*/ 66 h 100"/>
                  <a:gd name="T16" fmla="*/ 332 w 341"/>
                  <a:gd name="T17" fmla="*/ 79 h 100"/>
                  <a:gd name="T18" fmla="*/ 320 w 341"/>
                  <a:gd name="T19" fmla="*/ 90 h 100"/>
                  <a:gd name="T20" fmla="*/ 307 w 341"/>
                  <a:gd name="T21" fmla="*/ 97 h 100"/>
                  <a:gd name="T22" fmla="*/ 291 w 341"/>
                  <a:gd name="T23" fmla="*/ 100 h 100"/>
                  <a:gd name="T24" fmla="*/ 49 w 341"/>
                  <a:gd name="T25" fmla="*/ 100 h 100"/>
                  <a:gd name="T26" fmla="*/ 34 w 341"/>
                  <a:gd name="T27" fmla="*/ 97 h 100"/>
                  <a:gd name="T28" fmla="*/ 20 w 341"/>
                  <a:gd name="T29" fmla="*/ 90 h 100"/>
                  <a:gd name="T30" fmla="*/ 10 w 341"/>
                  <a:gd name="T31" fmla="*/ 79 h 100"/>
                  <a:gd name="T32" fmla="*/ 2 w 341"/>
                  <a:gd name="T33" fmla="*/ 66 h 100"/>
                  <a:gd name="T34" fmla="*/ 0 w 341"/>
                  <a:gd name="T35" fmla="*/ 49 h 100"/>
                  <a:gd name="T36" fmla="*/ 2 w 341"/>
                  <a:gd name="T37" fmla="*/ 34 h 100"/>
                  <a:gd name="T38" fmla="*/ 10 w 341"/>
                  <a:gd name="T39" fmla="*/ 21 h 100"/>
                  <a:gd name="T40" fmla="*/ 20 w 341"/>
                  <a:gd name="T41" fmla="*/ 10 h 100"/>
                  <a:gd name="T42" fmla="*/ 34 w 341"/>
                  <a:gd name="T43" fmla="*/ 2 h 100"/>
                  <a:gd name="T44" fmla="*/ 49 w 341"/>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1" h="100">
                    <a:moveTo>
                      <a:pt x="49" y="0"/>
                    </a:moveTo>
                    <a:lnTo>
                      <a:pt x="291" y="0"/>
                    </a:lnTo>
                    <a:lnTo>
                      <a:pt x="307" y="2"/>
                    </a:lnTo>
                    <a:lnTo>
                      <a:pt x="320" y="10"/>
                    </a:lnTo>
                    <a:lnTo>
                      <a:pt x="332" y="21"/>
                    </a:lnTo>
                    <a:lnTo>
                      <a:pt x="338" y="34"/>
                    </a:lnTo>
                    <a:lnTo>
                      <a:pt x="341" y="49"/>
                    </a:lnTo>
                    <a:lnTo>
                      <a:pt x="338" y="66"/>
                    </a:lnTo>
                    <a:lnTo>
                      <a:pt x="332" y="79"/>
                    </a:lnTo>
                    <a:lnTo>
                      <a:pt x="320" y="90"/>
                    </a:lnTo>
                    <a:lnTo>
                      <a:pt x="307" y="97"/>
                    </a:lnTo>
                    <a:lnTo>
                      <a:pt x="291" y="100"/>
                    </a:lnTo>
                    <a:lnTo>
                      <a:pt x="49" y="100"/>
                    </a:lnTo>
                    <a:lnTo>
                      <a:pt x="34" y="97"/>
                    </a:lnTo>
                    <a:lnTo>
                      <a:pt x="20" y="90"/>
                    </a:lnTo>
                    <a:lnTo>
                      <a:pt x="10" y="79"/>
                    </a:lnTo>
                    <a:lnTo>
                      <a:pt x="2" y="66"/>
                    </a:lnTo>
                    <a:lnTo>
                      <a:pt x="0" y="49"/>
                    </a:lnTo>
                    <a:lnTo>
                      <a:pt x="2" y="34"/>
                    </a:lnTo>
                    <a:lnTo>
                      <a:pt x="10" y="21"/>
                    </a:lnTo>
                    <a:lnTo>
                      <a:pt x="20" y="10"/>
                    </a:lnTo>
                    <a:lnTo>
                      <a:pt x="34" y="2"/>
                    </a:lnTo>
                    <a:lnTo>
                      <a:pt x="49" y="0"/>
                    </a:lnTo>
                    <a:close/>
                  </a:path>
                </a:pathLst>
              </a:custGeom>
              <a:solidFill>
                <a:schemeClr val="accent5"/>
              </a:solidFill>
              <a:ln>
                <a:noFill/>
              </a:ln>
            </p:spPr>
            <p:txBody>
              <a:bodyPr/>
              <a:lstStyle/>
              <a:p>
                <a:endParaRPr lang="de-DE" dirty="0"/>
              </a:p>
            </p:txBody>
          </p:sp>
          <p:sp>
            <p:nvSpPr>
              <p:cNvPr id="1574" name="Freeform 334"/>
              <p:cNvSpPr>
                <a:spLocks/>
              </p:cNvSpPr>
              <p:nvPr/>
            </p:nvSpPr>
            <p:spPr bwMode="auto">
              <a:xfrm>
                <a:off x="11053715" y="5704462"/>
                <a:ext cx="41271" cy="14289"/>
              </a:xfrm>
              <a:custGeom>
                <a:avLst/>
                <a:gdLst>
                  <a:gd name="T0" fmla="*/ 43 w 261"/>
                  <a:gd name="T1" fmla="*/ 0 h 87"/>
                  <a:gd name="T2" fmla="*/ 218 w 261"/>
                  <a:gd name="T3" fmla="*/ 0 h 87"/>
                  <a:gd name="T4" fmla="*/ 231 w 261"/>
                  <a:gd name="T5" fmla="*/ 3 h 87"/>
                  <a:gd name="T6" fmla="*/ 243 w 261"/>
                  <a:gd name="T7" fmla="*/ 9 h 87"/>
                  <a:gd name="T8" fmla="*/ 252 w 261"/>
                  <a:gd name="T9" fmla="*/ 18 h 87"/>
                  <a:gd name="T10" fmla="*/ 259 w 261"/>
                  <a:gd name="T11" fmla="*/ 30 h 87"/>
                  <a:gd name="T12" fmla="*/ 261 w 261"/>
                  <a:gd name="T13" fmla="*/ 43 h 87"/>
                  <a:gd name="T14" fmla="*/ 259 w 261"/>
                  <a:gd name="T15" fmla="*/ 57 h 87"/>
                  <a:gd name="T16" fmla="*/ 252 w 261"/>
                  <a:gd name="T17" fmla="*/ 69 h 87"/>
                  <a:gd name="T18" fmla="*/ 243 w 261"/>
                  <a:gd name="T19" fmla="*/ 78 h 87"/>
                  <a:gd name="T20" fmla="*/ 231 w 261"/>
                  <a:gd name="T21" fmla="*/ 84 h 87"/>
                  <a:gd name="T22" fmla="*/ 218 w 261"/>
                  <a:gd name="T23" fmla="*/ 87 h 87"/>
                  <a:gd name="T24" fmla="*/ 43 w 261"/>
                  <a:gd name="T25" fmla="*/ 87 h 87"/>
                  <a:gd name="T26" fmla="*/ 28 w 261"/>
                  <a:gd name="T27" fmla="*/ 84 h 87"/>
                  <a:gd name="T28" fmla="*/ 17 w 261"/>
                  <a:gd name="T29" fmla="*/ 78 h 87"/>
                  <a:gd name="T30" fmla="*/ 7 w 261"/>
                  <a:gd name="T31" fmla="*/ 69 h 87"/>
                  <a:gd name="T32" fmla="*/ 2 w 261"/>
                  <a:gd name="T33" fmla="*/ 57 h 87"/>
                  <a:gd name="T34" fmla="*/ 0 w 261"/>
                  <a:gd name="T35" fmla="*/ 43 h 87"/>
                  <a:gd name="T36" fmla="*/ 2 w 261"/>
                  <a:gd name="T37" fmla="*/ 30 h 87"/>
                  <a:gd name="T38" fmla="*/ 7 w 261"/>
                  <a:gd name="T39" fmla="*/ 18 h 87"/>
                  <a:gd name="T40" fmla="*/ 17 w 261"/>
                  <a:gd name="T41" fmla="*/ 9 h 87"/>
                  <a:gd name="T42" fmla="*/ 28 w 261"/>
                  <a:gd name="T43" fmla="*/ 3 h 87"/>
                  <a:gd name="T44" fmla="*/ 43 w 26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7">
                    <a:moveTo>
                      <a:pt x="43" y="0"/>
                    </a:moveTo>
                    <a:lnTo>
                      <a:pt x="218" y="0"/>
                    </a:lnTo>
                    <a:lnTo>
                      <a:pt x="231" y="3"/>
                    </a:lnTo>
                    <a:lnTo>
                      <a:pt x="243" y="9"/>
                    </a:lnTo>
                    <a:lnTo>
                      <a:pt x="252" y="18"/>
                    </a:lnTo>
                    <a:lnTo>
                      <a:pt x="259" y="30"/>
                    </a:lnTo>
                    <a:lnTo>
                      <a:pt x="261" y="43"/>
                    </a:lnTo>
                    <a:lnTo>
                      <a:pt x="259" y="57"/>
                    </a:lnTo>
                    <a:lnTo>
                      <a:pt x="252" y="69"/>
                    </a:lnTo>
                    <a:lnTo>
                      <a:pt x="243" y="78"/>
                    </a:lnTo>
                    <a:lnTo>
                      <a:pt x="231" y="84"/>
                    </a:lnTo>
                    <a:lnTo>
                      <a:pt x="218" y="87"/>
                    </a:lnTo>
                    <a:lnTo>
                      <a:pt x="43" y="87"/>
                    </a:lnTo>
                    <a:lnTo>
                      <a:pt x="28" y="84"/>
                    </a:lnTo>
                    <a:lnTo>
                      <a:pt x="17" y="78"/>
                    </a:lnTo>
                    <a:lnTo>
                      <a:pt x="7" y="69"/>
                    </a:lnTo>
                    <a:lnTo>
                      <a:pt x="2" y="57"/>
                    </a:lnTo>
                    <a:lnTo>
                      <a:pt x="0" y="43"/>
                    </a:lnTo>
                    <a:lnTo>
                      <a:pt x="2" y="30"/>
                    </a:lnTo>
                    <a:lnTo>
                      <a:pt x="7" y="18"/>
                    </a:lnTo>
                    <a:lnTo>
                      <a:pt x="17" y="9"/>
                    </a:lnTo>
                    <a:lnTo>
                      <a:pt x="28" y="3"/>
                    </a:lnTo>
                    <a:lnTo>
                      <a:pt x="43" y="0"/>
                    </a:lnTo>
                    <a:close/>
                  </a:path>
                </a:pathLst>
              </a:custGeom>
              <a:solidFill>
                <a:schemeClr val="accent5"/>
              </a:solidFill>
              <a:ln>
                <a:noFill/>
              </a:ln>
            </p:spPr>
            <p:txBody>
              <a:bodyPr/>
              <a:lstStyle/>
              <a:p>
                <a:endParaRPr lang="de-DE" dirty="0"/>
              </a:p>
            </p:txBody>
          </p:sp>
          <p:sp>
            <p:nvSpPr>
              <p:cNvPr id="1575" name="Freeform 335"/>
              <p:cNvSpPr>
                <a:spLocks/>
              </p:cNvSpPr>
              <p:nvPr/>
            </p:nvSpPr>
            <p:spPr bwMode="auto">
              <a:xfrm>
                <a:off x="11110859" y="5701287"/>
                <a:ext cx="47620" cy="14289"/>
              </a:xfrm>
              <a:custGeom>
                <a:avLst/>
                <a:gdLst>
                  <a:gd name="T0" fmla="*/ 46 w 295"/>
                  <a:gd name="T1" fmla="*/ 0 h 91"/>
                  <a:gd name="T2" fmla="*/ 249 w 295"/>
                  <a:gd name="T3" fmla="*/ 0 h 91"/>
                  <a:gd name="T4" fmla="*/ 263 w 295"/>
                  <a:gd name="T5" fmla="*/ 2 h 91"/>
                  <a:gd name="T6" fmla="*/ 276 w 295"/>
                  <a:gd name="T7" fmla="*/ 9 h 91"/>
                  <a:gd name="T8" fmla="*/ 286 w 295"/>
                  <a:gd name="T9" fmla="*/ 18 h 91"/>
                  <a:gd name="T10" fmla="*/ 293 w 295"/>
                  <a:gd name="T11" fmla="*/ 31 h 91"/>
                  <a:gd name="T12" fmla="*/ 295 w 295"/>
                  <a:gd name="T13" fmla="*/ 45 h 91"/>
                  <a:gd name="T14" fmla="*/ 293 w 295"/>
                  <a:gd name="T15" fmla="*/ 60 h 91"/>
                  <a:gd name="T16" fmla="*/ 286 w 295"/>
                  <a:gd name="T17" fmla="*/ 73 h 91"/>
                  <a:gd name="T18" fmla="*/ 276 w 295"/>
                  <a:gd name="T19" fmla="*/ 83 h 91"/>
                  <a:gd name="T20" fmla="*/ 263 w 295"/>
                  <a:gd name="T21" fmla="*/ 89 h 91"/>
                  <a:gd name="T22" fmla="*/ 249 w 295"/>
                  <a:gd name="T23" fmla="*/ 91 h 91"/>
                  <a:gd name="T24" fmla="*/ 46 w 295"/>
                  <a:gd name="T25" fmla="*/ 91 h 91"/>
                  <a:gd name="T26" fmla="*/ 32 w 295"/>
                  <a:gd name="T27" fmla="*/ 89 h 91"/>
                  <a:gd name="T28" fmla="*/ 18 w 295"/>
                  <a:gd name="T29" fmla="*/ 83 h 91"/>
                  <a:gd name="T30" fmla="*/ 8 w 295"/>
                  <a:gd name="T31" fmla="*/ 73 h 91"/>
                  <a:gd name="T32" fmla="*/ 3 w 295"/>
                  <a:gd name="T33" fmla="*/ 60 h 91"/>
                  <a:gd name="T34" fmla="*/ 0 w 295"/>
                  <a:gd name="T35" fmla="*/ 45 h 91"/>
                  <a:gd name="T36" fmla="*/ 3 w 295"/>
                  <a:gd name="T37" fmla="*/ 31 h 91"/>
                  <a:gd name="T38" fmla="*/ 8 w 295"/>
                  <a:gd name="T39" fmla="*/ 18 h 91"/>
                  <a:gd name="T40" fmla="*/ 18 w 295"/>
                  <a:gd name="T41" fmla="*/ 9 h 91"/>
                  <a:gd name="T42" fmla="*/ 32 w 295"/>
                  <a:gd name="T43" fmla="*/ 2 h 91"/>
                  <a:gd name="T44" fmla="*/ 46 w 295"/>
                  <a:gd name="T4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5" h="91">
                    <a:moveTo>
                      <a:pt x="46" y="0"/>
                    </a:moveTo>
                    <a:lnTo>
                      <a:pt x="249" y="0"/>
                    </a:lnTo>
                    <a:lnTo>
                      <a:pt x="263" y="2"/>
                    </a:lnTo>
                    <a:lnTo>
                      <a:pt x="276" y="9"/>
                    </a:lnTo>
                    <a:lnTo>
                      <a:pt x="286" y="18"/>
                    </a:lnTo>
                    <a:lnTo>
                      <a:pt x="293" y="31"/>
                    </a:lnTo>
                    <a:lnTo>
                      <a:pt x="295" y="45"/>
                    </a:lnTo>
                    <a:lnTo>
                      <a:pt x="293" y="60"/>
                    </a:lnTo>
                    <a:lnTo>
                      <a:pt x="286" y="73"/>
                    </a:lnTo>
                    <a:lnTo>
                      <a:pt x="276" y="83"/>
                    </a:lnTo>
                    <a:lnTo>
                      <a:pt x="263" y="89"/>
                    </a:lnTo>
                    <a:lnTo>
                      <a:pt x="249" y="91"/>
                    </a:lnTo>
                    <a:lnTo>
                      <a:pt x="46" y="91"/>
                    </a:lnTo>
                    <a:lnTo>
                      <a:pt x="32" y="89"/>
                    </a:lnTo>
                    <a:lnTo>
                      <a:pt x="18" y="83"/>
                    </a:lnTo>
                    <a:lnTo>
                      <a:pt x="8" y="73"/>
                    </a:lnTo>
                    <a:lnTo>
                      <a:pt x="3" y="60"/>
                    </a:lnTo>
                    <a:lnTo>
                      <a:pt x="0" y="45"/>
                    </a:lnTo>
                    <a:lnTo>
                      <a:pt x="3" y="31"/>
                    </a:lnTo>
                    <a:lnTo>
                      <a:pt x="8" y="18"/>
                    </a:lnTo>
                    <a:lnTo>
                      <a:pt x="18" y="9"/>
                    </a:lnTo>
                    <a:lnTo>
                      <a:pt x="32" y="2"/>
                    </a:lnTo>
                    <a:lnTo>
                      <a:pt x="46" y="0"/>
                    </a:lnTo>
                    <a:close/>
                  </a:path>
                </a:pathLst>
              </a:custGeom>
              <a:solidFill>
                <a:schemeClr val="accent5"/>
              </a:solidFill>
              <a:ln>
                <a:noFill/>
              </a:ln>
            </p:spPr>
            <p:txBody>
              <a:bodyPr/>
              <a:lstStyle/>
              <a:p>
                <a:endParaRPr lang="de-DE" dirty="0"/>
              </a:p>
            </p:txBody>
          </p:sp>
          <p:sp>
            <p:nvSpPr>
              <p:cNvPr id="1576" name="Freeform 336"/>
              <p:cNvSpPr>
                <a:spLocks/>
              </p:cNvSpPr>
              <p:nvPr/>
            </p:nvSpPr>
            <p:spPr bwMode="auto">
              <a:xfrm>
                <a:off x="11188639" y="5706050"/>
                <a:ext cx="46033" cy="14289"/>
              </a:xfrm>
              <a:custGeom>
                <a:avLst/>
                <a:gdLst>
                  <a:gd name="T0" fmla="*/ 46 w 292"/>
                  <a:gd name="T1" fmla="*/ 0 h 90"/>
                  <a:gd name="T2" fmla="*/ 246 w 292"/>
                  <a:gd name="T3" fmla="*/ 0 h 90"/>
                  <a:gd name="T4" fmla="*/ 261 w 292"/>
                  <a:gd name="T5" fmla="*/ 2 h 90"/>
                  <a:gd name="T6" fmla="*/ 273 w 292"/>
                  <a:gd name="T7" fmla="*/ 8 h 90"/>
                  <a:gd name="T8" fmla="*/ 283 w 292"/>
                  <a:gd name="T9" fmla="*/ 17 h 90"/>
                  <a:gd name="T10" fmla="*/ 289 w 292"/>
                  <a:gd name="T11" fmla="*/ 31 h 90"/>
                  <a:gd name="T12" fmla="*/ 292 w 292"/>
                  <a:gd name="T13" fmla="*/ 45 h 90"/>
                  <a:gd name="T14" fmla="*/ 289 w 292"/>
                  <a:gd name="T15" fmla="*/ 59 h 90"/>
                  <a:gd name="T16" fmla="*/ 283 w 292"/>
                  <a:gd name="T17" fmla="*/ 71 h 90"/>
                  <a:gd name="T18" fmla="*/ 273 w 292"/>
                  <a:gd name="T19" fmla="*/ 81 h 90"/>
                  <a:gd name="T20" fmla="*/ 261 w 292"/>
                  <a:gd name="T21" fmla="*/ 88 h 90"/>
                  <a:gd name="T22" fmla="*/ 246 w 292"/>
                  <a:gd name="T23" fmla="*/ 90 h 90"/>
                  <a:gd name="T24" fmla="*/ 46 w 292"/>
                  <a:gd name="T25" fmla="*/ 90 h 90"/>
                  <a:gd name="T26" fmla="*/ 32 w 292"/>
                  <a:gd name="T27" fmla="*/ 88 h 90"/>
                  <a:gd name="T28" fmla="*/ 18 w 292"/>
                  <a:gd name="T29" fmla="*/ 81 h 90"/>
                  <a:gd name="T30" fmla="*/ 8 w 292"/>
                  <a:gd name="T31" fmla="*/ 71 h 90"/>
                  <a:gd name="T32" fmla="*/ 3 w 292"/>
                  <a:gd name="T33" fmla="*/ 59 h 90"/>
                  <a:gd name="T34" fmla="*/ 0 w 292"/>
                  <a:gd name="T35" fmla="*/ 45 h 90"/>
                  <a:gd name="T36" fmla="*/ 3 w 292"/>
                  <a:gd name="T37" fmla="*/ 31 h 90"/>
                  <a:gd name="T38" fmla="*/ 8 w 292"/>
                  <a:gd name="T39" fmla="*/ 17 h 90"/>
                  <a:gd name="T40" fmla="*/ 18 w 292"/>
                  <a:gd name="T41" fmla="*/ 8 h 90"/>
                  <a:gd name="T42" fmla="*/ 32 w 292"/>
                  <a:gd name="T43" fmla="*/ 2 h 90"/>
                  <a:gd name="T44" fmla="*/ 46 w 292"/>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0">
                    <a:moveTo>
                      <a:pt x="46" y="0"/>
                    </a:moveTo>
                    <a:lnTo>
                      <a:pt x="246" y="0"/>
                    </a:lnTo>
                    <a:lnTo>
                      <a:pt x="261" y="2"/>
                    </a:lnTo>
                    <a:lnTo>
                      <a:pt x="273" y="8"/>
                    </a:lnTo>
                    <a:lnTo>
                      <a:pt x="283" y="17"/>
                    </a:lnTo>
                    <a:lnTo>
                      <a:pt x="289" y="31"/>
                    </a:lnTo>
                    <a:lnTo>
                      <a:pt x="292" y="45"/>
                    </a:lnTo>
                    <a:lnTo>
                      <a:pt x="289" y="59"/>
                    </a:lnTo>
                    <a:lnTo>
                      <a:pt x="283" y="71"/>
                    </a:lnTo>
                    <a:lnTo>
                      <a:pt x="273" y="81"/>
                    </a:lnTo>
                    <a:lnTo>
                      <a:pt x="261" y="88"/>
                    </a:lnTo>
                    <a:lnTo>
                      <a:pt x="246" y="90"/>
                    </a:lnTo>
                    <a:lnTo>
                      <a:pt x="46" y="90"/>
                    </a:lnTo>
                    <a:lnTo>
                      <a:pt x="32" y="88"/>
                    </a:lnTo>
                    <a:lnTo>
                      <a:pt x="18" y="81"/>
                    </a:lnTo>
                    <a:lnTo>
                      <a:pt x="8" y="71"/>
                    </a:lnTo>
                    <a:lnTo>
                      <a:pt x="3" y="59"/>
                    </a:lnTo>
                    <a:lnTo>
                      <a:pt x="0" y="45"/>
                    </a:lnTo>
                    <a:lnTo>
                      <a:pt x="3" y="31"/>
                    </a:lnTo>
                    <a:lnTo>
                      <a:pt x="8" y="17"/>
                    </a:lnTo>
                    <a:lnTo>
                      <a:pt x="18" y="8"/>
                    </a:lnTo>
                    <a:lnTo>
                      <a:pt x="32" y="2"/>
                    </a:lnTo>
                    <a:lnTo>
                      <a:pt x="46" y="0"/>
                    </a:lnTo>
                    <a:close/>
                  </a:path>
                </a:pathLst>
              </a:custGeom>
              <a:solidFill>
                <a:schemeClr val="accent5"/>
              </a:solidFill>
              <a:ln>
                <a:noFill/>
              </a:ln>
            </p:spPr>
            <p:txBody>
              <a:bodyPr/>
              <a:lstStyle/>
              <a:p>
                <a:endParaRPr lang="de-DE" dirty="0"/>
              </a:p>
            </p:txBody>
          </p:sp>
          <p:sp>
            <p:nvSpPr>
              <p:cNvPr id="1577" name="Freeform 337"/>
              <p:cNvSpPr>
                <a:spLocks/>
              </p:cNvSpPr>
              <p:nvPr/>
            </p:nvSpPr>
            <p:spPr bwMode="auto">
              <a:xfrm>
                <a:off x="11245784" y="5704462"/>
                <a:ext cx="52382" cy="15877"/>
              </a:xfrm>
              <a:custGeom>
                <a:avLst/>
                <a:gdLst>
                  <a:gd name="T0" fmla="*/ 48 w 329"/>
                  <a:gd name="T1" fmla="*/ 0 h 99"/>
                  <a:gd name="T2" fmla="*/ 281 w 329"/>
                  <a:gd name="T3" fmla="*/ 0 h 99"/>
                  <a:gd name="T4" fmla="*/ 296 w 329"/>
                  <a:gd name="T5" fmla="*/ 4 h 99"/>
                  <a:gd name="T6" fmla="*/ 309 w 329"/>
                  <a:gd name="T7" fmla="*/ 10 h 99"/>
                  <a:gd name="T8" fmla="*/ 320 w 329"/>
                  <a:gd name="T9" fmla="*/ 21 h 99"/>
                  <a:gd name="T10" fmla="*/ 327 w 329"/>
                  <a:gd name="T11" fmla="*/ 35 h 99"/>
                  <a:gd name="T12" fmla="*/ 329 w 329"/>
                  <a:gd name="T13" fmla="*/ 50 h 99"/>
                  <a:gd name="T14" fmla="*/ 327 w 329"/>
                  <a:gd name="T15" fmla="*/ 65 h 99"/>
                  <a:gd name="T16" fmla="*/ 320 w 329"/>
                  <a:gd name="T17" fmla="*/ 79 h 99"/>
                  <a:gd name="T18" fmla="*/ 309 w 329"/>
                  <a:gd name="T19" fmla="*/ 90 h 99"/>
                  <a:gd name="T20" fmla="*/ 296 w 329"/>
                  <a:gd name="T21" fmla="*/ 96 h 99"/>
                  <a:gd name="T22" fmla="*/ 281 w 329"/>
                  <a:gd name="T23" fmla="*/ 99 h 99"/>
                  <a:gd name="T24" fmla="*/ 48 w 329"/>
                  <a:gd name="T25" fmla="*/ 99 h 99"/>
                  <a:gd name="T26" fmla="*/ 33 w 329"/>
                  <a:gd name="T27" fmla="*/ 96 h 99"/>
                  <a:gd name="T28" fmla="*/ 19 w 329"/>
                  <a:gd name="T29" fmla="*/ 90 h 99"/>
                  <a:gd name="T30" fmla="*/ 8 w 329"/>
                  <a:gd name="T31" fmla="*/ 79 h 99"/>
                  <a:gd name="T32" fmla="*/ 2 w 329"/>
                  <a:gd name="T33" fmla="*/ 65 h 99"/>
                  <a:gd name="T34" fmla="*/ 0 w 329"/>
                  <a:gd name="T35" fmla="*/ 50 h 99"/>
                  <a:gd name="T36" fmla="*/ 2 w 329"/>
                  <a:gd name="T37" fmla="*/ 35 h 99"/>
                  <a:gd name="T38" fmla="*/ 8 w 329"/>
                  <a:gd name="T39" fmla="*/ 21 h 99"/>
                  <a:gd name="T40" fmla="*/ 19 w 329"/>
                  <a:gd name="T41" fmla="*/ 10 h 99"/>
                  <a:gd name="T42" fmla="*/ 33 w 329"/>
                  <a:gd name="T43" fmla="*/ 4 h 99"/>
                  <a:gd name="T44" fmla="*/ 48 w 329"/>
                  <a:gd name="T4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99">
                    <a:moveTo>
                      <a:pt x="48" y="0"/>
                    </a:moveTo>
                    <a:lnTo>
                      <a:pt x="281" y="0"/>
                    </a:lnTo>
                    <a:lnTo>
                      <a:pt x="296" y="4"/>
                    </a:lnTo>
                    <a:lnTo>
                      <a:pt x="309" y="10"/>
                    </a:lnTo>
                    <a:lnTo>
                      <a:pt x="320" y="21"/>
                    </a:lnTo>
                    <a:lnTo>
                      <a:pt x="327" y="35"/>
                    </a:lnTo>
                    <a:lnTo>
                      <a:pt x="329" y="50"/>
                    </a:lnTo>
                    <a:lnTo>
                      <a:pt x="327" y="65"/>
                    </a:lnTo>
                    <a:lnTo>
                      <a:pt x="320" y="79"/>
                    </a:lnTo>
                    <a:lnTo>
                      <a:pt x="309" y="90"/>
                    </a:lnTo>
                    <a:lnTo>
                      <a:pt x="296" y="96"/>
                    </a:lnTo>
                    <a:lnTo>
                      <a:pt x="281" y="99"/>
                    </a:lnTo>
                    <a:lnTo>
                      <a:pt x="48" y="99"/>
                    </a:lnTo>
                    <a:lnTo>
                      <a:pt x="33" y="96"/>
                    </a:lnTo>
                    <a:lnTo>
                      <a:pt x="19" y="90"/>
                    </a:lnTo>
                    <a:lnTo>
                      <a:pt x="8" y="79"/>
                    </a:lnTo>
                    <a:lnTo>
                      <a:pt x="2" y="65"/>
                    </a:lnTo>
                    <a:lnTo>
                      <a:pt x="0" y="50"/>
                    </a:lnTo>
                    <a:lnTo>
                      <a:pt x="2" y="35"/>
                    </a:lnTo>
                    <a:lnTo>
                      <a:pt x="8" y="21"/>
                    </a:lnTo>
                    <a:lnTo>
                      <a:pt x="19" y="10"/>
                    </a:lnTo>
                    <a:lnTo>
                      <a:pt x="33" y="4"/>
                    </a:lnTo>
                    <a:lnTo>
                      <a:pt x="48" y="0"/>
                    </a:lnTo>
                    <a:close/>
                  </a:path>
                </a:pathLst>
              </a:custGeom>
              <a:solidFill>
                <a:schemeClr val="accent5"/>
              </a:solidFill>
              <a:ln>
                <a:noFill/>
              </a:ln>
            </p:spPr>
            <p:txBody>
              <a:bodyPr/>
              <a:lstStyle/>
              <a:p>
                <a:endParaRPr lang="de-DE" dirty="0"/>
              </a:p>
            </p:txBody>
          </p:sp>
          <p:sp>
            <p:nvSpPr>
              <p:cNvPr id="1578" name="Freeform 338"/>
              <p:cNvSpPr>
                <a:spLocks/>
              </p:cNvSpPr>
              <p:nvPr/>
            </p:nvSpPr>
            <p:spPr bwMode="auto">
              <a:xfrm>
                <a:off x="11310865" y="5706050"/>
                <a:ext cx="55557" cy="15877"/>
              </a:xfrm>
              <a:custGeom>
                <a:avLst/>
                <a:gdLst>
                  <a:gd name="T0" fmla="*/ 50 w 348"/>
                  <a:gd name="T1" fmla="*/ 0 h 102"/>
                  <a:gd name="T2" fmla="*/ 297 w 348"/>
                  <a:gd name="T3" fmla="*/ 0 h 102"/>
                  <a:gd name="T4" fmla="*/ 313 w 348"/>
                  <a:gd name="T5" fmla="*/ 3 h 102"/>
                  <a:gd name="T6" fmla="*/ 327 w 348"/>
                  <a:gd name="T7" fmla="*/ 10 h 102"/>
                  <a:gd name="T8" fmla="*/ 338 w 348"/>
                  <a:gd name="T9" fmla="*/ 21 h 102"/>
                  <a:gd name="T10" fmla="*/ 345 w 348"/>
                  <a:gd name="T11" fmla="*/ 35 h 102"/>
                  <a:gd name="T12" fmla="*/ 348 w 348"/>
                  <a:gd name="T13" fmla="*/ 51 h 102"/>
                  <a:gd name="T14" fmla="*/ 345 w 348"/>
                  <a:gd name="T15" fmla="*/ 68 h 102"/>
                  <a:gd name="T16" fmla="*/ 338 w 348"/>
                  <a:gd name="T17" fmla="*/ 81 h 102"/>
                  <a:gd name="T18" fmla="*/ 327 w 348"/>
                  <a:gd name="T19" fmla="*/ 92 h 102"/>
                  <a:gd name="T20" fmla="*/ 313 w 348"/>
                  <a:gd name="T21" fmla="*/ 100 h 102"/>
                  <a:gd name="T22" fmla="*/ 297 w 348"/>
                  <a:gd name="T23" fmla="*/ 102 h 102"/>
                  <a:gd name="T24" fmla="*/ 50 w 348"/>
                  <a:gd name="T25" fmla="*/ 102 h 102"/>
                  <a:gd name="T26" fmla="*/ 34 w 348"/>
                  <a:gd name="T27" fmla="*/ 100 h 102"/>
                  <a:gd name="T28" fmla="*/ 20 w 348"/>
                  <a:gd name="T29" fmla="*/ 92 h 102"/>
                  <a:gd name="T30" fmla="*/ 10 w 348"/>
                  <a:gd name="T31" fmla="*/ 81 h 102"/>
                  <a:gd name="T32" fmla="*/ 2 w 348"/>
                  <a:gd name="T33" fmla="*/ 68 h 102"/>
                  <a:gd name="T34" fmla="*/ 0 w 348"/>
                  <a:gd name="T35" fmla="*/ 51 h 102"/>
                  <a:gd name="T36" fmla="*/ 2 w 348"/>
                  <a:gd name="T37" fmla="*/ 35 h 102"/>
                  <a:gd name="T38" fmla="*/ 10 w 348"/>
                  <a:gd name="T39" fmla="*/ 21 h 102"/>
                  <a:gd name="T40" fmla="*/ 20 w 348"/>
                  <a:gd name="T41" fmla="*/ 10 h 102"/>
                  <a:gd name="T42" fmla="*/ 34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3" y="3"/>
                    </a:lnTo>
                    <a:lnTo>
                      <a:pt x="327" y="10"/>
                    </a:lnTo>
                    <a:lnTo>
                      <a:pt x="338" y="21"/>
                    </a:lnTo>
                    <a:lnTo>
                      <a:pt x="345" y="35"/>
                    </a:lnTo>
                    <a:lnTo>
                      <a:pt x="348" y="51"/>
                    </a:lnTo>
                    <a:lnTo>
                      <a:pt x="345" y="68"/>
                    </a:lnTo>
                    <a:lnTo>
                      <a:pt x="338" y="81"/>
                    </a:lnTo>
                    <a:lnTo>
                      <a:pt x="327" y="92"/>
                    </a:lnTo>
                    <a:lnTo>
                      <a:pt x="313" y="100"/>
                    </a:lnTo>
                    <a:lnTo>
                      <a:pt x="297" y="102"/>
                    </a:lnTo>
                    <a:lnTo>
                      <a:pt x="50" y="102"/>
                    </a:lnTo>
                    <a:lnTo>
                      <a:pt x="34" y="100"/>
                    </a:lnTo>
                    <a:lnTo>
                      <a:pt x="20" y="92"/>
                    </a:lnTo>
                    <a:lnTo>
                      <a:pt x="10" y="81"/>
                    </a:lnTo>
                    <a:lnTo>
                      <a:pt x="2" y="68"/>
                    </a:lnTo>
                    <a:lnTo>
                      <a:pt x="0" y="51"/>
                    </a:lnTo>
                    <a:lnTo>
                      <a:pt x="2" y="35"/>
                    </a:lnTo>
                    <a:lnTo>
                      <a:pt x="10" y="21"/>
                    </a:lnTo>
                    <a:lnTo>
                      <a:pt x="20" y="10"/>
                    </a:lnTo>
                    <a:lnTo>
                      <a:pt x="34" y="3"/>
                    </a:lnTo>
                    <a:lnTo>
                      <a:pt x="50" y="0"/>
                    </a:lnTo>
                    <a:close/>
                  </a:path>
                </a:pathLst>
              </a:custGeom>
              <a:solidFill>
                <a:schemeClr val="accent5"/>
              </a:solidFill>
              <a:ln>
                <a:noFill/>
              </a:ln>
            </p:spPr>
            <p:txBody>
              <a:bodyPr/>
              <a:lstStyle/>
              <a:p>
                <a:endParaRPr lang="de-DE" dirty="0"/>
              </a:p>
            </p:txBody>
          </p:sp>
          <p:sp>
            <p:nvSpPr>
              <p:cNvPr id="1579" name="Freeform 339"/>
              <p:cNvSpPr>
                <a:spLocks/>
              </p:cNvSpPr>
              <p:nvPr/>
            </p:nvSpPr>
            <p:spPr bwMode="auto">
              <a:xfrm>
                <a:off x="11390232" y="5707637"/>
                <a:ext cx="41271" cy="14289"/>
              </a:xfrm>
              <a:custGeom>
                <a:avLst/>
                <a:gdLst>
                  <a:gd name="T0" fmla="*/ 43 w 268"/>
                  <a:gd name="T1" fmla="*/ 0 h 88"/>
                  <a:gd name="T2" fmla="*/ 225 w 268"/>
                  <a:gd name="T3" fmla="*/ 0 h 88"/>
                  <a:gd name="T4" fmla="*/ 238 w 268"/>
                  <a:gd name="T5" fmla="*/ 3 h 88"/>
                  <a:gd name="T6" fmla="*/ 250 w 268"/>
                  <a:gd name="T7" fmla="*/ 9 h 88"/>
                  <a:gd name="T8" fmla="*/ 260 w 268"/>
                  <a:gd name="T9" fmla="*/ 18 h 88"/>
                  <a:gd name="T10" fmla="*/ 266 w 268"/>
                  <a:gd name="T11" fmla="*/ 30 h 88"/>
                  <a:gd name="T12" fmla="*/ 268 w 268"/>
                  <a:gd name="T13" fmla="*/ 43 h 88"/>
                  <a:gd name="T14" fmla="*/ 266 w 268"/>
                  <a:gd name="T15" fmla="*/ 58 h 88"/>
                  <a:gd name="T16" fmla="*/ 260 w 268"/>
                  <a:gd name="T17" fmla="*/ 70 h 88"/>
                  <a:gd name="T18" fmla="*/ 250 w 268"/>
                  <a:gd name="T19" fmla="*/ 79 h 88"/>
                  <a:gd name="T20" fmla="*/ 238 w 268"/>
                  <a:gd name="T21" fmla="*/ 85 h 88"/>
                  <a:gd name="T22" fmla="*/ 225 w 268"/>
                  <a:gd name="T23" fmla="*/ 88 h 88"/>
                  <a:gd name="T24" fmla="*/ 43 w 268"/>
                  <a:gd name="T25" fmla="*/ 88 h 88"/>
                  <a:gd name="T26" fmla="*/ 30 w 268"/>
                  <a:gd name="T27" fmla="*/ 85 h 88"/>
                  <a:gd name="T28" fmla="*/ 18 w 268"/>
                  <a:gd name="T29" fmla="*/ 79 h 88"/>
                  <a:gd name="T30" fmla="*/ 8 w 268"/>
                  <a:gd name="T31" fmla="*/ 70 h 88"/>
                  <a:gd name="T32" fmla="*/ 2 w 268"/>
                  <a:gd name="T33" fmla="*/ 58 h 88"/>
                  <a:gd name="T34" fmla="*/ 0 w 268"/>
                  <a:gd name="T35" fmla="*/ 43 h 88"/>
                  <a:gd name="T36" fmla="*/ 2 w 268"/>
                  <a:gd name="T37" fmla="*/ 30 h 88"/>
                  <a:gd name="T38" fmla="*/ 8 w 268"/>
                  <a:gd name="T39" fmla="*/ 18 h 88"/>
                  <a:gd name="T40" fmla="*/ 18 w 268"/>
                  <a:gd name="T41" fmla="*/ 9 h 88"/>
                  <a:gd name="T42" fmla="*/ 30 w 268"/>
                  <a:gd name="T43" fmla="*/ 3 h 88"/>
                  <a:gd name="T44" fmla="*/ 43 w 268"/>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8" h="88">
                    <a:moveTo>
                      <a:pt x="43" y="0"/>
                    </a:moveTo>
                    <a:lnTo>
                      <a:pt x="225" y="0"/>
                    </a:lnTo>
                    <a:lnTo>
                      <a:pt x="238" y="3"/>
                    </a:lnTo>
                    <a:lnTo>
                      <a:pt x="250" y="9"/>
                    </a:lnTo>
                    <a:lnTo>
                      <a:pt x="260" y="18"/>
                    </a:lnTo>
                    <a:lnTo>
                      <a:pt x="266" y="30"/>
                    </a:lnTo>
                    <a:lnTo>
                      <a:pt x="268" y="43"/>
                    </a:lnTo>
                    <a:lnTo>
                      <a:pt x="266" y="58"/>
                    </a:lnTo>
                    <a:lnTo>
                      <a:pt x="260" y="70"/>
                    </a:lnTo>
                    <a:lnTo>
                      <a:pt x="250" y="79"/>
                    </a:lnTo>
                    <a:lnTo>
                      <a:pt x="238" y="85"/>
                    </a:lnTo>
                    <a:lnTo>
                      <a:pt x="225" y="88"/>
                    </a:lnTo>
                    <a:lnTo>
                      <a:pt x="43" y="88"/>
                    </a:lnTo>
                    <a:lnTo>
                      <a:pt x="30" y="85"/>
                    </a:lnTo>
                    <a:lnTo>
                      <a:pt x="18" y="79"/>
                    </a:lnTo>
                    <a:lnTo>
                      <a:pt x="8" y="70"/>
                    </a:lnTo>
                    <a:lnTo>
                      <a:pt x="2" y="58"/>
                    </a:lnTo>
                    <a:lnTo>
                      <a:pt x="0" y="43"/>
                    </a:lnTo>
                    <a:lnTo>
                      <a:pt x="2" y="30"/>
                    </a:lnTo>
                    <a:lnTo>
                      <a:pt x="8" y="18"/>
                    </a:lnTo>
                    <a:lnTo>
                      <a:pt x="18" y="9"/>
                    </a:lnTo>
                    <a:lnTo>
                      <a:pt x="30" y="3"/>
                    </a:lnTo>
                    <a:lnTo>
                      <a:pt x="43" y="0"/>
                    </a:lnTo>
                    <a:close/>
                  </a:path>
                </a:pathLst>
              </a:custGeom>
              <a:solidFill>
                <a:schemeClr val="accent5"/>
              </a:solidFill>
              <a:ln>
                <a:noFill/>
              </a:ln>
            </p:spPr>
            <p:txBody>
              <a:bodyPr/>
              <a:lstStyle/>
              <a:p>
                <a:endParaRPr lang="de-DE" dirty="0"/>
              </a:p>
            </p:txBody>
          </p:sp>
          <p:sp>
            <p:nvSpPr>
              <p:cNvPr id="1580" name="Freeform 340"/>
              <p:cNvSpPr>
                <a:spLocks/>
              </p:cNvSpPr>
              <p:nvPr/>
            </p:nvSpPr>
            <p:spPr bwMode="auto">
              <a:xfrm>
                <a:off x="10974348" y="5760031"/>
                <a:ext cx="53970" cy="15877"/>
              </a:xfrm>
              <a:custGeom>
                <a:avLst/>
                <a:gdLst>
                  <a:gd name="T0" fmla="*/ 50 w 344"/>
                  <a:gd name="T1" fmla="*/ 0 h 101"/>
                  <a:gd name="T2" fmla="*/ 294 w 344"/>
                  <a:gd name="T3" fmla="*/ 0 h 101"/>
                  <a:gd name="T4" fmla="*/ 309 w 344"/>
                  <a:gd name="T5" fmla="*/ 3 h 101"/>
                  <a:gd name="T6" fmla="*/ 324 w 344"/>
                  <a:gd name="T7" fmla="*/ 10 h 101"/>
                  <a:gd name="T8" fmla="*/ 335 w 344"/>
                  <a:gd name="T9" fmla="*/ 21 h 101"/>
                  <a:gd name="T10" fmla="*/ 341 w 344"/>
                  <a:gd name="T11" fmla="*/ 35 h 101"/>
                  <a:gd name="T12" fmla="*/ 344 w 344"/>
                  <a:gd name="T13" fmla="*/ 51 h 101"/>
                  <a:gd name="T14" fmla="*/ 341 w 344"/>
                  <a:gd name="T15" fmla="*/ 66 h 101"/>
                  <a:gd name="T16" fmla="*/ 335 w 344"/>
                  <a:gd name="T17" fmla="*/ 80 h 101"/>
                  <a:gd name="T18" fmla="*/ 324 w 344"/>
                  <a:gd name="T19" fmla="*/ 91 h 101"/>
                  <a:gd name="T20" fmla="*/ 309 w 344"/>
                  <a:gd name="T21" fmla="*/ 98 h 101"/>
                  <a:gd name="T22" fmla="*/ 294 w 344"/>
                  <a:gd name="T23" fmla="*/ 101 h 101"/>
                  <a:gd name="T24" fmla="*/ 50 w 344"/>
                  <a:gd name="T25" fmla="*/ 101 h 101"/>
                  <a:gd name="T26" fmla="*/ 35 w 344"/>
                  <a:gd name="T27" fmla="*/ 98 h 101"/>
                  <a:gd name="T28" fmla="*/ 21 w 344"/>
                  <a:gd name="T29" fmla="*/ 91 h 101"/>
                  <a:gd name="T30" fmla="*/ 9 w 344"/>
                  <a:gd name="T31" fmla="*/ 80 h 101"/>
                  <a:gd name="T32" fmla="*/ 3 w 344"/>
                  <a:gd name="T33" fmla="*/ 66 h 101"/>
                  <a:gd name="T34" fmla="*/ 0 w 344"/>
                  <a:gd name="T35" fmla="*/ 51 h 101"/>
                  <a:gd name="T36" fmla="*/ 3 w 344"/>
                  <a:gd name="T37" fmla="*/ 35 h 101"/>
                  <a:gd name="T38" fmla="*/ 9 w 344"/>
                  <a:gd name="T39" fmla="*/ 21 h 101"/>
                  <a:gd name="T40" fmla="*/ 21 w 344"/>
                  <a:gd name="T41" fmla="*/ 10 h 101"/>
                  <a:gd name="T42" fmla="*/ 35 w 344"/>
                  <a:gd name="T43" fmla="*/ 3 h 101"/>
                  <a:gd name="T44" fmla="*/ 50 w 344"/>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1">
                    <a:moveTo>
                      <a:pt x="50" y="0"/>
                    </a:moveTo>
                    <a:lnTo>
                      <a:pt x="294" y="0"/>
                    </a:lnTo>
                    <a:lnTo>
                      <a:pt x="309" y="3"/>
                    </a:lnTo>
                    <a:lnTo>
                      <a:pt x="324" y="10"/>
                    </a:lnTo>
                    <a:lnTo>
                      <a:pt x="335" y="21"/>
                    </a:lnTo>
                    <a:lnTo>
                      <a:pt x="341" y="35"/>
                    </a:lnTo>
                    <a:lnTo>
                      <a:pt x="344" y="51"/>
                    </a:lnTo>
                    <a:lnTo>
                      <a:pt x="341" y="66"/>
                    </a:lnTo>
                    <a:lnTo>
                      <a:pt x="335" y="80"/>
                    </a:lnTo>
                    <a:lnTo>
                      <a:pt x="324" y="91"/>
                    </a:lnTo>
                    <a:lnTo>
                      <a:pt x="309" y="98"/>
                    </a:lnTo>
                    <a:lnTo>
                      <a:pt x="294" y="101"/>
                    </a:lnTo>
                    <a:lnTo>
                      <a:pt x="50" y="101"/>
                    </a:lnTo>
                    <a:lnTo>
                      <a:pt x="35" y="98"/>
                    </a:lnTo>
                    <a:lnTo>
                      <a:pt x="21" y="91"/>
                    </a:lnTo>
                    <a:lnTo>
                      <a:pt x="9" y="80"/>
                    </a:lnTo>
                    <a:lnTo>
                      <a:pt x="3" y="66"/>
                    </a:lnTo>
                    <a:lnTo>
                      <a:pt x="0" y="51"/>
                    </a:lnTo>
                    <a:lnTo>
                      <a:pt x="3" y="35"/>
                    </a:lnTo>
                    <a:lnTo>
                      <a:pt x="9" y="21"/>
                    </a:lnTo>
                    <a:lnTo>
                      <a:pt x="21" y="10"/>
                    </a:lnTo>
                    <a:lnTo>
                      <a:pt x="35" y="3"/>
                    </a:lnTo>
                    <a:lnTo>
                      <a:pt x="50" y="0"/>
                    </a:lnTo>
                    <a:close/>
                  </a:path>
                </a:pathLst>
              </a:custGeom>
              <a:solidFill>
                <a:schemeClr val="accent5"/>
              </a:solidFill>
              <a:ln>
                <a:noFill/>
              </a:ln>
            </p:spPr>
            <p:txBody>
              <a:bodyPr/>
              <a:lstStyle/>
              <a:p>
                <a:endParaRPr lang="de-DE" dirty="0"/>
              </a:p>
            </p:txBody>
          </p:sp>
          <p:sp>
            <p:nvSpPr>
              <p:cNvPr id="1581" name="Freeform 341"/>
              <p:cNvSpPr>
                <a:spLocks/>
              </p:cNvSpPr>
              <p:nvPr/>
            </p:nvSpPr>
            <p:spPr bwMode="auto">
              <a:xfrm>
                <a:off x="11048953" y="5756856"/>
                <a:ext cx="50795" cy="15877"/>
              </a:xfrm>
              <a:custGeom>
                <a:avLst/>
                <a:gdLst>
                  <a:gd name="T0" fmla="*/ 48 w 312"/>
                  <a:gd name="T1" fmla="*/ 0 h 95"/>
                  <a:gd name="T2" fmla="*/ 265 w 312"/>
                  <a:gd name="T3" fmla="*/ 0 h 95"/>
                  <a:gd name="T4" fmla="*/ 279 w 312"/>
                  <a:gd name="T5" fmla="*/ 3 h 95"/>
                  <a:gd name="T6" fmla="*/ 292 w 312"/>
                  <a:gd name="T7" fmla="*/ 10 h 95"/>
                  <a:gd name="T8" fmla="*/ 302 w 312"/>
                  <a:gd name="T9" fmla="*/ 20 h 95"/>
                  <a:gd name="T10" fmla="*/ 309 w 312"/>
                  <a:gd name="T11" fmla="*/ 33 h 95"/>
                  <a:gd name="T12" fmla="*/ 312 w 312"/>
                  <a:gd name="T13" fmla="*/ 48 h 95"/>
                  <a:gd name="T14" fmla="*/ 309 w 312"/>
                  <a:gd name="T15" fmla="*/ 63 h 95"/>
                  <a:gd name="T16" fmla="*/ 302 w 312"/>
                  <a:gd name="T17" fmla="*/ 76 h 95"/>
                  <a:gd name="T18" fmla="*/ 292 w 312"/>
                  <a:gd name="T19" fmla="*/ 86 h 95"/>
                  <a:gd name="T20" fmla="*/ 279 w 312"/>
                  <a:gd name="T21" fmla="*/ 92 h 95"/>
                  <a:gd name="T22" fmla="*/ 265 w 312"/>
                  <a:gd name="T23" fmla="*/ 95 h 95"/>
                  <a:gd name="T24" fmla="*/ 48 w 312"/>
                  <a:gd name="T25" fmla="*/ 95 h 95"/>
                  <a:gd name="T26" fmla="*/ 32 w 312"/>
                  <a:gd name="T27" fmla="*/ 92 h 95"/>
                  <a:gd name="T28" fmla="*/ 20 w 312"/>
                  <a:gd name="T29" fmla="*/ 86 h 95"/>
                  <a:gd name="T30" fmla="*/ 9 w 312"/>
                  <a:gd name="T31" fmla="*/ 76 h 95"/>
                  <a:gd name="T32" fmla="*/ 2 w 312"/>
                  <a:gd name="T33" fmla="*/ 63 h 95"/>
                  <a:gd name="T34" fmla="*/ 0 w 312"/>
                  <a:gd name="T35" fmla="*/ 48 h 95"/>
                  <a:gd name="T36" fmla="*/ 2 w 312"/>
                  <a:gd name="T37" fmla="*/ 33 h 95"/>
                  <a:gd name="T38" fmla="*/ 9 w 312"/>
                  <a:gd name="T39" fmla="*/ 20 h 95"/>
                  <a:gd name="T40" fmla="*/ 20 w 312"/>
                  <a:gd name="T41" fmla="*/ 10 h 95"/>
                  <a:gd name="T42" fmla="*/ 32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5" y="0"/>
                    </a:lnTo>
                    <a:lnTo>
                      <a:pt x="279" y="3"/>
                    </a:lnTo>
                    <a:lnTo>
                      <a:pt x="292" y="10"/>
                    </a:lnTo>
                    <a:lnTo>
                      <a:pt x="302" y="20"/>
                    </a:lnTo>
                    <a:lnTo>
                      <a:pt x="309" y="33"/>
                    </a:lnTo>
                    <a:lnTo>
                      <a:pt x="312" y="48"/>
                    </a:lnTo>
                    <a:lnTo>
                      <a:pt x="309" y="63"/>
                    </a:lnTo>
                    <a:lnTo>
                      <a:pt x="302" y="76"/>
                    </a:lnTo>
                    <a:lnTo>
                      <a:pt x="292" y="86"/>
                    </a:lnTo>
                    <a:lnTo>
                      <a:pt x="279" y="92"/>
                    </a:lnTo>
                    <a:lnTo>
                      <a:pt x="265" y="95"/>
                    </a:lnTo>
                    <a:lnTo>
                      <a:pt x="48" y="95"/>
                    </a:lnTo>
                    <a:lnTo>
                      <a:pt x="32" y="92"/>
                    </a:lnTo>
                    <a:lnTo>
                      <a:pt x="20" y="86"/>
                    </a:lnTo>
                    <a:lnTo>
                      <a:pt x="9" y="76"/>
                    </a:lnTo>
                    <a:lnTo>
                      <a:pt x="2" y="63"/>
                    </a:lnTo>
                    <a:lnTo>
                      <a:pt x="0" y="48"/>
                    </a:lnTo>
                    <a:lnTo>
                      <a:pt x="2" y="33"/>
                    </a:lnTo>
                    <a:lnTo>
                      <a:pt x="9" y="20"/>
                    </a:lnTo>
                    <a:lnTo>
                      <a:pt x="20" y="10"/>
                    </a:lnTo>
                    <a:lnTo>
                      <a:pt x="32" y="3"/>
                    </a:lnTo>
                    <a:lnTo>
                      <a:pt x="48" y="0"/>
                    </a:lnTo>
                    <a:close/>
                  </a:path>
                </a:pathLst>
              </a:custGeom>
              <a:solidFill>
                <a:schemeClr val="accent5"/>
              </a:solidFill>
              <a:ln>
                <a:noFill/>
              </a:ln>
            </p:spPr>
            <p:txBody>
              <a:bodyPr/>
              <a:lstStyle/>
              <a:p>
                <a:endParaRPr lang="de-DE" dirty="0"/>
              </a:p>
            </p:txBody>
          </p:sp>
          <p:sp>
            <p:nvSpPr>
              <p:cNvPr id="1582" name="Freeform 342"/>
              <p:cNvSpPr>
                <a:spLocks/>
              </p:cNvSpPr>
              <p:nvPr/>
            </p:nvSpPr>
            <p:spPr bwMode="auto">
              <a:xfrm>
                <a:off x="11112447" y="5761619"/>
                <a:ext cx="49208" cy="14289"/>
              </a:xfrm>
              <a:custGeom>
                <a:avLst/>
                <a:gdLst>
                  <a:gd name="T0" fmla="*/ 48 w 310"/>
                  <a:gd name="T1" fmla="*/ 0 h 95"/>
                  <a:gd name="T2" fmla="*/ 262 w 310"/>
                  <a:gd name="T3" fmla="*/ 0 h 95"/>
                  <a:gd name="T4" fmla="*/ 278 w 310"/>
                  <a:gd name="T5" fmla="*/ 3 h 95"/>
                  <a:gd name="T6" fmla="*/ 290 w 310"/>
                  <a:gd name="T7" fmla="*/ 9 h 95"/>
                  <a:gd name="T8" fmla="*/ 301 w 310"/>
                  <a:gd name="T9" fmla="*/ 19 h 95"/>
                  <a:gd name="T10" fmla="*/ 308 w 310"/>
                  <a:gd name="T11" fmla="*/ 32 h 95"/>
                  <a:gd name="T12" fmla="*/ 310 w 310"/>
                  <a:gd name="T13" fmla="*/ 48 h 95"/>
                  <a:gd name="T14" fmla="*/ 308 w 310"/>
                  <a:gd name="T15" fmla="*/ 62 h 95"/>
                  <a:gd name="T16" fmla="*/ 301 w 310"/>
                  <a:gd name="T17" fmla="*/ 76 h 95"/>
                  <a:gd name="T18" fmla="*/ 290 w 310"/>
                  <a:gd name="T19" fmla="*/ 85 h 95"/>
                  <a:gd name="T20" fmla="*/ 278 w 310"/>
                  <a:gd name="T21" fmla="*/ 92 h 95"/>
                  <a:gd name="T22" fmla="*/ 262 w 310"/>
                  <a:gd name="T23" fmla="*/ 95 h 95"/>
                  <a:gd name="T24" fmla="*/ 48 w 310"/>
                  <a:gd name="T25" fmla="*/ 95 h 95"/>
                  <a:gd name="T26" fmla="*/ 32 w 310"/>
                  <a:gd name="T27" fmla="*/ 92 h 95"/>
                  <a:gd name="T28" fmla="*/ 19 w 310"/>
                  <a:gd name="T29" fmla="*/ 85 h 95"/>
                  <a:gd name="T30" fmla="*/ 9 w 310"/>
                  <a:gd name="T31" fmla="*/ 76 h 95"/>
                  <a:gd name="T32" fmla="*/ 2 w 310"/>
                  <a:gd name="T33" fmla="*/ 62 h 95"/>
                  <a:gd name="T34" fmla="*/ 0 w 310"/>
                  <a:gd name="T35" fmla="*/ 48 h 95"/>
                  <a:gd name="T36" fmla="*/ 2 w 310"/>
                  <a:gd name="T37" fmla="*/ 32 h 95"/>
                  <a:gd name="T38" fmla="*/ 9 w 310"/>
                  <a:gd name="T39" fmla="*/ 19 h 95"/>
                  <a:gd name="T40" fmla="*/ 19 w 310"/>
                  <a:gd name="T41" fmla="*/ 9 h 95"/>
                  <a:gd name="T42" fmla="*/ 32 w 310"/>
                  <a:gd name="T43" fmla="*/ 3 h 95"/>
                  <a:gd name="T44" fmla="*/ 48 w 310"/>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0" h="95">
                    <a:moveTo>
                      <a:pt x="48" y="0"/>
                    </a:moveTo>
                    <a:lnTo>
                      <a:pt x="262" y="0"/>
                    </a:lnTo>
                    <a:lnTo>
                      <a:pt x="278" y="3"/>
                    </a:lnTo>
                    <a:lnTo>
                      <a:pt x="290" y="9"/>
                    </a:lnTo>
                    <a:lnTo>
                      <a:pt x="301" y="19"/>
                    </a:lnTo>
                    <a:lnTo>
                      <a:pt x="308" y="32"/>
                    </a:lnTo>
                    <a:lnTo>
                      <a:pt x="310" y="48"/>
                    </a:lnTo>
                    <a:lnTo>
                      <a:pt x="308" y="62"/>
                    </a:lnTo>
                    <a:lnTo>
                      <a:pt x="301" y="76"/>
                    </a:lnTo>
                    <a:lnTo>
                      <a:pt x="290" y="85"/>
                    </a:lnTo>
                    <a:lnTo>
                      <a:pt x="278" y="92"/>
                    </a:lnTo>
                    <a:lnTo>
                      <a:pt x="262" y="95"/>
                    </a:lnTo>
                    <a:lnTo>
                      <a:pt x="48" y="95"/>
                    </a:lnTo>
                    <a:lnTo>
                      <a:pt x="32" y="92"/>
                    </a:lnTo>
                    <a:lnTo>
                      <a:pt x="19" y="85"/>
                    </a:lnTo>
                    <a:lnTo>
                      <a:pt x="9" y="76"/>
                    </a:lnTo>
                    <a:lnTo>
                      <a:pt x="2" y="62"/>
                    </a:lnTo>
                    <a:lnTo>
                      <a:pt x="0" y="48"/>
                    </a:lnTo>
                    <a:lnTo>
                      <a:pt x="2" y="32"/>
                    </a:lnTo>
                    <a:lnTo>
                      <a:pt x="9" y="19"/>
                    </a:lnTo>
                    <a:lnTo>
                      <a:pt x="19" y="9"/>
                    </a:lnTo>
                    <a:lnTo>
                      <a:pt x="32" y="3"/>
                    </a:lnTo>
                    <a:lnTo>
                      <a:pt x="48" y="0"/>
                    </a:lnTo>
                    <a:close/>
                  </a:path>
                </a:pathLst>
              </a:custGeom>
              <a:solidFill>
                <a:schemeClr val="accent5"/>
              </a:solidFill>
              <a:ln>
                <a:noFill/>
              </a:ln>
            </p:spPr>
            <p:txBody>
              <a:bodyPr/>
              <a:lstStyle/>
              <a:p>
                <a:endParaRPr lang="de-DE" dirty="0"/>
              </a:p>
            </p:txBody>
          </p:sp>
          <p:sp>
            <p:nvSpPr>
              <p:cNvPr id="1583" name="Freeform 343"/>
              <p:cNvSpPr>
                <a:spLocks/>
              </p:cNvSpPr>
              <p:nvPr/>
            </p:nvSpPr>
            <p:spPr bwMode="auto">
              <a:xfrm>
                <a:off x="11190227" y="5761619"/>
                <a:ext cx="39684" cy="12701"/>
              </a:xfrm>
              <a:custGeom>
                <a:avLst/>
                <a:gdLst>
                  <a:gd name="T0" fmla="*/ 41 w 249"/>
                  <a:gd name="T1" fmla="*/ 0 h 83"/>
                  <a:gd name="T2" fmla="*/ 207 w 249"/>
                  <a:gd name="T3" fmla="*/ 0 h 83"/>
                  <a:gd name="T4" fmla="*/ 223 w 249"/>
                  <a:gd name="T5" fmla="*/ 3 h 83"/>
                  <a:gd name="T6" fmla="*/ 237 w 249"/>
                  <a:gd name="T7" fmla="*/ 12 h 83"/>
                  <a:gd name="T8" fmla="*/ 246 w 249"/>
                  <a:gd name="T9" fmla="*/ 25 h 83"/>
                  <a:gd name="T10" fmla="*/ 249 w 249"/>
                  <a:gd name="T11" fmla="*/ 42 h 83"/>
                  <a:gd name="T12" fmla="*/ 246 w 249"/>
                  <a:gd name="T13" fmla="*/ 57 h 83"/>
                  <a:gd name="T14" fmla="*/ 237 w 249"/>
                  <a:gd name="T15" fmla="*/ 71 h 83"/>
                  <a:gd name="T16" fmla="*/ 223 w 249"/>
                  <a:gd name="T17" fmla="*/ 80 h 83"/>
                  <a:gd name="T18" fmla="*/ 207 w 249"/>
                  <a:gd name="T19" fmla="*/ 83 h 83"/>
                  <a:gd name="T20" fmla="*/ 41 w 249"/>
                  <a:gd name="T21" fmla="*/ 83 h 83"/>
                  <a:gd name="T22" fmla="*/ 25 w 249"/>
                  <a:gd name="T23" fmla="*/ 80 h 83"/>
                  <a:gd name="T24" fmla="*/ 12 w 249"/>
                  <a:gd name="T25" fmla="*/ 71 h 83"/>
                  <a:gd name="T26" fmla="*/ 3 w 249"/>
                  <a:gd name="T27" fmla="*/ 57 h 83"/>
                  <a:gd name="T28" fmla="*/ 0 w 249"/>
                  <a:gd name="T29" fmla="*/ 42 h 83"/>
                  <a:gd name="T30" fmla="*/ 3 w 249"/>
                  <a:gd name="T31" fmla="*/ 25 h 83"/>
                  <a:gd name="T32" fmla="*/ 12 w 249"/>
                  <a:gd name="T33" fmla="*/ 12 h 83"/>
                  <a:gd name="T34" fmla="*/ 25 w 249"/>
                  <a:gd name="T35" fmla="*/ 3 h 83"/>
                  <a:gd name="T36" fmla="*/ 41 w 249"/>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83">
                    <a:moveTo>
                      <a:pt x="41" y="0"/>
                    </a:moveTo>
                    <a:lnTo>
                      <a:pt x="207" y="0"/>
                    </a:lnTo>
                    <a:lnTo>
                      <a:pt x="223" y="3"/>
                    </a:lnTo>
                    <a:lnTo>
                      <a:pt x="237" y="12"/>
                    </a:lnTo>
                    <a:lnTo>
                      <a:pt x="246" y="25"/>
                    </a:lnTo>
                    <a:lnTo>
                      <a:pt x="249" y="42"/>
                    </a:lnTo>
                    <a:lnTo>
                      <a:pt x="246" y="57"/>
                    </a:lnTo>
                    <a:lnTo>
                      <a:pt x="237" y="71"/>
                    </a:lnTo>
                    <a:lnTo>
                      <a:pt x="223" y="80"/>
                    </a:lnTo>
                    <a:lnTo>
                      <a:pt x="207" y="83"/>
                    </a:lnTo>
                    <a:lnTo>
                      <a:pt x="41" y="83"/>
                    </a:lnTo>
                    <a:lnTo>
                      <a:pt x="25" y="80"/>
                    </a:lnTo>
                    <a:lnTo>
                      <a:pt x="12" y="71"/>
                    </a:lnTo>
                    <a:lnTo>
                      <a:pt x="3" y="57"/>
                    </a:lnTo>
                    <a:lnTo>
                      <a:pt x="0" y="42"/>
                    </a:lnTo>
                    <a:lnTo>
                      <a:pt x="3" y="25"/>
                    </a:lnTo>
                    <a:lnTo>
                      <a:pt x="12" y="12"/>
                    </a:lnTo>
                    <a:lnTo>
                      <a:pt x="25" y="3"/>
                    </a:lnTo>
                    <a:lnTo>
                      <a:pt x="41" y="0"/>
                    </a:lnTo>
                    <a:close/>
                  </a:path>
                </a:pathLst>
              </a:custGeom>
              <a:solidFill>
                <a:schemeClr val="accent5"/>
              </a:solidFill>
              <a:ln>
                <a:noFill/>
              </a:ln>
            </p:spPr>
            <p:txBody>
              <a:bodyPr/>
              <a:lstStyle/>
              <a:p>
                <a:endParaRPr lang="de-DE" dirty="0"/>
              </a:p>
            </p:txBody>
          </p:sp>
          <p:sp>
            <p:nvSpPr>
              <p:cNvPr id="1584" name="Freeform 344"/>
              <p:cNvSpPr>
                <a:spLocks/>
              </p:cNvSpPr>
              <p:nvPr/>
            </p:nvSpPr>
            <p:spPr bwMode="auto">
              <a:xfrm>
                <a:off x="11245784" y="5755268"/>
                <a:ext cx="50795" cy="15877"/>
              </a:xfrm>
              <a:custGeom>
                <a:avLst/>
                <a:gdLst>
                  <a:gd name="T0" fmla="*/ 48 w 323"/>
                  <a:gd name="T1" fmla="*/ 0 h 97"/>
                  <a:gd name="T2" fmla="*/ 274 w 323"/>
                  <a:gd name="T3" fmla="*/ 0 h 97"/>
                  <a:gd name="T4" fmla="*/ 290 w 323"/>
                  <a:gd name="T5" fmla="*/ 2 h 97"/>
                  <a:gd name="T6" fmla="*/ 303 w 323"/>
                  <a:gd name="T7" fmla="*/ 9 h 97"/>
                  <a:gd name="T8" fmla="*/ 313 w 323"/>
                  <a:gd name="T9" fmla="*/ 20 h 97"/>
                  <a:gd name="T10" fmla="*/ 321 w 323"/>
                  <a:gd name="T11" fmla="*/ 33 h 97"/>
                  <a:gd name="T12" fmla="*/ 323 w 323"/>
                  <a:gd name="T13" fmla="*/ 48 h 97"/>
                  <a:gd name="T14" fmla="*/ 321 w 323"/>
                  <a:gd name="T15" fmla="*/ 64 h 97"/>
                  <a:gd name="T16" fmla="*/ 313 w 323"/>
                  <a:gd name="T17" fmla="*/ 77 h 97"/>
                  <a:gd name="T18" fmla="*/ 303 w 323"/>
                  <a:gd name="T19" fmla="*/ 87 h 97"/>
                  <a:gd name="T20" fmla="*/ 290 w 323"/>
                  <a:gd name="T21" fmla="*/ 94 h 97"/>
                  <a:gd name="T22" fmla="*/ 274 w 323"/>
                  <a:gd name="T23" fmla="*/ 97 h 97"/>
                  <a:gd name="T24" fmla="*/ 48 w 323"/>
                  <a:gd name="T25" fmla="*/ 97 h 97"/>
                  <a:gd name="T26" fmla="*/ 33 w 323"/>
                  <a:gd name="T27" fmla="*/ 94 h 97"/>
                  <a:gd name="T28" fmla="*/ 20 w 323"/>
                  <a:gd name="T29" fmla="*/ 87 h 97"/>
                  <a:gd name="T30" fmla="*/ 9 w 323"/>
                  <a:gd name="T31" fmla="*/ 77 h 97"/>
                  <a:gd name="T32" fmla="*/ 2 w 323"/>
                  <a:gd name="T33" fmla="*/ 64 h 97"/>
                  <a:gd name="T34" fmla="*/ 0 w 323"/>
                  <a:gd name="T35" fmla="*/ 48 h 97"/>
                  <a:gd name="T36" fmla="*/ 2 w 323"/>
                  <a:gd name="T37" fmla="*/ 33 h 97"/>
                  <a:gd name="T38" fmla="*/ 9 w 323"/>
                  <a:gd name="T39" fmla="*/ 20 h 97"/>
                  <a:gd name="T40" fmla="*/ 20 w 323"/>
                  <a:gd name="T41" fmla="*/ 9 h 97"/>
                  <a:gd name="T42" fmla="*/ 33 w 323"/>
                  <a:gd name="T43" fmla="*/ 2 h 97"/>
                  <a:gd name="T44" fmla="*/ 48 w 323"/>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3" h="97">
                    <a:moveTo>
                      <a:pt x="48" y="0"/>
                    </a:moveTo>
                    <a:lnTo>
                      <a:pt x="274" y="0"/>
                    </a:lnTo>
                    <a:lnTo>
                      <a:pt x="290" y="2"/>
                    </a:lnTo>
                    <a:lnTo>
                      <a:pt x="303" y="9"/>
                    </a:lnTo>
                    <a:lnTo>
                      <a:pt x="313" y="20"/>
                    </a:lnTo>
                    <a:lnTo>
                      <a:pt x="321" y="33"/>
                    </a:lnTo>
                    <a:lnTo>
                      <a:pt x="323" y="48"/>
                    </a:lnTo>
                    <a:lnTo>
                      <a:pt x="321" y="64"/>
                    </a:lnTo>
                    <a:lnTo>
                      <a:pt x="313" y="77"/>
                    </a:lnTo>
                    <a:lnTo>
                      <a:pt x="303" y="87"/>
                    </a:lnTo>
                    <a:lnTo>
                      <a:pt x="290" y="94"/>
                    </a:lnTo>
                    <a:lnTo>
                      <a:pt x="274" y="97"/>
                    </a:lnTo>
                    <a:lnTo>
                      <a:pt x="48" y="97"/>
                    </a:lnTo>
                    <a:lnTo>
                      <a:pt x="33" y="94"/>
                    </a:lnTo>
                    <a:lnTo>
                      <a:pt x="20" y="87"/>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1585" name="Freeform 345"/>
              <p:cNvSpPr>
                <a:spLocks/>
              </p:cNvSpPr>
              <p:nvPr/>
            </p:nvSpPr>
            <p:spPr bwMode="auto">
              <a:xfrm>
                <a:off x="11310865" y="5755268"/>
                <a:ext cx="57144" cy="15877"/>
              </a:xfrm>
              <a:custGeom>
                <a:avLst/>
                <a:gdLst>
                  <a:gd name="T0" fmla="*/ 52 w 356"/>
                  <a:gd name="T1" fmla="*/ 0 h 102"/>
                  <a:gd name="T2" fmla="*/ 304 w 356"/>
                  <a:gd name="T3" fmla="*/ 0 h 102"/>
                  <a:gd name="T4" fmla="*/ 321 w 356"/>
                  <a:gd name="T5" fmla="*/ 3 h 102"/>
                  <a:gd name="T6" fmla="*/ 335 w 356"/>
                  <a:gd name="T7" fmla="*/ 10 h 102"/>
                  <a:gd name="T8" fmla="*/ 346 w 356"/>
                  <a:gd name="T9" fmla="*/ 21 h 102"/>
                  <a:gd name="T10" fmla="*/ 353 w 356"/>
                  <a:gd name="T11" fmla="*/ 35 h 102"/>
                  <a:gd name="T12" fmla="*/ 356 w 356"/>
                  <a:gd name="T13" fmla="*/ 51 h 102"/>
                  <a:gd name="T14" fmla="*/ 353 w 356"/>
                  <a:gd name="T15" fmla="*/ 68 h 102"/>
                  <a:gd name="T16" fmla="*/ 346 w 356"/>
                  <a:gd name="T17" fmla="*/ 81 h 102"/>
                  <a:gd name="T18" fmla="*/ 335 w 356"/>
                  <a:gd name="T19" fmla="*/ 92 h 102"/>
                  <a:gd name="T20" fmla="*/ 321 w 356"/>
                  <a:gd name="T21" fmla="*/ 100 h 102"/>
                  <a:gd name="T22" fmla="*/ 304 w 356"/>
                  <a:gd name="T23" fmla="*/ 102 h 102"/>
                  <a:gd name="T24" fmla="*/ 52 w 356"/>
                  <a:gd name="T25" fmla="*/ 102 h 102"/>
                  <a:gd name="T26" fmla="*/ 35 w 356"/>
                  <a:gd name="T27" fmla="*/ 100 h 102"/>
                  <a:gd name="T28" fmla="*/ 21 w 356"/>
                  <a:gd name="T29" fmla="*/ 92 h 102"/>
                  <a:gd name="T30" fmla="*/ 10 w 356"/>
                  <a:gd name="T31" fmla="*/ 81 h 102"/>
                  <a:gd name="T32" fmla="*/ 3 w 356"/>
                  <a:gd name="T33" fmla="*/ 68 h 102"/>
                  <a:gd name="T34" fmla="*/ 0 w 356"/>
                  <a:gd name="T35" fmla="*/ 51 h 102"/>
                  <a:gd name="T36" fmla="*/ 3 w 356"/>
                  <a:gd name="T37" fmla="*/ 35 h 102"/>
                  <a:gd name="T38" fmla="*/ 10 w 356"/>
                  <a:gd name="T39" fmla="*/ 21 h 102"/>
                  <a:gd name="T40" fmla="*/ 21 w 356"/>
                  <a:gd name="T41" fmla="*/ 10 h 102"/>
                  <a:gd name="T42" fmla="*/ 35 w 356"/>
                  <a:gd name="T43" fmla="*/ 3 h 102"/>
                  <a:gd name="T44" fmla="*/ 52 w 356"/>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6" h="102">
                    <a:moveTo>
                      <a:pt x="52" y="0"/>
                    </a:moveTo>
                    <a:lnTo>
                      <a:pt x="304" y="0"/>
                    </a:lnTo>
                    <a:lnTo>
                      <a:pt x="321" y="3"/>
                    </a:lnTo>
                    <a:lnTo>
                      <a:pt x="335" y="10"/>
                    </a:lnTo>
                    <a:lnTo>
                      <a:pt x="346" y="21"/>
                    </a:lnTo>
                    <a:lnTo>
                      <a:pt x="353" y="35"/>
                    </a:lnTo>
                    <a:lnTo>
                      <a:pt x="356" y="51"/>
                    </a:lnTo>
                    <a:lnTo>
                      <a:pt x="353" y="68"/>
                    </a:lnTo>
                    <a:lnTo>
                      <a:pt x="346" y="81"/>
                    </a:lnTo>
                    <a:lnTo>
                      <a:pt x="335" y="92"/>
                    </a:lnTo>
                    <a:lnTo>
                      <a:pt x="321" y="100"/>
                    </a:lnTo>
                    <a:lnTo>
                      <a:pt x="304" y="102"/>
                    </a:lnTo>
                    <a:lnTo>
                      <a:pt x="52" y="102"/>
                    </a:lnTo>
                    <a:lnTo>
                      <a:pt x="35" y="100"/>
                    </a:lnTo>
                    <a:lnTo>
                      <a:pt x="21" y="92"/>
                    </a:lnTo>
                    <a:lnTo>
                      <a:pt x="10" y="81"/>
                    </a:lnTo>
                    <a:lnTo>
                      <a:pt x="3" y="68"/>
                    </a:lnTo>
                    <a:lnTo>
                      <a:pt x="0" y="51"/>
                    </a:lnTo>
                    <a:lnTo>
                      <a:pt x="3" y="35"/>
                    </a:lnTo>
                    <a:lnTo>
                      <a:pt x="10" y="21"/>
                    </a:lnTo>
                    <a:lnTo>
                      <a:pt x="21" y="10"/>
                    </a:lnTo>
                    <a:lnTo>
                      <a:pt x="35" y="3"/>
                    </a:lnTo>
                    <a:lnTo>
                      <a:pt x="52" y="0"/>
                    </a:lnTo>
                    <a:close/>
                  </a:path>
                </a:pathLst>
              </a:custGeom>
              <a:solidFill>
                <a:schemeClr val="accent5"/>
              </a:solidFill>
              <a:ln>
                <a:noFill/>
              </a:ln>
            </p:spPr>
            <p:txBody>
              <a:bodyPr/>
              <a:lstStyle/>
              <a:p>
                <a:endParaRPr lang="de-DE" dirty="0"/>
              </a:p>
            </p:txBody>
          </p:sp>
          <p:sp>
            <p:nvSpPr>
              <p:cNvPr id="1586" name="Freeform 346"/>
              <p:cNvSpPr>
                <a:spLocks/>
              </p:cNvSpPr>
              <p:nvPr/>
            </p:nvSpPr>
            <p:spPr bwMode="auto">
              <a:xfrm>
                <a:off x="11396581" y="5756856"/>
                <a:ext cx="44446" cy="14289"/>
              </a:xfrm>
              <a:custGeom>
                <a:avLst/>
                <a:gdLst>
                  <a:gd name="T0" fmla="*/ 44 w 282"/>
                  <a:gd name="T1" fmla="*/ 0 h 89"/>
                  <a:gd name="T2" fmla="*/ 238 w 282"/>
                  <a:gd name="T3" fmla="*/ 0 h 89"/>
                  <a:gd name="T4" fmla="*/ 252 w 282"/>
                  <a:gd name="T5" fmla="*/ 2 h 89"/>
                  <a:gd name="T6" fmla="*/ 265 w 282"/>
                  <a:gd name="T7" fmla="*/ 9 h 89"/>
                  <a:gd name="T8" fmla="*/ 274 w 282"/>
                  <a:gd name="T9" fmla="*/ 19 h 89"/>
                  <a:gd name="T10" fmla="*/ 280 w 282"/>
                  <a:gd name="T11" fmla="*/ 31 h 89"/>
                  <a:gd name="T12" fmla="*/ 282 w 282"/>
                  <a:gd name="T13" fmla="*/ 44 h 89"/>
                  <a:gd name="T14" fmla="*/ 280 w 282"/>
                  <a:gd name="T15" fmla="*/ 58 h 89"/>
                  <a:gd name="T16" fmla="*/ 274 w 282"/>
                  <a:gd name="T17" fmla="*/ 71 h 89"/>
                  <a:gd name="T18" fmla="*/ 265 w 282"/>
                  <a:gd name="T19" fmla="*/ 80 h 89"/>
                  <a:gd name="T20" fmla="*/ 252 w 282"/>
                  <a:gd name="T21" fmla="*/ 87 h 89"/>
                  <a:gd name="T22" fmla="*/ 238 w 282"/>
                  <a:gd name="T23" fmla="*/ 89 h 89"/>
                  <a:gd name="T24" fmla="*/ 44 w 282"/>
                  <a:gd name="T25" fmla="*/ 89 h 89"/>
                  <a:gd name="T26" fmla="*/ 30 w 282"/>
                  <a:gd name="T27" fmla="*/ 87 h 89"/>
                  <a:gd name="T28" fmla="*/ 18 w 282"/>
                  <a:gd name="T29" fmla="*/ 80 h 89"/>
                  <a:gd name="T30" fmla="*/ 9 w 282"/>
                  <a:gd name="T31" fmla="*/ 71 h 89"/>
                  <a:gd name="T32" fmla="*/ 2 w 282"/>
                  <a:gd name="T33" fmla="*/ 58 h 89"/>
                  <a:gd name="T34" fmla="*/ 0 w 282"/>
                  <a:gd name="T35" fmla="*/ 44 h 89"/>
                  <a:gd name="T36" fmla="*/ 2 w 282"/>
                  <a:gd name="T37" fmla="*/ 31 h 89"/>
                  <a:gd name="T38" fmla="*/ 9 w 282"/>
                  <a:gd name="T39" fmla="*/ 19 h 89"/>
                  <a:gd name="T40" fmla="*/ 18 w 282"/>
                  <a:gd name="T41" fmla="*/ 9 h 89"/>
                  <a:gd name="T42" fmla="*/ 30 w 282"/>
                  <a:gd name="T43" fmla="*/ 2 h 89"/>
                  <a:gd name="T44" fmla="*/ 44 w 282"/>
                  <a:gd name="T45"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2" h="89">
                    <a:moveTo>
                      <a:pt x="44" y="0"/>
                    </a:moveTo>
                    <a:lnTo>
                      <a:pt x="238" y="0"/>
                    </a:lnTo>
                    <a:lnTo>
                      <a:pt x="252" y="2"/>
                    </a:lnTo>
                    <a:lnTo>
                      <a:pt x="265" y="9"/>
                    </a:lnTo>
                    <a:lnTo>
                      <a:pt x="274" y="19"/>
                    </a:lnTo>
                    <a:lnTo>
                      <a:pt x="280" y="31"/>
                    </a:lnTo>
                    <a:lnTo>
                      <a:pt x="282" y="44"/>
                    </a:lnTo>
                    <a:lnTo>
                      <a:pt x="280" y="58"/>
                    </a:lnTo>
                    <a:lnTo>
                      <a:pt x="274" y="71"/>
                    </a:lnTo>
                    <a:lnTo>
                      <a:pt x="265" y="80"/>
                    </a:lnTo>
                    <a:lnTo>
                      <a:pt x="252" y="87"/>
                    </a:lnTo>
                    <a:lnTo>
                      <a:pt x="238" y="89"/>
                    </a:lnTo>
                    <a:lnTo>
                      <a:pt x="44" y="89"/>
                    </a:lnTo>
                    <a:lnTo>
                      <a:pt x="30" y="87"/>
                    </a:lnTo>
                    <a:lnTo>
                      <a:pt x="18" y="80"/>
                    </a:lnTo>
                    <a:lnTo>
                      <a:pt x="9" y="71"/>
                    </a:lnTo>
                    <a:lnTo>
                      <a:pt x="2" y="58"/>
                    </a:lnTo>
                    <a:lnTo>
                      <a:pt x="0" y="44"/>
                    </a:lnTo>
                    <a:lnTo>
                      <a:pt x="2" y="31"/>
                    </a:lnTo>
                    <a:lnTo>
                      <a:pt x="9" y="19"/>
                    </a:lnTo>
                    <a:lnTo>
                      <a:pt x="18" y="9"/>
                    </a:lnTo>
                    <a:lnTo>
                      <a:pt x="30" y="2"/>
                    </a:lnTo>
                    <a:lnTo>
                      <a:pt x="44" y="0"/>
                    </a:lnTo>
                    <a:close/>
                  </a:path>
                </a:pathLst>
              </a:custGeom>
              <a:solidFill>
                <a:schemeClr val="accent5"/>
              </a:solidFill>
              <a:ln>
                <a:noFill/>
              </a:ln>
            </p:spPr>
            <p:txBody>
              <a:bodyPr/>
              <a:lstStyle/>
              <a:p>
                <a:endParaRPr lang="de-DE" dirty="0"/>
              </a:p>
            </p:txBody>
          </p:sp>
          <p:sp>
            <p:nvSpPr>
              <p:cNvPr id="1587" name="Freeform 347"/>
              <p:cNvSpPr>
                <a:spLocks/>
              </p:cNvSpPr>
              <p:nvPr/>
            </p:nvSpPr>
            <p:spPr bwMode="auto">
              <a:xfrm>
                <a:off x="10975935" y="5815600"/>
                <a:ext cx="42858" cy="14289"/>
              </a:xfrm>
              <a:custGeom>
                <a:avLst/>
                <a:gdLst>
                  <a:gd name="T0" fmla="*/ 44 w 273"/>
                  <a:gd name="T1" fmla="*/ 0 h 88"/>
                  <a:gd name="T2" fmla="*/ 228 w 273"/>
                  <a:gd name="T3" fmla="*/ 0 h 88"/>
                  <a:gd name="T4" fmla="*/ 243 w 273"/>
                  <a:gd name="T5" fmla="*/ 3 h 88"/>
                  <a:gd name="T6" fmla="*/ 255 w 273"/>
                  <a:gd name="T7" fmla="*/ 9 h 88"/>
                  <a:gd name="T8" fmla="*/ 264 w 273"/>
                  <a:gd name="T9" fmla="*/ 18 h 88"/>
                  <a:gd name="T10" fmla="*/ 270 w 273"/>
                  <a:gd name="T11" fmla="*/ 30 h 88"/>
                  <a:gd name="T12" fmla="*/ 273 w 273"/>
                  <a:gd name="T13" fmla="*/ 45 h 88"/>
                  <a:gd name="T14" fmla="*/ 270 w 273"/>
                  <a:gd name="T15" fmla="*/ 58 h 88"/>
                  <a:gd name="T16" fmla="*/ 264 w 273"/>
                  <a:gd name="T17" fmla="*/ 70 h 88"/>
                  <a:gd name="T18" fmla="*/ 255 w 273"/>
                  <a:gd name="T19" fmla="*/ 80 h 88"/>
                  <a:gd name="T20" fmla="*/ 243 w 273"/>
                  <a:gd name="T21" fmla="*/ 86 h 88"/>
                  <a:gd name="T22" fmla="*/ 228 w 273"/>
                  <a:gd name="T23" fmla="*/ 88 h 88"/>
                  <a:gd name="T24" fmla="*/ 44 w 273"/>
                  <a:gd name="T25" fmla="*/ 88 h 88"/>
                  <a:gd name="T26" fmla="*/ 30 w 273"/>
                  <a:gd name="T27" fmla="*/ 86 h 88"/>
                  <a:gd name="T28" fmla="*/ 18 w 273"/>
                  <a:gd name="T29" fmla="*/ 80 h 88"/>
                  <a:gd name="T30" fmla="*/ 8 w 273"/>
                  <a:gd name="T31" fmla="*/ 70 h 88"/>
                  <a:gd name="T32" fmla="*/ 3 w 273"/>
                  <a:gd name="T33" fmla="*/ 58 h 88"/>
                  <a:gd name="T34" fmla="*/ 0 w 273"/>
                  <a:gd name="T35" fmla="*/ 45 h 88"/>
                  <a:gd name="T36" fmla="*/ 3 w 273"/>
                  <a:gd name="T37" fmla="*/ 30 h 88"/>
                  <a:gd name="T38" fmla="*/ 8 w 273"/>
                  <a:gd name="T39" fmla="*/ 18 h 88"/>
                  <a:gd name="T40" fmla="*/ 18 w 273"/>
                  <a:gd name="T41" fmla="*/ 9 h 88"/>
                  <a:gd name="T42" fmla="*/ 30 w 273"/>
                  <a:gd name="T43" fmla="*/ 3 h 88"/>
                  <a:gd name="T44" fmla="*/ 44 w 273"/>
                  <a:gd name="T4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88">
                    <a:moveTo>
                      <a:pt x="44" y="0"/>
                    </a:moveTo>
                    <a:lnTo>
                      <a:pt x="228" y="0"/>
                    </a:lnTo>
                    <a:lnTo>
                      <a:pt x="243" y="3"/>
                    </a:lnTo>
                    <a:lnTo>
                      <a:pt x="255" y="9"/>
                    </a:lnTo>
                    <a:lnTo>
                      <a:pt x="264" y="18"/>
                    </a:lnTo>
                    <a:lnTo>
                      <a:pt x="270" y="30"/>
                    </a:lnTo>
                    <a:lnTo>
                      <a:pt x="273" y="45"/>
                    </a:lnTo>
                    <a:lnTo>
                      <a:pt x="270" y="58"/>
                    </a:lnTo>
                    <a:lnTo>
                      <a:pt x="264" y="70"/>
                    </a:lnTo>
                    <a:lnTo>
                      <a:pt x="255" y="80"/>
                    </a:lnTo>
                    <a:lnTo>
                      <a:pt x="243" y="86"/>
                    </a:lnTo>
                    <a:lnTo>
                      <a:pt x="228" y="88"/>
                    </a:lnTo>
                    <a:lnTo>
                      <a:pt x="44" y="88"/>
                    </a:lnTo>
                    <a:lnTo>
                      <a:pt x="30" y="86"/>
                    </a:lnTo>
                    <a:lnTo>
                      <a:pt x="18" y="80"/>
                    </a:lnTo>
                    <a:lnTo>
                      <a:pt x="8" y="70"/>
                    </a:lnTo>
                    <a:lnTo>
                      <a:pt x="3" y="58"/>
                    </a:lnTo>
                    <a:lnTo>
                      <a:pt x="0" y="45"/>
                    </a:lnTo>
                    <a:lnTo>
                      <a:pt x="3" y="30"/>
                    </a:lnTo>
                    <a:lnTo>
                      <a:pt x="8" y="18"/>
                    </a:lnTo>
                    <a:lnTo>
                      <a:pt x="18" y="9"/>
                    </a:lnTo>
                    <a:lnTo>
                      <a:pt x="30" y="3"/>
                    </a:lnTo>
                    <a:lnTo>
                      <a:pt x="44" y="0"/>
                    </a:lnTo>
                    <a:close/>
                  </a:path>
                </a:pathLst>
              </a:custGeom>
              <a:solidFill>
                <a:schemeClr val="accent5"/>
              </a:solidFill>
              <a:ln>
                <a:noFill/>
              </a:ln>
            </p:spPr>
            <p:txBody>
              <a:bodyPr/>
              <a:lstStyle/>
              <a:p>
                <a:endParaRPr lang="de-DE" dirty="0"/>
              </a:p>
            </p:txBody>
          </p:sp>
          <p:sp>
            <p:nvSpPr>
              <p:cNvPr id="1588" name="Freeform 348"/>
              <p:cNvSpPr>
                <a:spLocks/>
              </p:cNvSpPr>
              <p:nvPr/>
            </p:nvSpPr>
            <p:spPr bwMode="auto">
              <a:xfrm>
                <a:off x="11045778" y="5810837"/>
                <a:ext cx="52382" cy="15877"/>
              </a:xfrm>
              <a:custGeom>
                <a:avLst/>
                <a:gdLst>
                  <a:gd name="T0" fmla="*/ 48 w 327"/>
                  <a:gd name="T1" fmla="*/ 0 h 97"/>
                  <a:gd name="T2" fmla="*/ 279 w 327"/>
                  <a:gd name="T3" fmla="*/ 0 h 97"/>
                  <a:gd name="T4" fmla="*/ 294 w 327"/>
                  <a:gd name="T5" fmla="*/ 2 h 97"/>
                  <a:gd name="T6" fmla="*/ 307 w 327"/>
                  <a:gd name="T7" fmla="*/ 9 h 97"/>
                  <a:gd name="T8" fmla="*/ 317 w 327"/>
                  <a:gd name="T9" fmla="*/ 20 h 97"/>
                  <a:gd name="T10" fmla="*/ 325 w 327"/>
                  <a:gd name="T11" fmla="*/ 33 h 97"/>
                  <a:gd name="T12" fmla="*/ 327 w 327"/>
                  <a:gd name="T13" fmla="*/ 48 h 97"/>
                  <a:gd name="T14" fmla="*/ 325 w 327"/>
                  <a:gd name="T15" fmla="*/ 64 h 97"/>
                  <a:gd name="T16" fmla="*/ 317 w 327"/>
                  <a:gd name="T17" fmla="*/ 77 h 97"/>
                  <a:gd name="T18" fmla="*/ 307 w 327"/>
                  <a:gd name="T19" fmla="*/ 88 h 97"/>
                  <a:gd name="T20" fmla="*/ 294 w 327"/>
                  <a:gd name="T21" fmla="*/ 95 h 97"/>
                  <a:gd name="T22" fmla="*/ 279 w 327"/>
                  <a:gd name="T23" fmla="*/ 97 h 97"/>
                  <a:gd name="T24" fmla="*/ 48 w 327"/>
                  <a:gd name="T25" fmla="*/ 97 h 97"/>
                  <a:gd name="T26" fmla="*/ 33 w 327"/>
                  <a:gd name="T27" fmla="*/ 95 h 97"/>
                  <a:gd name="T28" fmla="*/ 20 w 327"/>
                  <a:gd name="T29" fmla="*/ 88 h 97"/>
                  <a:gd name="T30" fmla="*/ 9 w 327"/>
                  <a:gd name="T31" fmla="*/ 77 h 97"/>
                  <a:gd name="T32" fmla="*/ 2 w 327"/>
                  <a:gd name="T33" fmla="*/ 64 h 97"/>
                  <a:gd name="T34" fmla="*/ 0 w 327"/>
                  <a:gd name="T35" fmla="*/ 48 h 97"/>
                  <a:gd name="T36" fmla="*/ 2 w 327"/>
                  <a:gd name="T37" fmla="*/ 33 h 97"/>
                  <a:gd name="T38" fmla="*/ 9 w 327"/>
                  <a:gd name="T39" fmla="*/ 20 h 97"/>
                  <a:gd name="T40" fmla="*/ 20 w 327"/>
                  <a:gd name="T41" fmla="*/ 9 h 97"/>
                  <a:gd name="T42" fmla="*/ 33 w 327"/>
                  <a:gd name="T43" fmla="*/ 2 h 97"/>
                  <a:gd name="T44" fmla="*/ 48 w 327"/>
                  <a:gd name="T4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7" h="97">
                    <a:moveTo>
                      <a:pt x="48" y="0"/>
                    </a:moveTo>
                    <a:lnTo>
                      <a:pt x="279" y="0"/>
                    </a:lnTo>
                    <a:lnTo>
                      <a:pt x="294" y="2"/>
                    </a:lnTo>
                    <a:lnTo>
                      <a:pt x="307" y="9"/>
                    </a:lnTo>
                    <a:lnTo>
                      <a:pt x="317" y="20"/>
                    </a:lnTo>
                    <a:lnTo>
                      <a:pt x="325" y="33"/>
                    </a:lnTo>
                    <a:lnTo>
                      <a:pt x="327" y="48"/>
                    </a:lnTo>
                    <a:lnTo>
                      <a:pt x="325" y="64"/>
                    </a:lnTo>
                    <a:lnTo>
                      <a:pt x="317" y="77"/>
                    </a:lnTo>
                    <a:lnTo>
                      <a:pt x="307" y="88"/>
                    </a:lnTo>
                    <a:lnTo>
                      <a:pt x="294" y="95"/>
                    </a:lnTo>
                    <a:lnTo>
                      <a:pt x="279" y="97"/>
                    </a:lnTo>
                    <a:lnTo>
                      <a:pt x="48" y="97"/>
                    </a:lnTo>
                    <a:lnTo>
                      <a:pt x="33" y="95"/>
                    </a:lnTo>
                    <a:lnTo>
                      <a:pt x="20" y="88"/>
                    </a:lnTo>
                    <a:lnTo>
                      <a:pt x="9" y="77"/>
                    </a:lnTo>
                    <a:lnTo>
                      <a:pt x="2" y="64"/>
                    </a:lnTo>
                    <a:lnTo>
                      <a:pt x="0" y="48"/>
                    </a:lnTo>
                    <a:lnTo>
                      <a:pt x="2" y="33"/>
                    </a:lnTo>
                    <a:lnTo>
                      <a:pt x="9" y="20"/>
                    </a:lnTo>
                    <a:lnTo>
                      <a:pt x="20" y="9"/>
                    </a:lnTo>
                    <a:lnTo>
                      <a:pt x="33" y="2"/>
                    </a:lnTo>
                    <a:lnTo>
                      <a:pt x="48" y="0"/>
                    </a:lnTo>
                    <a:close/>
                  </a:path>
                </a:pathLst>
              </a:custGeom>
              <a:solidFill>
                <a:schemeClr val="accent5"/>
              </a:solidFill>
              <a:ln>
                <a:noFill/>
              </a:ln>
            </p:spPr>
            <p:txBody>
              <a:bodyPr/>
              <a:lstStyle/>
              <a:p>
                <a:endParaRPr lang="de-DE" dirty="0"/>
              </a:p>
            </p:txBody>
          </p:sp>
          <p:sp>
            <p:nvSpPr>
              <p:cNvPr id="1589" name="Freeform 349"/>
              <p:cNvSpPr>
                <a:spLocks/>
              </p:cNvSpPr>
              <p:nvPr/>
            </p:nvSpPr>
            <p:spPr bwMode="auto">
              <a:xfrm>
                <a:off x="11117209" y="5814012"/>
                <a:ext cx="50795" cy="14289"/>
              </a:xfrm>
              <a:custGeom>
                <a:avLst/>
                <a:gdLst>
                  <a:gd name="T0" fmla="*/ 50 w 326"/>
                  <a:gd name="T1" fmla="*/ 0 h 98"/>
                  <a:gd name="T2" fmla="*/ 278 w 326"/>
                  <a:gd name="T3" fmla="*/ 0 h 98"/>
                  <a:gd name="T4" fmla="*/ 293 w 326"/>
                  <a:gd name="T5" fmla="*/ 3 h 98"/>
                  <a:gd name="T6" fmla="*/ 306 w 326"/>
                  <a:gd name="T7" fmla="*/ 9 h 98"/>
                  <a:gd name="T8" fmla="*/ 317 w 326"/>
                  <a:gd name="T9" fmla="*/ 20 h 98"/>
                  <a:gd name="T10" fmla="*/ 324 w 326"/>
                  <a:gd name="T11" fmla="*/ 34 h 98"/>
                  <a:gd name="T12" fmla="*/ 326 w 326"/>
                  <a:gd name="T13" fmla="*/ 49 h 98"/>
                  <a:gd name="T14" fmla="*/ 324 w 326"/>
                  <a:gd name="T15" fmla="*/ 65 h 98"/>
                  <a:gd name="T16" fmla="*/ 317 w 326"/>
                  <a:gd name="T17" fmla="*/ 78 h 98"/>
                  <a:gd name="T18" fmla="*/ 306 w 326"/>
                  <a:gd name="T19" fmla="*/ 89 h 98"/>
                  <a:gd name="T20" fmla="*/ 293 w 326"/>
                  <a:gd name="T21" fmla="*/ 95 h 98"/>
                  <a:gd name="T22" fmla="*/ 278 w 326"/>
                  <a:gd name="T23" fmla="*/ 98 h 98"/>
                  <a:gd name="T24" fmla="*/ 50 w 326"/>
                  <a:gd name="T25" fmla="*/ 98 h 98"/>
                  <a:gd name="T26" fmla="*/ 34 w 326"/>
                  <a:gd name="T27" fmla="*/ 95 h 98"/>
                  <a:gd name="T28" fmla="*/ 20 w 326"/>
                  <a:gd name="T29" fmla="*/ 89 h 98"/>
                  <a:gd name="T30" fmla="*/ 10 w 326"/>
                  <a:gd name="T31" fmla="*/ 78 h 98"/>
                  <a:gd name="T32" fmla="*/ 3 w 326"/>
                  <a:gd name="T33" fmla="*/ 65 h 98"/>
                  <a:gd name="T34" fmla="*/ 0 w 326"/>
                  <a:gd name="T35" fmla="*/ 49 h 98"/>
                  <a:gd name="T36" fmla="*/ 3 w 326"/>
                  <a:gd name="T37" fmla="*/ 34 h 98"/>
                  <a:gd name="T38" fmla="*/ 10 w 326"/>
                  <a:gd name="T39" fmla="*/ 20 h 98"/>
                  <a:gd name="T40" fmla="*/ 20 w 326"/>
                  <a:gd name="T41" fmla="*/ 9 h 98"/>
                  <a:gd name="T42" fmla="*/ 34 w 326"/>
                  <a:gd name="T43" fmla="*/ 3 h 98"/>
                  <a:gd name="T44" fmla="*/ 50 w 326"/>
                  <a:gd name="T4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6" h="98">
                    <a:moveTo>
                      <a:pt x="50" y="0"/>
                    </a:moveTo>
                    <a:lnTo>
                      <a:pt x="278" y="0"/>
                    </a:lnTo>
                    <a:lnTo>
                      <a:pt x="293" y="3"/>
                    </a:lnTo>
                    <a:lnTo>
                      <a:pt x="306" y="9"/>
                    </a:lnTo>
                    <a:lnTo>
                      <a:pt x="317" y="20"/>
                    </a:lnTo>
                    <a:lnTo>
                      <a:pt x="324" y="34"/>
                    </a:lnTo>
                    <a:lnTo>
                      <a:pt x="326" y="49"/>
                    </a:lnTo>
                    <a:lnTo>
                      <a:pt x="324" y="65"/>
                    </a:lnTo>
                    <a:lnTo>
                      <a:pt x="317" y="78"/>
                    </a:lnTo>
                    <a:lnTo>
                      <a:pt x="306" y="89"/>
                    </a:lnTo>
                    <a:lnTo>
                      <a:pt x="293" y="95"/>
                    </a:lnTo>
                    <a:lnTo>
                      <a:pt x="278" y="98"/>
                    </a:lnTo>
                    <a:lnTo>
                      <a:pt x="50" y="98"/>
                    </a:lnTo>
                    <a:lnTo>
                      <a:pt x="34" y="95"/>
                    </a:lnTo>
                    <a:lnTo>
                      <a:pt x="20" y="89"/>
                    </a:lnTo>
                    <a:lnTo>
                      <a:pt x="10" y="78"/>
                    </a:lnTo>
                    <a:lnTo>
                      <a:pt x="3" y="65"/>
                    </a:lnTo>
                    <a:lnTo>
                      <a:pt x="0" y="49"/>
                    </a:lnTo>
                    <a:lnTo>
                      <a:pt x="3" y="34"/>
                    </a:lnTo>
                    <a:lnTo>
                      <a:pt x="10" y="20"/>
                    </a:lnTo>
                    <a:lnTo>
                      <a:pt x="20" y="9"/>
                    </a:lnTo>
                    <a:lnTo>
                      <a:pt x="34" y="3"/>
                    </a:lnTo>
                    <a:lnTo>
                      <a:pt x="50" y="0"/>
                    </a:lnTo>
                    <a:close/>
                  </a:path>
                </a:pathLst>
              </a:custGeom>
              <a:solidFill>
                <a:schemeClr val="accent5"/>
              </a:solidFill>
              <a:ln>
                <a:noFill/>
              </a:ln>
            </p:spPr>
            <p:txBody>
              <a:bodyPr/>
              <a:lstStyle/>
              <a:p>
                <a:endParaRPr lang="de-DE" dirty="0"/>
              </a:p>
            </p:txBody>
          </p:sp>
          <p:sp>
            <p:nvSpPr>
              <p:cNvPr id="1590" name="Freeform 350"/>
              <p:cNvSpPr>
                <a:spLocks/>
              </p:cNvSpPr>
              <p:nvPr/>
            </p:nvSpPr>
            <p:spPr bwMode="auto">
              <a:xfrm>
                <a:off x="11182290" y="5814012"/>
                <a:ext cx="42858" cy="14289"/>
              </a:xfrm>
              <a:custGeom>
                <a:avLst/>
                <a:gdLst>
                  <a:gd name="T0" fmla="*/ 43 w 265"/>
                  <a:gd name="T1" fmla="*/ 0 h 87"/>
                  <a:gd name="T2" fmla="*/ 222 w 265"/>
                  <a:gd name="T3" fmla="*/ 0 h 87"/>
                  <a:gd name="T4" fmla="*/ 235 w 265"/>
                  <a:gd name="T5" fmla="*/ 2 h 87"/>
                  <a:gd name="T6" fmla="*/ 247 w 265"/>
                  <a:gd name="T7" fmla="*/ 9 h 87"/>
                  <a:gd name="T8" fmla="*/ 257 w 265"/>
                  <a:gd name="T9" fmla="*/ 17 h 87"/>
                  <a:gd name="T10" fmla="*/ 263 w 265"/>
                  <a:gd name="T11" fmla="*/ 30 h 87"/>
                  <a:gd name="T12" fmla="*/ 265 w 265"/>
                  <a:gd name="T13" fmla="*/ 44 h 87"/>
                  <a:gd name="T14" fmla="*/ 263 w 265"/>
                  <a:gd name="T15" fmla="*/ 57 h 87"/>
                  <a:gd name="T16" fmla="*/ 257 w 265"/>
                  <a:gd name="T17" fmla="*/ 69 h 87"/>
                  <a:gd name="T18" fmla="*/ 247 w 265"/>
                  <a:gd name="T19" fmla="*/ 78 h 87"/>
                  <a:gd name="T20" fmla="*/ 235 w 265"/>
                  <a:gd name="T21" fmla="*/ 85 h 87"/>
                  <a:gd name="T22" fmla="*/ 222 w 265"/>
                  <a:gd name="T23" fmla="*/ 87 h 87"/>
                  <a:gd name="T24" fmla="*/ 43 w 265"/>
                  <a:gd name="T25" fmla="*/ 87 h 87"/>
                  <a:gd name="T26" fmla="*/ 29 w 265"/>
                  <a:gd name="T27" fmla="*/ 85 h 87"/>
                  <a:gd name="T28" fmla="*/ 17 w 265"/>
                  <a:gd name="T29" fmla="*/ 78 h 87"/>
                  <a:gd name="T30" fmla="*/ 8 w 265"/>
                  <a:gd name="T31" fmla="*/ 69 h 87"/>
                  <a:gd name="T32" fmla="*/ 2 w 265"/>
                  <a:gd name="T33" fmla="*/ 57 h 87"/>
                  <a:gd name="T34" fmla="*/ 0 w 265"/>
                  <a:gd name="T35" fmla="*/ 44 h 87"/>
                  <a:gd name="T36" fmla="*/ 2 w 265"/>
                  <a:gd name="T37" fmla="*/ 30 h 87"/>
                  <a:gd name="T38" fmla="*/ 8 w 265"/>
                  <a:gd name="T39" fmla="*/ 17 h 87"/>
                  <a:gd name="T40" fmla="*/ 17 w 265"/>
                  <a:gd name="T41" fmla="*/ 9 h 87"/>
                  <a:gd name="T42" fmla="*/ 29 w 265"/>
                  <a:gd name="T43" fmla="*/ 2 h 87"/>
                  <a:gd name="T44" fmla="*/ 43 w 265"/>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5" h="87">
                    <a:moveTo>
                      <a:pt x="43" y="0"/>
                    </a:moveTo>
                    <a:lnTo>
                      <a:pt x="222" y="0"/>
                    </a:lnTo>
                    <a:lnTo>
                      <a:pt x="235" y="2"/>
                    </a:lnTo>
                    <a:lnTo>
                      <a:pt x="247" y="9"/>
                    </a:lnTo>
                    <a:lnTo>
                      <a:pt x="257" y="17"/>
                    </a:lnTo>
                    <a:lnTo>
                      <a:pt x="263" y="30"/>
                    </a:lnTo>
                    <a:lnTo>
                      <a:pt x="265" y="44"/>
                    </a:lnTo>
                    <a:lnTo>
                      <a:pt x="263" y="57"/>
                    </a:lnTo>
                    <a:lnTo>
                      <a:pt x="257" y="69"/>
                    </a:lnTo>
                    <a:lnTo>
                      <a:pt x="247" y="78"/>
                    </a:lnTo>
                    <a:lnTo>
                      <a:pt x="235" y="85"/>
                    </a:lnTo>
                    <a:lnTo>
                      <a:pt x="222" y="87"/>
                    </a:lnTo>
                    <a:lnTo>
                      <a:pt x="43" y="87"/>
                    </a:lnTo>
                    <a:lnTo>
                      <a:pt x="29" y="85"/>
                    </a:lnTo>
                    <a:lnTo>
                      <a:pt x="17" y="78"/>
                    </a:lnTo>
                    <a:lnTo>
                      <a:pt x="8" y="69"/>
                    </a:lnTo>
                    <a:lnTo>
                      <a:pt x="2" y="57"/>
                    </a:lnTo>
                    <a:lnTo>
                      <a:pt x="0" y="44"/>
                    </a:lnTo>
                    <a:lnTo>
                      <a:pt x="2" y="30"/>
                    </a:lnTo>
                    <a:lnTo>
                      <a:pt x="8" y="17"/>
                    </a:lnTo>
                    <a:lnTo>
                      <a:pt x="17" y="9"/>
                    </a:lnTo>
                    <a:lnTo>
                      <a:pt x="29" y="2"/>
                    </a:lnTo>
                    <a:lnTo>
                      <a:pt x="43" y="0"/>
                    </a:lnTo>
                    <a:close/>
                  </a:path>
                </a:pathLst>
              </a:custGeom>
              <a:solidFill>
                <a:schemeClr val="accent5"/>
              </a:solidFill>
              <a:ln>
                <a:noFill/>
              </a:ln>
            </p:spPr>
            <p:txBody>
              <a:bodyPr/>
              <a:lstStyle/>
              <a:p>
                <a:endParaRPr lang="de-DE" dirty="0"/>
              </a:p>
            </p:txBody>
          </p:sp>
          <p:sp>
            <p:nvSpPr>
              <p:cNvPr id="1591" name="Freeform 351"/>
              <p:cNvSpPr>
                <a:spLocks/>
              </p:cNvSpPr>
              <p:nvPr/>
            </p:nvSpPr>
            <p:spPr bwMode="auto">
              <a:xfrm>
                <a:off x="11253720" y="5810837"/>
                <a:ext cx="55557" cy="15877"/>
              </a:xfrm>
              <a:custGeom>
                <a:avLst/>
                <a:gdLst>
                  <a:gd name="T0" fmla="*/ 51 w 350"/>
                  <a:gd name="T1" fmla="*/ 0 h 101"/>
                  <a:gd name="T2" fmla="*/ 300 w 350"/>
                  <a:gd name="T3" fmla="*/ 0 h 101"/>
                  <a:gd name="T4" fmla="*/ 315 w 350"/>
                  <a:gd name="T5" fmla="*/ 2 h 101"/>
                  <a:gd name="T6" fmla="*/ 329 w 350"/>
                  <a:gd name="T7" fmla="*/ 10 h 101"/>
                  <a:gd name="T8" fmla="*/ 340 w 350"/>
                  <a:gd name="T9" fmla="*/ 21 h 101"/>
                  <a:gd name="T10" fmla="*/ 348 w 350"/>
                  <a:gd name="T11" fmla="*/ 34 h 101"/>
                  <a:gd name="T12" fmla="*/ 350 w 350"/>
                  <a:gd name="T13" fmla="*/ 50 h 101"/>
                  <a:gd name="T14" fmla="*/ 348 w 350"/>
                  <a:gd name="T15" fmla="*/ 66 h 101"/>
                  <a:gd name="T16" fmla="*/ 340 w 350"/>
                  <a:gd name="T17" fmla="*/ 80 h 101"/>
                  <a:gd name="T18" fmla="*/ 329 w 350"/>
                  <a:gd name="T19" fmla="*/ 91 h 101"/>
                  <a:gd name="T20" fmla="*/ 315 w 350"/>
                  <a:gd name="T21" fmla="*/ 99 h 101"/>
                  <a:gd name="T22" fmla="*/ 300 w 350"/>
                  <a:gd name="T23" fmla="*/ 101 h 101"/>
                  <a:gd name="T24" fmla="*/ 51 w 350"/>
                  <a:gd name="T25" fmla="*/ 101 h 101"/>
                  <a:gd name="T26" fmla="*/ 34 w 350"/>
                  <a:gd name="T27" fmla="*/ 99 h 101"/>
                  <a:gd name="T28" fmla="*/ 21 w 350"/>
                  <a:gd name="T29" fmla="*/ 91 h 101"/>
                  <a:gd name="T30" fmla="*/ 10 w 350"/>
                  <a:gd name="T31" fmla="*/ 80 h 101"/>
                  <a:gd name="T32" fmla="*/ 2 w 350"/>
                  <a:gd name="T33" fmla="*/ 66 h 101"/>
                  <a:gd name="T34" fmla="*/ 0 w 350"/>
                  <a:gd name="T35" fmla="*/ 50 h 101"/>
                  <a:gd name="T36" fmla="*/ 2 w 350"/>
                  <a:gd name="T37" fmla="*/ 34 h 101"/>
                  <a:gd name="T38" fmla="*/ 10 w 350"/>
                  <a:gd name="T39" fmla="*/ 21 h 101"/>
                  <a:gd name="T40" fmla="*/ 21 w 350"/>
                  <a:gd name="T41" fmla="*/ 10 h 101"/>
                  <a:gd name="T42" fmla="*/ 34 w 350"/>
                  <a:gd name="T43" fmla="*/ 2 h 101"/>
                  <a:gd name="T44" fmla="*/ 51 w 350"/>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0" h="101">
                    <a:moveTo>
                      <a:pt x="51" y="0"/>
                    </a:moveTo>
                    <a:lnTo>
                      <a:pt x="300" y="0"/>
                    </a:lnTo>
                    <a:lnTo>
                      <a:pt x="315" y="2"/>
                    </a:lnTo>
                    <a:lnTo>
                      <a:pt x="329" y="10"/>
                    </a:lnTo>
                    <a:lnTo>
                      <a:pt x="340" y="21"/>
                    </a:lnTo>
                    <a:lnTo>
                      <a:pt x="348" y="34"/>
                    </a:lnTo>
                    <a:lnTo>
                      <a:pt x="350" y="50"/>
                    </a:lnTo>
                    <a:lnTo>
                      <a:pt x="348" y="66"/>
                    </a:lnTo>
                    <a:lnTo>
                      <a:pt x="340" y="80"/>
                    </a:lnTo>
                    <a:lnTo>
                      <a:pt x="329" y="91"/>
                    </a:lnTo>
                    <a:lnTo>
                      <a:pt x="315" y="99"/>
                    </a:lnTo>
                    <a:lnTo>
                      <a:pt x="300" y="101"/>
                    </a:lnTo>
                    <a:lnTo>
                      <a:pt x="51" y="101"/>
                    </a:lnTo>
                    <a:lnTo>
                      <a:pt x="34" y="99"/>
                    </a:lnTo>
                    <a:lnTo>
                      <a:pt x="21" y="91"/>
                    </a:lnTo>
                    <a:lnTo>
                      <a:pt x="10" y="80"/>
                    </a:lnTo>
                    <a:lnTo>
                      <a:pt x="2" y="66"/>
                    </a:lnTo>
                    <a:lnTo>
                      <a:pt x="0" y="50"/>
                    </a:lnTo>
                    <a:lnTo>
                      <a:pt x="2" y="34"/>
                    </a:lnTo>
                    <a:lnTo>
                      <a:pt x="10" y="21"/>
                    </a:lnTo>
                    <a:lnTo>
                      <a:pt x="21" y="10"/>
                    </a:lnTo>
                    <a:lnTo>
                      <a:pt x="34" y="2"/>
                    </a:lnTo>
                    <a:lnTo>
                      <a:pt x="51" y="0"/>
                    </a:lnTo>
                    <a:close/>
                  </a:path>
                </a:pathLst>
              </a:custGeom>
              <a:solidFill>
                <a:schemeClr val="accent5"/>
              </a:solidFill>
              <a:ln>
                <a:noFill/>
              </a:ln>
            </p:spPr>
            <p:txBody>
              <a:bodyPr/>
              <a:lstStyle/>
              <a:p>
                <a:endParaRPr lang="de-DE" dirty="0"/>
              </a:p>
            </p:txBody>
          </p:sp>
          <p:sp>
            <p:nvSpPr>
              <p:cNvPr id="1592" name="Freeform 352"/>
              <p:cNvSpPr>
                <a:spLocks/>
              </p:cNvSpPr>
              <p:nvPr/>
            </p:nvSpPr>
            <p:spPr bwMode="auto">
              <a:xfrm>
                <a:off x="11329913" y="5812424"/>
                <a:ext cx="41271" cy="12701"/>
              </a:xfrm>
              <a:custGeom>
                <a:avLst/>
                <a:gdLst>
                  <a:gd name="T0" fmla="*/ 43 w 259"/>
                  <a:gd name="T1" fmla="*/ 0 h 85"/>
                  <a:gd name="T2" fmla="*/ 217 w 259"/>
                  <a:gd name="T3" fmla="*/ 0 h 85"/>
                  <a:gd name="T4" fmla="*/ 234 w 259"/>
                  <a:gd name="T5" fmla="*/ 3 h 85"/>
                  <a:gd name="T6" fmla="*/ 247 w 259"/>
                  <a:gd name="T7" fmla="*/ 12 h 85"/>
                  <a:gd name="T8" fmla="*/ 256 w 259"/>
                  <a:gd name="T9" fmla="*/ 25 h 85"/>
                  <a:gd name="T10" fmla="*/ 259 w 259"/>
                  <a:gd name="T11" fmla="*/ 41 h 85"/>
                  <a:gd name="T12" fmla="*/ 256 w 259"/>
                  <a:gd name="T13" fmla="*/ 58 h 85"/>
                  <a:gd name="T14" fmla="*/ 247 w 259"/>
                  <a:gd name="T15" fmla="*/ 72 h 85"/>
                  <a:gd name="T16" fmla="*/ 234 w 259"/>
                  <a:gd name="T17" fmla="*/ 81 h 85"/>
                  <a:gd name="T18" fmla="*/ 217 w 259"/>
                  <a:gd name="T19" fmla="*/ 85 h 85"/>
                  <a:gd name="T20" fmla="*/ 43 w 259"/>
                  <a:gd name="T21" fmla="*/ 85 h 85"/>
                  <a:gd name="T22" fmla="*/ 29 w 259"/>
                  <a:gd name="T23" fmla="*/ 82 h 85"/>
                  <a:gd name="T24" fmla="*/ 18 w 259"/>
                  <a:gd name="T25" fmla="*/ 76 h 85"/>
                  <a:gd name="T26" fmla="*/ 8 w 259"/>
                  <a:gd name="T27" fmla="*/ 67 h 85"/>
                  <a:gd name="T28" fmla="*/ 2 w 259"/>
                  <a:gd name="T29" fmla="*/ 55 h 85"/>
                  <a:gd name="T30" fmla="*/ 0 w 259"/>
                  <a:gd name="T31" fmla="*/ 41 h 85"/>
                  <a:gd name="T32" fmla="*/ 2 w 259"/>
                  <a:gd name="T33" fmla="*/ 28 h 85"/>
                  <a:gd name="T34" fmla="*/ 8 w 259"/>
                  <a:gd name="T35" fmla="*/ 16 h 85"/>
                  <a:gd name="T36" fmla="*/ 18 w 259"/>
                  <a:gd name="T37" fmla="*/ 7 h 85"/>
                  <a:gd name="T38" fmla="*/ 29 w 259"/>
                  <a:gd name="T39" fmla="*/ 2 h 85"/>
                  <a:gd name="T40" fmla="*/ 43 w 259"/>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85">
                    <a:moveTo>
                      <a:pt x="43" y="0"/>
                    </a:moveTo>
                    <a:lnTo>
                      <a:pt x="217" y="0"/>
                    </a:lnTo>
                    <a:lnTo>
                      <a:pt x="234" y="3"/>
                    </a:lnTo>
                    <a:lnTo>
                      <a:pt x="247" y="12"/>
                    </a:lnTo>
                    <a:lnTo>
                      <a:pt x="256" y="25"/>
                    </a:lnTo>
                    <a:lnTo>
                      <a:pt x="259" y="41"/>
                    </a:lnTo>
                    <a:lnTo>
                      <a:pt x="256" y="58"/>
                    </a:lnTo>
                    <a:lnTo>
                      <a:pt x="247" y="72"/>
                    </a:lnTo>
                    <a:lnTo>
                      <a:pt x="234" y="81"/>
                    </a:lnTo>
                    <a:lnTo>
                      <a:pt x="217" y="85"/>
                    </a:lnTo>
                    <a:lnTo>
                      <a:pt x="43" y="85"/>
                    </a:lnTo>
                    <a:lnTo>
                      <a:pt x="29" y="82"/>
                    </a:lnTo>
                    <a:lnTo>
                      <a:pt x="18" y="76"/>
                    </a:lnTo>
                    <a:lnTo>
                      <a:pt x="8" y="67"/>
                    </a:lnTo>
                    <a:lnTo>
                      <a:pt x="2" y="55"/>
                    </a:lnTo>
                    <a:lnTo>
                      <a:pt x="0" y="41"/>
                    </a:lnTo>
                    <a:lnTo>
                      <a:pt x="2" y="28"/>
                    </a:lnTo>
                    <a:lnTo>
                      <a:pt x="8" y="16"/>
                    </a:lnTo>
                    <a:lnTo>
                      <a:pt x="18" y="7"/>
                    </a:lnTo>
                    <a:lnTo>
                      <a:pt x="29" y="2"/>
                    </a:lnTo>
                    <a:lnTo>
                      <a:pt x="43" y="0"/>
                    </a:lnTo>
                    <a:close/>
                  </a:path>
                </a:pathLst>
              </a:custGeom>
              <a:solidFill>
                <a:schemeClr val="accent5"/>
              </a:solidFill>
              <a:ln>
                <a:noFill/>
              </a:ln>
            </p:spPr>
            <p:txBody>
              <a:bodyPr/>
              <a:lstStyle/>
              <a:p>
                <a:endParaRPr lang="de-DE" dirty="0"/>
              </a:p>
            </p:txBody>
          </p:sp>
          <p:sp>
            <p:nvSpPr>
              <p:cNvPr id="1593" name="Freeform 353"/>
              <p:cNvSpPr>
                <a:spLocks/>
              </p:cNvSpPr>
              <p:nvPr/>
            </p:nvSpPr>
            <p:spPr bwMode="auto">
              <a:xfrm>
                <a:off x="11388644" y="5810837"/>
                <a:ext cx="57144" cy="15877"/>
              </a:xfrm>
              <a:custGeom>
                <a:avLst/>
                <a:gdLst>
                  <a:gd name="T0" fmla="*/ 52 w 359"/>
                  <a:gd name="T1" fmla="*/ 0 h 103"/>
                  <a:gd name="T2" fmla="*/ 307 w 359"/>
                  <a:gd name="T3" fmla="*/ 0 h 103"/>
                  <a:gd name="T4" fmla="*/ 324 w 359"/>
                  <a:gd name="T5" fmla="*/ 3 h 103"/>
                  <a:gd name="T6" fmla="*/ 338 w 359"/>
                  <a:gd name="T7" fmla="*/ 10 h 103"/>
                  <a:gd name="T8" fmla="*/ 349 w 359"/>
                  <a:gd name="T9" fmla="*/ 22 h 103"/>
                  <a:gd name="T10" fmla="*/ 356 w 359"/>
                  <a:gd name="T11" fmla="*/ 35 h 103"/>
                  <a:gd name="T12" fmla="*/ 359 w 359"/>
                  <a:gd name="T13" fmla="*/ 51 h 103"/>
                  <a:gd name="T14" fmla="*/ 356 w 359"/>
                  <a:gd name="T15" fmla="*/ 68 h 103"/>
                  <a:gd name="T16" fmla="*/ 349 w 359"/>
                  <a:gd name="T17" fmla="*/ 82 h 103"/>
                  <a:gd name="T18" fmla="*/ 338 w 359"/>
                  <a:gd name="T19" fmla="*/ 93 h 103"/>
                  <a:gd name="T20" fmla="*/ 324 w 359"/>
                  <a:gd name="T21" fmla="*/ 100 h 103"/>
                  <a:gd name="T22" fmla="*/ 307 w 359"/>
                  <a:gd name="T23" fmla="*/ 103 h 103"/>
                  <a:gd name="T24" fmla="*/ 52 w 359"/>
                  <a:gd name="T25" fmla="*/ 103 h 103"/>
                  <a:gd name="T26" fmla="*/ 35 w 359"/>
                  <a:gd name="T27" fmla="*/ 100 h 103"/>
                  <a:gd name="T28" fmla="*/ 21 w 359"/>
                  <a:gd name="T29" fmla="*/ 93 h 103"/>
                  <a:gd name="T30" fmla="*/ 10 w 359"/>
                  <a:gd name="T31" fmla="*/ 82 h 103"/>
                  <a:gd name="T32" fmla="*/ 3 w 359"/>
                  <a:gd name="T33" fmla="*/ 68 h 103"/>
                  <a:gd name="T34" fmla="*/ 0 w 359"/>
                  <a:gd name="T35" fmla="*/ 51 h 103"/>
                  <a:gd name="T36" fmla="*/ 3 w 359"/>
                  <a:gd name="T37" fmla="*/ 35 h 103"/>
                  <a:gd name="T38" fmla="*/ 10 w 359"/>
                  <a:gd name="T39" fmla="*/ 22 h 103"/>
                  <a:gd name="T40" fmla="*/ 21 w 359"/>
                  <a:gd name="T41" fmla="*/ 10 h 103"/>
                  <a:gd name="T42" fmla="*/ 35 w 359"/>
                  <a:gd name="T43" fmla="*/ 3 h 103"/>
                  <a:gd name="T44" fmla="*/ 52 w 359"/>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9" h="103">
                    <a:moveTo>
                      <a:pt x="52" y="0"/>
                    </a:moveTo>
                    <a:lnTo>
                      <a:pt x="307" y="0"/>
                    </a:lnTo>
                    <a:lnTo>
                      <a:pt x="324" y="3"/>
                    </a:lnTo>
                    <a:lnTo>
                      <a:pt x="338" y="10"/>
                    </a:lnTo>
                    <a:lnTo>
                      <a:pt x="349" y="22"/>
                    </a:lnTo>
                    <a:lnTo>
                      <a:pt x="356" y="35"/>
                    </a:lnTo>
                    <a:lnTo>
                      <a:pt x="359" y="51"/>
                    </a:lnTo>
                    <a:lnTo>
                      <a:pt x="356" y="68"/>
                    </a:lnTo>
                    <a:lnTo>
                      <a:pt x="349" y="82"/>
                    </a:lnTo>
                    <a:lnTo>
                      <a:pt x="338" y="93"/>
                    </a:lnTo>
                    <a:lnTo>
                      <a:pt x="324" y="100"/>
                    </a:lnTo>
                    <a:lnTo>
                      <a:pt x="307" y="103"/>
                    </a:lnTo>
                    <a:lnTo>
                      <a:pt x="52" y="103"/>
                    </a:lnTo>
                    <a:lnTo>
                      <a:pt x="35" y="100"/>
                    </a:lnTo>
                    <a:lnTo>
                      <a:pt x="21" y="93"/>
                    </a:lnTo>
                    <a:lnTo>
                      <a:pt x="10" y="82"/>
                    </a:lnTo>
                    <a:lnTo>
                      <a:pt x="3" y="68"/>
                    </a:lnTo>
                    <a:lnTo>
                      <a:pt x="0" y="51"/>
                    </a:lnTo>
                    <a:lnTo>
                      <a:pt x="3" y="35"/>
                    </a:lnTo>
                    <a:lnTo>
                      <a:pt x="10" y="22"/>
                    </a:lnTo>
                    <a:lnTo>
                      <a:pt x="21" y="10"/>
                    </a:lnTo>
                    <a:lnTo>
                      <a:pt x="35" y="3"/>
                    </a:lnTo>
                    <a:lnTo>
                      <a:pt x="52" y="0"/>
                    </a:lnTo>
                    <a:close/>
                  </a:path>
                </a:pathLst>
              </a:custGeom>
              <a:solidFill>
                <a:schemeClr val="accent5"/>
              </a:solidFill>
              <a:ln>
                <a:noFill/>
              </a:ln>
            </p:spPr>
            <p:txBody>
              <a:bodyPr/>
              <a:lstStyle/>
              <a:p>
                <a:endParaRPr lang="de-DE" dirty="0"/>
              </a:p>
            </p:txBody>
          </p:sp>
          <p:sp>
            <p:nvSpPr>
              <p:cNvPr id="1594" name="Freeform 354"/>
              <p:cNvSpPr>
                <a:spLocks/>
              </p:cNvSpPr>
              <p:nvPr/>
            </p:nvSpPr>
            <p:spPr bwMode="auto">
              <a:xfrm>
                <a:off x="10974348" y="5864818"/>
                <a:ext cx="49208" cy="14289"/>
              </a:xfrm>
              <a:custGeom>
                <a:avLst/>
                <a:gdLst>
                  <a:gd name="T0" fmla="*/ 47 w 312"/>
                  <a:gd name="T1" fmla="*/ 0 h 95"/>
                  <a:gd name="T2" fmla="*/ 264 w 312"/>
                  <a:gd name="T3" fmla="*/ 0 h 95"/>
                  <a:gd name="T4" fmla="*/ 280 w 312"/>
                  <a:gd name="T5" fmla="*/ 2 h 95"/>
                  <a:gd name="T6" fmla="*/ 293 w 312"/>
                  <a:gd name="T7" fmla="*/ 8 h 95"/>
                  <a:gd name="T8" fmla="*/ 303 w 312"/>
                  <a:gd name="T9" fmla="*/ 20 h 95"/>
                  <a:gd name="T10" fmla="*/ 310 w 312"/>
                  <a:gd name="T11" fmla="*/ 32 h 95"/>
                  <a:gd name="T12" fmla="*/ 312 w 312"/>
                  <a:gd name="T13" fmla="*/ 47 h 95"/>
                  <a:gd name="T14" fmla="*/ 310 w 312"/>
                  <a:gd name="T15" fmla="*/ 63 h 95"/>
                  <a:gd name="T16" fmla="*/ 303 w 312"/>
                  <a:gd name="T17" fmla="*/ 76 h 95"/>
                  <a:gd name="T18" fmla="*/ 293 w 312"/>
                  <a:gd name="T19" fmla="*/ 86 h 95"/>
                  <a:gd name="T20" fmla="*/ 280 w 312"/>
                  <a:gd name="T21" fmla="*/ 92 h 95"/>
                  <a:gd name="T22" fmla="*/ 264 w 312"/>
                  <a:gd name="T23" fmla="*/ 95 h 95"/>
                  <a:gd name="T24" fmla="*/ 47 w 312"/>
                  <a:gd name="T25" fmla="*/ 95 h 95"/>
                  <a:gd name="T26" fmla="*/ 32 w 312"/>
                  <a:gd name="T27" fmla="*/ 92 h 95"/>
                  <a:gd name="T28" fmla="*/ 19 w 312"/>
                  <a:gd name="T29" fmla="*/ 86 h 95"/>
                  <a:gd name="T30" fmla="*/ 9 w 312"/>
                  <a:gd name="T31" fmla="*/ 76 h 95"/>
                  <a:gd name="T32" fmla="*/ 2 w 312"/>
                  <a:gd name="T33" fmla="*/ 63 h 95"/>
                  <a:gd name="T34" fmla="*/ 0 w 312"/>
                  <a:gd name="T35" fmla="*/ 47 h 95"/>
                  <a:gd name="T36" fmla="*/ 2 w 312"/>
                  <a:gd name="T37" fmla="*/ 32 h 95"/>
                  <a:gd name="T38" fmla="*/ 9 w 312"/>
                  <a:gd name="T39" fmla="*/ 20 h 95"/>
                  <a:gd name="T40" fmla="*/ 19 w 312"/>
                  <a:gd name="T41" fmla="*/ 8 h 95"/>
                  <a:gd name="T42" fmla="*/ 32 w 312"/>
                  <a:gd name="T43" fmla="*/ 2 h 95"/>
                  <a:gd name="T44" fmla="*/ 47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7" y="0"/>
                    </a:moveTo>
                    <a:lnTo>
                      <a:pt x="264" y="0"/>
                    </a:lnTo>
                    <a:lnTo>
                      <a:pt x="280" y="2"/>
                    </a:lnTo>
                    <a:lnTo>
                      <a:pt x="293" y="8"/>
                    </a:lnTo>
                    <a:lnTo>
                      <a:pt x="303" y="20"/>
                    </a:lnTo>
                    <a:lnTo>
                      <a:pt x="310" y="32"/>
                    </a:lnTo>
                    <a:lnTo>
                      <a:pt x="312" y="47"/>
                    </a:lnTo>
                    <a:lnTo>
                      <a:pt x="310" y="63"/>
                    </a:lnTo>
                    <a:lnTo>
                      <a:pt x="303" y="76"/>
                    </a:lnTo>
                    <a:lnTo>
                      <a:pt x="293" y="86"/>
                    </a:lnTo>
                    <a:lnTo>
                      <a:pt x="280" y="92"/>
                    </a:lnTo>
                    <a:lnTo>
                      <a:pt x="264" y="95"/>
                    </a:lnTo>
                    <a:lnTo>
                      <a:pt x="47" y="95"/>
                    </a:lnTo>
                    <a:lnTo>
                      <a:pt x="32" y="92"/>
                    </a:lnTo>
                    <a:lnTo>
                      <a:pt x="19" y="86"/>
                    </a:lnTo>
                    <a:lnTo>
                      <a:pt x="9" y="76"/>
                    </a:lnTo>
                    <a:lnTo>
                      <a:pt x="2" y="63"/>
                    </a:lnTo>
                    <a:lnTo>
                      <a:pt x="0" y="47"/>
                    </a:lnTo>
                    <a:lnTo>
                      <a:pt x="2" y="32"/>
                    </a:lnTo>
                    <a:lnTo>
                      <a:pt x="9" y="20"/>
                    </a:lnTo>
                    <a:lnTo>
                      <a:pt x="19" y="8"/>
                    </a:lnTo>
                    <a:lnTo>
                      <a:pt x="32" y="2"/>
                    </a:lnTo>
                    <a:lnTo>
                      <a:pt x="47" y="0"/>
                    </a:lnTo>
                    <a:close/>
                  </a:path>
                </a:pathLst>
              </a:custGeom>
              <a:solidFill>
                <a:schemeClr val="accent5"/>
              </a:solidFill>
              <a:ln>
                <a:noFill/>
              </a:ln>
            </p:spPr>
            <p:txBody>
              <a:bodyPr/>
              <a:lstStyle/>
              <a:p>
                <a:endParaRPr lang="de-DE" dirty="0"/>
              </a:p>
            </p:txBody>
          </p:sp>
          <p:sp>
            <p:nvSpPr>
              <p:cNvPr id="1595" name="Freeform 355"/>
              <p:cNvSpPr>
                <a:spLocks/>
              </p:cNvSpPr>
              <p:nvPr/>
            </p:nvSpPr>
            <p:spPr bwMode="auto">
              <a:xfrm>
                <a:off x="11052128" y="5867993"/>
                <a:ext cx="47620" cy="14289"/>
              </a:xfrm>
              <a:custGeom>
                <a:avLst/>
                <a:gdLst>
                  <a:gd name="T0" fmla="*/ 46 w 301"/>
                  <a:gd name="T1" fmla="*/ 0 h 94"/>
                  <a:gd name="T2" fmla="*/ 254 w 301"/>
                  <a:gd name="T3" fmla="*/ 0 h 94"/>
                  <a:gd name="T4" fmla="*/ 269 w 301"/>
                  <a:gd name="T5" fmla="*/ 3 h 94"/>
                  <a:gd name="T6" fmla="*/ 282 w 301"/>
                  <a:gd name="T7" fmla="*/ 9 h 94"/>
                  <a:gd name="T8" fmla="*/ 292 w 301"/>
                  <a:gd name="T9" fmla="*/ 20 h 94"/>
                  <a:gd name="T10" fmla="*/ 298 w 301"/>
                  <a:gd name="T11" fmla="*/ 32 h 94"/>
                  <a:gd name="T12" fmla="*/ 301 w 301"/>
                  <a:gd name="T13" fmla="*/ 47 h 94"/>
                  <a:gd name="T14" fmla="*/ 298 w 301"/>
                  <a:gd name="T15" fmla="*/ 62 h 94"/>
                  <a:gd name="T16" fmla="*/ 292 w 301"/>
                  <a:gd name="T17" fmla="*/ 74 h 94"/>
                  <a:gd name="T18" fmla="*/ 282 w 301"/>
                  <a:gd name="T19" fmla="*/ 84 h 94"/>
                  <a:gd name="T20" fmla="*/ 269 w 301"/>
                  <a:gd name="T21" fmla="*/ 91 h 94"/>
                  <a:gd name="T22" fmla="*/ 254 w 301"/>
                  <a:gd name="T23" fmla="*/ 94 h 94"/>
                  <a:gd name="T24" fmla="*/ 46 w 301"/>
                  <a:gd name="T25" fmla="*/ 94 h 94"/>
                  <a:gd name="T26" fmla="*/ 32 w 301"/>
                  <a:gd name="T27" fmla="*/ 91 h 94"/>
                  <a:gd name="T28" fmla="*/ 18 w 301"/>
                  <a:gd name="T29" fmla="*/ 84 h 94"/>
                  <a:gd name="T30" fmla="*/ 8 w 301"/>
                  <a:gd name="T31" fmla="*/ 74 h 94"/>
                  <a:gd name="T32" fmla="*/ 2 w 301"/>
                  <a:gd name="T33" fmla="*/ 62 h 94"/>
                  <a:gd name="T34" fmla="*/ 0 w 301"/>
                  <a:gd name="T35" fmla="*/ 47 h 94"/>
                  <a:gd name="T36" fmla="*/ 2 w 301"/>
                  <a:gd name="T37" fmla="*/ 32 h 94"/>
                  <a:gd name="T38" fmla="*/ 8 w 301"/>
                  <a:gd name="T39" fmla="*/ 20 h 94"/>
                  <a:gd name="T40" fmla="*/ 18 w 301"/>
                  <a:gd name="T41" fmla="*/ 9 h 94"/>
                  <a:gd name="T42" fmla="*/ 32 w 301"/>
                  <a:gd name="T43" fmla="*/ 3 h 94"/>
                  <a:gd name="T44" fmla="*/ 46 w 301"/>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1" h="94">
                    <a:moveTo>
                      <a:pt x="46" y="0"/>
                    </a:moveTo>
                    <a:lnTo>
                      <a:pt x="254" y="0"/>
                    </a:lnTo>
                    <a:lnTo>
                      <a:pt x="269" y="3"/>
                    </a:lnTo>
                    <a:lnTo>
                      <a:pt x="282" y="9"/>
                    </a:lnTo>
                    <a:lnTo>
                      <a:pt x="292" y="20"/>
                    </a:lnTo>
                    <a:lnTo>
                      <a:pt x="298" y="32"/>
                    </a:lnTo>
                    <a:lnTo>
                      <a:pt x="301" y="47"/>
                    </a:lnTo>
                    <a:lnTo>
                      <a:pt x="298" y="62"/>
                    </a:lnTo>
                    <a:lnTo>
                      <a:pt x="292" y="74"/>
                    </a:lnTo>
                    <a:lnTo>
                      <a:pt x="282" y="84"/>
                    </a:lnTo>
                    <a:lnTo>
                      <a:pt x="269" y="91"/>
                    </a:lnTo>
                    <a:lnTo>
                      <a:pt x="254" y="94"/>
                    </a:lnTo>
                    <a:lnTo>
                      <a:pt x="46" y="94"/>
                    </a:lnTo>
                    <a:lnTo>
                      <a:pt x="32" y="91"/>
                    </a:lnTo>
                    <a:lnTo>
                      <a:pt x="18" y="84"/>
                    </a:lnTo>
                    <a:lnTo>
                      <a:pt x="8" y="74"/>
                    </a:lnTo>
                    <a:lnTo>
                      <a:pt x="2" y="62"/>
                    </a:lnTo>
                    <a:lnTo>
                      <a:pt x="0" y="47"/>
                    </a:lnTo>
                    <a:lnTo>
                      <a:pt x="2" y="32"/>
                    </a:lnTo>
                    <a:lnTo>
                      <a:pt x="8" y="20"/>
                    </a:lnTo>
                    <a:lnTo>
                      <a:pt x="18" y="9"/>
                    </a:lnTo>
                    <a:lnTo>
                      <a:pt x="32" y="3"/>
                    </a:lnTo>
                    <a:lnTo>
                      <a:pt x="46" y="0"/>
                    </a:lnTo>
                    <a:close/>
                  </a:path>
                </a:pathLst>
              </a:custGeom>
              <a:solidFill>
                <a:schemeClr val="accent5"/>
              </a:solidFill>
              <a:ln>
                <a:noFill/>
              </a:ln>
            </p:spPr>
            <p:txBody>
              <a:bodyPr/>
              <a:lstStyle/>
              <a:p>
                <a:endParaRPr lang="de-DE" dirty="0"/>
              </a:p>
            </p:txBody>
          </p:sp>
          <p:sp>
            <p:nvSpPr>
              <p:cNvPr id="1596" name="Freeform 356"/>
              <p:cNvSpPr>
                <a:spLocks/>
              </p:cNvSpPr>
              <p:nvPr/>
            </p:nvSpPr>
            <p:spPr bwMode="auto">
              <a:xfrm>
                <a:off x="11120383" y="5866405"/>
                <a:ext cx="41271" cy="12701"/>
              </a:xfrm>
              <a:custGeom>
                <a:avLst/>
                <a:gdLst>
                  <a:gd name="T0" fmla="*/ 42 w 252"/>
                  <a:gd name="T1" fmla="*/ 0 h 84"/>
                  <a:gd name="T2" fmla="*/ 210 w 252"/>
                  <a:gd name="T3" fmla="*/ 0 h 84"/>
                  <a:gd name="T4" fmla="*/ 226 w 252"/>
                  <a:gd name="T5" fmla="*/ 3 h 84"/>
                  <a:gd name="T6" fmla="*/ 240 w 252"/>
                  <a:gd name="T7" fmla="*/ 12 h 84"/>
                  <a:gd name="T8" fmla="*/ 249 w 252"/>
                  <a:gd name="T9" fmla="*/ 25 h 84"/>
                  <a:gd name="T10" fmla="*/ 252 w 252"/>
                  <a:gd name="T11" fmla="*/ 42 h 84"/>
                  <a:gd name="T12" fmla="*/ 249 w 252"/>
                  <a:gd name="T13" fmla="*/ 57 h 84"/>
                  <a:gd name="T14" fmla="*/ 240 w 252"/>
                  <a:gd name="T15" fmla="*/ 71 h 84"/>
                  <a:gd name="T16" fmla="*/ 226 w 252"/>
                  <a:gd name="T17" fmla="*/ 81 h 84"/>
                  <a:gd name="T18" fmla="*/ 210 w 252"/>
                  <a:gd name="T19" fmla="*/ 84 h 84"/>
                  <a:gd name="T20" fmla="*/ 42 w 252"/>
                  <a:gd name="T21" fmla="*/ 84 h 84"/>
                  <a:gd name="T22" fmla="*/ 25 w 252"/>
                  <a:gd name="T23" fmla="*/ 81 h 84"/>
                  <a:gd name="T24" fmla="*/ 12 w 252"/>
                  <a:gd name="T25" fmla="*/ 71 h 84"/>
                  <a:gd name="T26" fmla="*/ 3 w 252"/>
                  <a:gd name="T27" fmla="*/ 57 h 84"/>
                  <a:gd name="T28" fmla="*/ 0 w 252"/>
                  <a:gd name="T29" fmla="*/ 42 h 84"/>
                  <a:gd name="T30" fmla="*/ 3 w 252"/>
                  <a:gd name="T31" fmla="*/ 25 h 84"/>
                  <a:gd name="T32" fmla="*/ 12 w 252"/>
                  <a:gd name="T33" fmla="*/ 12 h 84"/>
                  <a:gd name="T34" fmla="*/ 25 w 252"/>
                  <a:gd name="T35" fmla="*/ 3 h 84"/>
                  <a:gd name="T36" fmla="*/ 42 w 252"/>
                  <a:gd name="T3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84">
                    <a:moveTo>
                      <a:pt x="42" y="0"/>
                    </a:moveTo>
                    <a:lnTo>
                      <a:pt x="210" y="0"/>
                    </a:lnTo>
                    <a:lnTo>
                      <a:pt x="226" y="3"/>
                    </a:lnTo>
                    <a:lnTo>
                      <a:pt x="240" y="12"/>
                    </a:lnTo>
                    <a:lnTo>
                      <a:pt x="249" y="25"/>
                    </a:lnTo>
                    <a:lnTo>
                      <a:pt x="252" y="42"/>
                    </a:lnTo>
                    <a:lnTo>
                      <a:pt x="249" y="57"/>
                    </a:lnTo>
                    <a:lnTo>
                      <a:pt x="240" y="71"/>
                    </a:lnTo>
                    <a:lnTo>
                      <a:pt x="226" y="81"/>
                    </a:lnTo>
                    <a:lnTo>
                      <a:pt x="210" y="84"/>
                    </a:lnTo>
                    <a:lnTo>
                      <a:pt x="42" y="84"/>
                    </a:lnTo>
                    <a:lnTo>
                      <a:pt x="25" y="81"/>
                    </a:lnTo>
                    <a:lnTo>
                      <a:pt x="12" y="71"/>
                    </a:lnTo>
                    <a:lnTo>
                      <a:pt x="3" y="57"/>
                    </a:lnTo>
                    <a:lnTo>
                      <a:pt x="0" y="42"/>
                    </a:lnTo>
                    <a:lnTo>
                      <a:pt x="3" y="25"/>
                    </a:lnTo>
                    <a:lnTo>
                      <a:pt x="12" y="12"/>
                    </a:lnTo>
                    <a:lnTo>
                      <a:pt x="25" y="3"/>
                    </a:lnTo>
                    <a:lnTo>
                      <a:pt x="42" y="0"/>
                    </a:lnTo>
                    <a:close/>
                  </a:path>
                </a:pathLst>
              </a:custGeom>
              <a:solidFill>
                <a:schemeClr val="accent5"/>
              </a:solidFill>
              <a:ln>
                <a:noFill/>
              </a:ln>
            </p:spPr>
            <p:txBody>
              <a:bodyPr/>
              <a:lstStyle/>
              <a:p>
                <a:endParaRPr lang="de-DE" dirty="0"/>
              </a:p>
            </p:txBody>
          </p:sp>
          <p:sp>
            <p:nvSpPr>
              <p:cNvPr id="1597" name="Freeform 357"/>
              <p:cNvSpPr>
                <a:spLocks/>
              </p:cNvSpPr>
              <p:nvPr/>
            </p:nvSpPr>
            <p:spPr bwMode="auto">
              <a:xfrm>
                <a:off x="11182290" y="5864818"/>
                <a:ext cx="55557" cy="15877"/>
              </a:xfrm>
              <a:custGeom>
                <a:avLst/>
                <a:gdLst>
                  <a:gd name="T0" fmla="*/ 51 w 345"/>
                  <a:gd name="T1" fmla="*/ 0 h 101"/>
                  <a:gd name="T2" fmla="*/ 294 w 345"/>
                  <a:gd name="T3" fmla="*/ 0 h 101"/>
                  <a:gd name="T4" fmla="*/ 310 w 345"/>
                  <a:gd name="T5" fmla="*/ 3 h 101"/>
                  <a:gd name="T6" fmla="*/ 324 w 345"/>
                  <a:gd name="T7" fmla="*/ 9 h 101"/>
                  <a:gd name="T8" fmla="*/ 335 w 345"/>
                  <a:gd name="T9" fmla="*/ 20 h 101"/>
                  <a:gd name="T10" fmla="*/ 342 w 345"/>
                  <a:gd name="T11" fmla="*/ 35 h 101"/>
                  <a:gd name="T12" fmla="*/ 345 w 345"/>
                  <a:gd name="T13" fmla="*/ 50 h 101"/>
                  <a:gd name="T14" fmla="*/ 342 w 345"/>
                  <a:gd name="T15" fmla="*/ 67 h 101"/>
                  <a:gd name="T16" fmla="*/ 335 w 345"/>
                  <a:gd name="T17" fmla="*/ 80 h 101"/>
                  <a:gd name="T18" fmla="*/ 324 w 345"/>
                  <a:gd name="T19" fmla="*/ 91 h 101"/>
                  <a:gd name="T20" fmla="*/ 310 w 345"/>
                  <a:gd name="T21" fmla="*/ 99 h 101"/>
                  <a:gd name="T22" fmla="*/ 294 w 345"/>
                  <a:gd name="T23" fmla="*/ 101 h 101"/>
                  <a:gd name="T24" fmla="*/ 51 w 345"/>
                  <a:gd name="T25" fmla="*/ 101 h 101"/>
                  <a:gd name="T26" fmla="*/ 34 w 345"/>
                  <a:gd name="T27" fmla="*/ 99 h 101"/>
                  <a:gd name="T28" fmla="*/ 21 w 345"/>
                  <a:gd name="T29" fmla="*/ 91 h 101"/>
                  <a:gd name="T30" fmla="*/ 10 w 345"/>
                  <a:gd name="T31" fmla="*/ 80 h 101"/>
                  <a:gd name="T32" fmla="*/ 3 w 345"/>
                  <a:gd name="T33" fmla="*/ 67 h 101"/>
                  <a:gd name="T34" fmla="*/ 0 w 345"/>
                  <a:gd name="T35" fmla="*/ 50 h 101"/>
                  <a:gd name="T36" fmla="*/ 3 w 345"/>
                  <a:gd name="T37" fmla="*/ 35 h 101"/>
                  <a:gd name="T38" fmla="*/ 10 w 345"/>
                  <a:gd name="T39" fmla="*/ 20 h 101"/>
                  <a:gd name="T40" fmla="*/ 21 w 345"/>
                  <a:gd name="T41" fmla="*/ 9 h 101"/>
                  <a:gd name="T42" fmla="*/ 34 w 345"/>
                  <a:gd name="T43" fmla="*/ 3 h 101"/>
                  <a:gd name="T44" fmla="*/ 51 w 345"/>
                  <a:gd name="T4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101">
                    <a:moveTo>
                      <a:pt x="51" y="0"/>
                    </a:moveTo>
                    <a:lnTo>
                      <a:pt x="294" y="0"/>
                    </a:lnTo>
                    <a:lnTo>
                      <a:pt x="310" y="3"/>
                    </a:lnTo>
                    <a:lnTo>
                      <a:pt x="324" y="9"/>
                    </a:lnTo>
                    <a:lnTo>
                      <a:pt x="335" y="20"/>
                    </a:lnTo>
                    <a:lnTo>
                      <a:pt x="342" y="35"/>
                    </a:lnTo>
                    <a:lnTo>
                      <a:pt x="345" y="50"/>
                    </a:lnTo>
                    <a:lnTo>
                      <a:pt x="342" y="67"/>
                    </a:lnTo>
                    <a:lnTo>
                      <a:pt x="335" y="80"/>
                    </a:lnTo>
                    <a:lnTo>
                      <a:pt x="324" y="91"/>
                    </a:lnTo>
                    <a:lnTo>
                      <a:pt x="310" y="99"/>
                    </a:lnTo>
                    <a:lnTo>
                      <a:pt x="294" y="101"/>
                    </a:lnTo>
                    <a:lnTo>
                      <a:pt x="51" y="101"/>
                    </a:lnTo>
                    <a:lnTo>
                      <a:pt x="34" y="99"/>
                    </a:lnTo>
                    <a:lnTo>
                      <a:pt x="21" y="91"/>
                    </a:lnTo>
                    <a:lnTo>
                      <a:pt x="10" y="80"/>
                    </a:lnTo>
                    <a:lnTo>
                      <a:pt x="3" y="67"/>
                    </a:lnTo>
                    <a:lnTo>
                      <a:pt x="0" y="50"/>
                    </a:lnTo>
                    <a:lnTo>
                      <a:pt x="3" y="35"/>
                    </a:lnTo>
                    <a:lnTo>
                      <a:pt x="10" y="20"/>
                    </a:lnTo>
                    <a:lnTo>
                      <a:pt x="21" y="9"/>
                    </a:lnTo>
                    <a:lnTo>
                      <a:pt x="34" y="3"/>
                    </a:lnTo>
                    <a:lnTo>
                      <a:pt x="51" y="0"/>
                    </a:lnTo>
                    <a:close/>
                  </a:path>
                </a:pathLst>
              </a:custGeom>
              <a:solidFill>
                <a:schemeClr val="accent5"/>
              </a:solidFill>
              <a:ln>
                <a:noFill/>
              </a:ln>
            </p:spPr>
            <p:txBody>
              <a:bodyPr/>
              <a:lstStyle/>
              <a:p>
                <a:endParaRPr lang="de-DE" dirty="0"/>
              </a:p>
            </p:txBody>
          </p:sp>
          <p:sp>
            <p:nvSpPr>
              <p:cNvPr id="1598" name="Freeform 358"/>
              <p:cNvSpPr>
                <a:spLocks/>
              </p:cNvSpPr>
              <p:nvPr/>
            </p:nvSpPr>
            <p:spPr bwMode="auto">
              <a:xfrm>
                <a:off x="11258482" y="5869581"/>
                <a:ext cx="49208" cy="14289"/>
              </a:xfrm>
              <a:custGeom>
                <a:avLst/>
                <a:gdLst>
                  <a:gd name="T0" fmla="*/ 47 w 309"/>
                  <a:gd name="T1" fmla="*/ 0 h 95"/>
                  <a:gd name="T2" fmla="*/ 261 w 309"/>
                  <a:gd name="T3" fmla="*/ 0 h 95"/>
                  <a:gd name="T4" fmla="*/ 276 w 309"/>
                  <a:gd name="T5" fmla="*/ 2 h 95"/>
                  <a:gd name="T6" fmla="*/ 289 w 309"/>
                  <a:gd name="T7" fmla="*/ 8 h 95"/>
                  <a:gd name="T8" fmla="*/ 300 w 309"/>
                  <a:gd name="T9" fmla="*/ 19 h 95"/>
                  <a:gd name="T10" fmla="*/ 306 w 309"/>
                  <a:gd name="T11" fmla="*/ 32 h 95"/>
                  <a:gd name="T12" fmla="*/ 309 w 309"/>
                  <a:gd name="T13" fmla="*/ 47 h 95"/>
                  <a:gd name="T14" fmla="*/ 306 w 309"/>
                  <a:gd name="T15" fmla="*/ 61 h 95"/>
                  <a:gd name="T16" fmla="*/ 300 w 309"/>
                  <a:gd name="T17" fmla="*/ 75 h 95"/>
                  <a:gd name="T18" fmla="*/ 289 w 309"/>
                  <a:gd name="T19" fmla="*/ 85 h 95"/>
                  <a:gd name="T20" fmla="*/ 276 w 309"/>
                  <a:gd name="T21" fmla="*/ 92 h 95"/>
                  <a:gd name="T22" fmla="*/ 261 w 309"/>
                  <a:gd name="T23" fmla="*/ 95 h 95"/>
                  <a:gd name="T24" fmla="*/ 47 w 309"/>
                  <a:gd name="T25" fmla="*/ 95 h 95"/>
                  <a:gd name="T26" fmla="*/ 33 w 309"/>
                  <a:gd name="T27" fmla="*/ 92 h 95"/>
                  <a:gd name="T28" fmla="*/ 20 w 309"/>
                  <a:gd name="T29" fmla="*/ 85 h 95"/>
                  <a:gd name="T30" fmla="*/ 10 w 309"/>
                  <a:gd name="T31" fmla="*/ 75 h 95"/>
                  <a:gd name="T32" fmla="*/ 3 w 309"/>
                  <a:gd name="T33" fmla="*/ 61 h 95"/>
                  <a:gd name="T34" fmla="*/ 0 w 309"/>
                  <a:gd name="T35" fmla="*/ 47 h 95"/>
                  <a:gd name="T36" fmla="*/ 3 w 309"/>
                  <a:gd name="T37" fmla="*/ 32 h 95"/>
                  <a:gd name="T38" fmla="*/ 10 w 309"/>
                  <a:gd name="T39" fmla="*/ 19 h 95"/>
                  <a:gd name="T40" fmla="*/ 20 w 309"/>
                  <a:gd name="T41" fmla="*/ 8 h 95"/>
                  <a:gd name="T42" fmla="*/ 33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6" y="2"/>
                    </a:lnTo>
                    <a:lnTo>
                      <a:pt x="289" y="8"/>
                    </a:lnTo>
                    <a:lnTo>
                      <a:pt x="300" y="19"/>
                    </a:lnTo>
                    <a:lnTo>
                      <a:pt x="306" y="32"/>
                    </a:lnTo>
                    <a:lnTo>
                      <a:pt x="309" y="47"/>
                    </a:lnTo>
                    <a:lnTo>
                      <a:pt x="306" y="61"/>
                    </a:lnTo>
                    <a:lnTo>
                      <a:pt x="300" y="75"/>
                    </a:lnTo>
                    <a:lnTo>
                      <a:pt x="289" y="85"/>
                    </a:lnTo>
                    <a:lnTo>
                      <a:pt x="276" y="92"/>
                    </a:lnTo>
                    <a:lnTo>
                      <a:pt x="261" y="95"/>
                    </a:lnTo>
                    <a:lnTo>
                      <a:pt x="47" y="95"/>
                    </a:lnTo>
                    <a:lnTo>
                      <a:pt x="33" y="92"/>
                    </a:lnTo>
                    <a:lnTo>
                      <a:pt x="20" y="85"/>
                    </a:lnTo>
                    <a:lnTo>
                      <a:pt x="10" y="75"/>
                    </a:lnTo>
                    <a:lnTo>
                      <a:pt x="3" y="61"/>
                    </a:lnTo>
                    <a:lnTo>
                      <a:pt x="0" y="47"/>
                    </a:lnTo>
                    <a:lnTo>
                      <a:pt x="3" y="32"/>
                    </a:lnTo>
                    <a:lnTo>
                      <a:pt x="10" y="19"/>
                    </a:lnTo>
                    <a:lnTo>
                      <a:pt x="20" y="8"/>
                    </a:lnTo>
                    <a:lnTo>
                      <a:pt x="33" y="2"/>
                    </a:lnTo>
                    <a:lnTo>
                      <a:pt x="47" y="0"/>
                    </a:lnTo>
                    <a:close/>
                  </a:path>
                </a:pathLst>
              </a:custGeom>
              <a:solidFill>
                <a:schemeClr val="accent5"/>
              </a:solidFill>
              <a:ln>
                <a:noFill/>
              </a:ln>
            </p:spPr>
            <p:txBody>
              <a:bodyPr/>
              <a:lstStyle/>
              <a:p>
                <a:endParaRPr lang="de-DE" dirty="0"/>
              </a:p>
            </p:txBody>
          </p:sp>
          <p:sp>
            <p:nvSpPr>
              <p:cNvPr id="1599" name="Freeform 359"/>
              <p:cNvSpPr>
                <a:spLocks/>
              </p:cNvSpPr>
              <p:nvPr/>
            </p:nvSpPr>
            <p:spPr bwMode="auto">
              <a:xfrm>
                <a:off x="11318801" y="5866405"/>
                <a:ext cx="49208" cy="14289"/>
              </a:xfrm>
              <a:custGeom>
                <a:avLst/>
                <a:gdLst>
                  <a:gd name="T0" fmla="*/ 47 w 309"/>
                  <a:gd name="T1" fmla="*/ 0 h 95"/>
                  <a:gd name="T2" fmla="*/ 261 w 309"/>
                  <a:gd name="T3" fmla="*/ 0 h 95"/>
                  <a:gd name="T4" fmla="*/ 277 w 309"/>
                  <a:gd name="T5" fmla="*/ 2 h 95"/>
                  <a:gd name="T6" fmla="*/ 289 w 309"/>
                  <a:gd name="T7" fmla="*/ 9 h 95"/>
                  <a:gd name="T8" fmla="*/ 300 w 309"/>
                  <a:gd name="T9" fmla="*/ 20 h 95"/>
                  <a:gd name="T10" fmla="*/ 307 w 309"/>
                  <a:gd name="T11" fmla="*/ 32 h 95"/>
                  <a:gd name="T12" fmla="*/ 309 w 309"/>
                  <a:gd name="T13" fmla="*/ 47 h 95"/>
                  <a:gd name="T14" fmla="*/ 307 w 309"/>
                  <a:gd name="T15" fmla="*/ 62 h 95"/>
                  <a:gd name="T16" fmla="*/ 300 w 309"/>
                  <a:gd name="T17" fmla="*/ 75 h 95"/>
                  <a:gd name="T18" fmla="*/ 289 w 309"/>
                  <a:gd name="T19" fmla="*/ 85 h 95"/>
                  <a:gd name="T20" fmla="*/ 277 w 309"/>
                  <a:gd name="T21" fmla="*/ 91 h 95"/>
                  <a:gd name="T22" fmla="*/ 261 w 309"/>
                  <a:gd name="T23" fmla="*/ 95 h 95"/>
                  <a:gd name="T24" fmla="*/ 47 w 309"/>
                  <a:gd name="T25" fmla="*/ 95 h 95"/>
                  <a:gd name="T26" fmla="*/ 32 w 309"/>
                  <a:gd name="T27" fmla="*/ 91 h 95"/>
                  <a:gd name="T28" fmla="*/ 19 w 309"/>
                  <a:gd name="T29" fmla="*/ 85 h 95"/>
                  <a:gd name="T30" fmla="*/ 9 w 309"/>
                  <a:gd name="T31" fmla="*/ 75 h 95"/>
                  <a:gd name="T32" fmla="*/ 2 w 309"/>
                  <a:gd name="T33" fmla="*/ 62 h 95"/>
                  <a:gd name="T34" fmla="*/ 0 w 309"/>
                  <a:gd name="T35" fmla="*/ 47 h 95"/>
                  <a:gd name="T36" fmla="*/ 2 w 309"/>
                  <a:gd name="T37" fmla="*/ 32 h 95"/>
                  <a:gd name="T38" fmla="*/ 9 w 309"/>
                  <a:gd name="T39" fmla="*/ 20 h 95"/>
                  <a:gd name="T40" fmla="*/ 19 w 309"/>
                  <a:gd name="T41" fmla="*/ 9 h 95"/>
                  <a:gd name="T42" fmla="*/ 32 w 309"/>
                  <a:gd name="T43" fmla="*/ 2 h 95"/>
                  <a:gd name="T44" fmla="*/ 47 w 309"/>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95">
                    <a:moveTo>
                      <a:pt x="47" y="0"/>
                    </a:moveTo>
                    <a:lnTo>
                      <a:pt x="261" y="0"/>
                    </a:lnTo>
                    <a:lnTo>
                      <a:pt x="277" y="2"/>
                    </a:lnTo>
                    <a:lnTo>
                      <a:pt x="289" y="9"/>
                    </a:lnTo>
                    <a:lnTo>
                      <a:pt x="300" y="20"/>
                    </a:lnTo>
                    <a:lnTo>
                      <a:pt x="307" y="32"/>
                    </a:lnTo>
                    <a:lnTo>
                      <a:pt x="309" y="47"/>
                    </a:lnTo>
                    <a:lnTo>
                      <a:pt x="307" y="62"/>
                    </a:lnTo>
                    <a:lnTo>
                      <a:pt x="300" y="75"/>
                    </a:lnTo>
                    <a:lnTo>
                      <a:pt x="289" y="85"/>
                    </a:lnTo>
                    <a:lnTo>
                      <a:pt x="277" y="91"/>
                    </a:lnTo>
                    <a:lnTo>
                      <a:pt x="261" y="95"/>
                    </a:lnTo>
                    <a:lnTo>
                      <a:pt x="47" y="95"/>
                    </a:lnTo>
                    <a:lnTo>
                      <a:pt x="32" y="91"/>
                    </a:lnTo>
                    <a:lnTo>
                      <a:pt x="19" y="85"/>
                    </a:lnTo>
                    <a:lnTo>
                      <a:pt x="9" y="75"/>
                    </a:lnTo>
                    <a:lnTo>
                      <a:pt x="2" y="62"/>
                    </a:lnTo>
                    <a:lnTo>
                      <a:pt x="0" y="47"/>
                    </a:lnTo>
                    <a:lnTo>
                      <a:pt x="2" y="32"/>
                    </a:lnTo>
                    <a:lnTo>
                      <a:pt x="9" y="20"/>
                    </a:lnTo>
                    <a:lnTo>
                      <a:pt x="19" y="9"/>
                    </a:lnTo>
                    <a:lnTo>
                      <a:pt x="32" y="2"/>
                    </a:lnTo>
                    <a:lnTo>
                      <a:pt x="47" y="0"/>
                    </a:lnTo>
                    <a:close/>
                  </a:path>
                </a:pathLst>
              </a:custGeom>
              <a:solidFill>
                <a:schemeClr val="accent5"/>
              </a:solidFill>
              <a:ln>
                <a:noFill/>
              </a:ln>
            </p:spPr>
            <p:txBody>
              <a:bodyPr/>
              <a:lstStyle/>
              <a:p>
                <a:endParaRPr lang="de-DE" dirty="0"/>
              </a:p>
            </p:txBody>
          </p:sp>
          <p:sp>
            <p:nvSpPr>
              <p:cNvPr id="1600" name="Freeform 360"/>
              <p:cNvSpPr>
                <a:spLocks/>
              </p:cNvSpPr>
              <p:nvPr/>
            </p:nvSpPr>
            <p:spPr bwMode="auto">
              <a:xfrm>
                <a:off x="11390232" y="5863230"/>
                <a:ext cx="47620" cy="14289"/>
              </a:xfrm>
              <a:custGeom>
                <a:avLst/>
                <a:gdLst>
                  <a:gd name="T0" fmla="*/ 46 w 302"/>
                  <a:gd name="T1" fmla="*/ 0 h 94"/>
                  <a:gd name="T2" fmla="*/ 255 w 302"/>
                  <a:gd name="T3" fmla="*/ 0 h 94"/>
                  <a:gd name="T4" fmla="*/ 270 w 302"/>
                  <a:gd name="T5" fmla="*/ 2 h 94"/>
                  <a:gd name="T6" fmla="*/ 283 w 302"/>
                  <a:gd name="T7" fmla="*/ 9 h 94"/>
                  <a:gd name="T8" fmla="*/ 293 w 302"/>
                  <a:gd name="T9" fmla="*/ 19 h 94"/>
                  <a:gd name="T10" fmla="*/ 299 w 302"/>
                  <a:gd name="T11" fmla="*/ 32 h 94"/>
                  <a:gd name="T12" fmla="*/ 302 w 302"/>
                  <a:gd name="T13" fmla="*/ 48 h 94"/>
                  <a:gd name="T14" fmla="*/ 299 w 302"/>
                  <a:gd name="T15" fmla="*/ 62 h 94"/>
                  <a:gd name="T16" fmla="*/ 293 w 302"/>
                  <a:gd name="T17" fmla="*/ 74 h 94"/>
                  <a:gd name="T18" fmla="*/ 283 w 302"/>
                  <a:gd name="T19" fmla="*/ 85 h 94"/>
                  <a:gd name="T20" fmla="*/ 270 w 302"/>
                  <a:gd name="T21" fmla="*/ 92 h 94"/>
                  <a:gd name="T22" fmla="*/ 255 w 302"/>
                  <a:gd name="T23" fmla="*/ 94 h 94"/>
                  <a:gd name="T24" fmla="*/ 46 w 302"/>
                  <a:gd name="T25" fmla="*/ 94 h 94"/>
                  <a:gd name="T26" fmla="*/ 32 w 302"/>
                  <a:gd name="T27" fmla="*/ 92 h 94"/>
                  <a:gd name="T28" fmla="*/ 18 w 302"/>
                  <a:gd name="T29" fmla="*/ 85 h 94"/>
                  <a:gd name="T30" fmla="*/ 8 w 302"/>
                  <a:gd name="T31" fmla="*/ 74 h 94"/>
                  <a:gd name="T32" fmla="*/ 2 w 302"/>
                  <a:gd name="T33" fmla="*/ 62 h 94"/>
                  <a:gd name="T34" fmla="*/ 0 w 302"/>
                  <a:gd name="T35" fmla="*/ 48 h 94"/>
                  <a:gd name="T36" fmla="*/ 2 w 302"/>
                  <a:gd name="T37" fmla="*/ 32 h 94"/>
                  <a:gd name="T38" fmla="*/ 8 w 302"/>
                  <a:gd name="T39" fmla="*/ 19 h 94"/>
                  <a:gd name="T40" fmla="*/ 18 w 302"/>
                  <a:gd name="T41" fmla="*/ 9 h 94"/>
                  <a:gd name="T42" fmla="*/ 32 w 302"/>
                  <a:gd name="T43" fmla="*/ 2 h 94"/>
                  <a:gd name="T44" fmla="*/ 46 w 302"/>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2" h="94">
                    <a:moveTo>
                      <a:pt x="46" y="0"/>
                    </a:moveTo>
                    <a:lnTo>
                      <a:pt x="255" y="0"/>
                    </a:lnTo>
                    <a:lnTo>
                      <a:pt x="270" y="2"/>
                    </a:lnTo>
                    <a:lnTo>
                      <a:pt x="283" y="9"/>
                    </a:lnTo>
                    <a:lnTo>
                      <a:pt x="293" y="19"/>
                    </a:lnTo>
                    <a:lnTo>
                      <a:pt x="299" y="32"/>
                    </a:lnTo>
                    <a:lnTo>
                      <a:pt x="302" y="48"/>
                    </a:lnTo>
                    <a:lnTo>
                      <a:pt x="299" y="62"/>
                    </a:lnTo>
                    <a:lnTo>
                      <a:pt x="293" y="74"/>
                    </a:lnTo>
                    <a:lnTo>
                      <a:pt x="283" y="85"/>
                    </a:lnTo>
                    <a:lnTo>
                      <a:pt x="270" y="92"/>
                    </a:lnTo>
                    <a:lnTo>
                      <a:pt x="255" y="94"/>
                    </a:lnTo>
                    <a:lnTo>
                      <a:pt x="46" y="94"/>
                    </a:lnTo>
                    <a:lnTo>
                      <a:pt x="32" y="92"/>
                    </a:lnTo>
                    <a:lnTo>
                      <a:pt x="18" y="85"/>
                    </a:lnTo>
                    <a:lnTo>
                      <a:pt x="8" y="74"/>
                    </a:lnTo>
                    <a:lnTo>
                      <a:pt x="2" y="62"/>
                    </a:lnTo>
                    <a:lnTo>
                      <a:pt x="0" y="48"/>
                    </a:lnTo>
                    <a:lnTo>
                      <a:pt x="2" y="32"/>
                    </a:lnTo>
                    <a:lnTo>
                      <a:pt x="8" y="19"/>
                    </a:lnTo>
                    <a:lnTo>
                      <a:pt x="18" y="9"/>
                    </a:lnTo>
                    <a:lnTo>
                      <a:pt x="32" y="2"/>
                    </a:lnTo>
                    <a:lnTo>
                      <a:pt x="46" y="0"/>
                    </a:lnTo>
                    <a:close/>
                  </a:path>
                </a:pathLst>
              </a:custGeom>
              <a:solidFill>
                <a:schemeClr val="accent5"/>
              </a:solidFill>
              <a:ln>
                <a:noFill/>
              </a:ln>
            </p:spPr>
            <p:txBody>
              <a:bodyPr/>
              <a:lstStyle/>
              <a:p>
                <a:endParaRPr lang="de-DE" dirty="0"/>
              </a:p>
            </p:txBody>
          </p:sp>
          <p:sp>
            <p:nvSpPr>
              <p:cNvPr id="1601" name="Freeform 361"/>
              <p:cNvSpPr>
                <a:spLocks/>
              </p:cNvSpPr>
              <p:nvPr/>
            </p:nvSpPr>
            <p:spPr bwMode="auto">
              <a:xfrm>
                <a:off x="10979110" y="5918799"/>
                <a:ext cx="42858" cy="14289"/>
              </a:xfrm>
              <a:custGeom>
                <a:avLst/>
                <a:gdLst>
                  <a:gd name="T0" fmla="*/ 45 w 271"/>
                  <a:gd name="T1" fmla="*/ 0 h 87"/>
                  <a:gd name="T2" fmla="*/ 228 w 271"/>
                  <a:gd name="T3" fmla="*/ 0 h 87"/>
                  <a:gd name="T4" fmla="*/ 242 w 271"/>
                  <a:gd name="T5" fmla="*/ 2 h 87"/>
                  <a:gd name="T6" fmla="*/ 254 w 271"/>
                  <a:gd name="T7" fmla="*/ 7 h 87"/>
                  <a:gd name="T8" fmla="*/ 264 w 271"/>
                  <a:gd name="T9" fmla="*/ 17 h 87"/>
                  <a:gd name="T10" fmla="*/ 269 w 271"/>
                  <a:gd name="T11" fmla="*/ 29 h 87"/>
                  <a:gd name="T12" fmla="*/ 271 w 271"/>
                  <a:gd name="T13" fmla="*/ 44 h 87"/>
                  <a:gd name="T14" fmla="*/ 269 w 271"/>
                  <a:gd name="T15" fmla="*/ 57 h 87"/>
                  <a:gd name="T16" fmla="*/ 264 w 271"/>
                  <a:gd name="T17" fmla="*/ 69 h 87"/>
                  <a:gd name="T18" fmla="*/ 254 w 271"/>
                  <a:gd name="T19" fmla="*/ 78 h 87"/>
                  <a:gd name="T20" fmla="*/ 242 w 271"/>
                  <a:gd name="T21" fmla="*/ 85 h 87"/>
                  <a:gd name="T22" fmla="*/ 228 w 271"/>
                  <a:gd name="T23" fmla="*/ 87 h 87"/>
                  <a:gd name="T24" fmla="*/ 45 w 271"/>
                  <a:gd name="T25" fmla="*/ 87 h 87"/>
                  <a:gd name="T26" fmla="*/ 30 w 271"/>
                  <a:gd name="T27" fmla="*/ 85 h 87"/>
                  <a:gd name="T28" fmla="*/ 19 w 271"/>
                  <a:gd name="T29" fmla="*/ 78 h 87"/>
                  <a:gd name="T30" fmla="*/ 9 w 271"/>
                  <a:gd name="T31" fmla="*/ 69 h 87"/>
                  <a:gd name="T32" fmla="*/ 3 w 271"/>
                  <a:gd name="T33" fmla="*/ 57 h 87"/>
                  <a:gd name="T34" fmla="*/ 0 w 271"/>
                  <a:gd name="T35" fmla="*/ 44 h 87"/>
                  <a:gd name="T36" fmla="*/ 3 w 271"/>
                  <a:gd name="T37" fmla="*/ 29 h 87"/>
                  <a:gd name="T38" fmla="*/ 9 w 271"/>
                  <a:gd name="T39" fmla="*/ 17 h 87"/>
                  <a:gd name="T40" fmla="*/ 19 w 271"/>
                  <a:gd name="T41" fmla="*/ 7 h 87"/>
                  <a:gd name="T42" fmla="*/ 30 w 271"/>
                  <a:gd name="T43" fmla="*/ 2 h 87"/>
                  <a:gd name="T44" fmla="*/ 45 w 271"/>
                  <a:gd name="T4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87">
                    <a:moveTo>
                      <a:pt x="45" y="0"/>
                    </a:moveTo>
                    <a:lnTo>
                      <a:pt x="228" y="0"/>
                    </a:lnTo>
                    <a:lnTo>
                      <a:pt x="242" y="2"/>
                    </a:lnTo>
                    <a:lnTo>
                      <a:pt x="254" y="7"/>
                    </a:lnTo>
                    <a:lnTo>
                      <a:pt x="264" y="17"/>
                    </a:lnTo>
                    <a:lnTo>
                      <a:pt x="269" y="29"/>
                    </a:lnTo>
                    <a:lnTo>
                      <a:pt x="271" y="44"/>
                    </a:lnTo>
                    <a:lnTo>
                      <a:pt x="269" y="57"/>
                    </a:lnTo>
                    <a:lnTo>
                      <a:pt x="264" y="69"/>
                    </a:lnTo>
                    <a:lnTo>
                      <a:pt x="254" y="78"/>
                    </a:lnTo>
                    <a:lnTo>
                      <a:pt x="242" y="85"/>
                    </a:lnTo>
                    <a:lnTo>
                      <a:pt x="228" y="87"/>
                    </a:lnTo>
                    <a:lnTo>
                      <a:pt x="45" y="87"/>
                    </a:lnTo>
                    <a:lnTo>
                      <a:pt x="30" y="85"/>
                    </a:lnTo>
                    <a:lnTo>
                      <a:pt x="19" y="78"/>
                    </a:lnTo>
                    <a:lnTo>
                      <a:pt x="9" y="69"/>
                    </a:lnTo>
                    <a:lnTo>
                      <a:pt x="3" y="57"/>
                    </a:lnTo>
                    <a:lnTo>
                      <a:pt x="0" y="44"/>
                    </a:lnTo>
                    <a:lnTo>
                      <a:pt x="3" y="29"/>
                    </a:lnTo>
                    <a:lnTo>
                      <a:pt x="9" y="17"/>
                    </a:lnTo>
                    <a:lnTo>
                      <a:pt x="19" y="7"/>
                    </a:lnTo>
                    <a:lnTo>
                      <a:pt x="30" y="2"/>
                    </a:lnTo>
                    <a:lnTo>
                      <a:pt x="45" y="0"/>
                    </a:lnTo>
                    <a:close/>
                  </a:path>
                </a:pathLst>
              </a:custGeom>
              <a:solidFill>
                <a:schemeClr val="accent5"/>
              </a:solidFill>
              <a:ln>
                <a:noFill/>
              </a:ln>
            </p:spPr>
            <p:txBody>
              <a:bodyPr/>
              <a:lstStyle/>
              <a:p>
                <a:endParaRPr lang="de-DE" dirty="0"/>
              </a:p>
            </p:txBody>
          </p:sp>
          <p:sp>
            <p:nvSpPr>
              <p:cNvPr id="1602" name="Freeform 362"/>
              <p:cNvSpPr>
                <a:spLocks/>
              </p:cNvSpPr>
              <p:nvPr/>
            </p:nvSpPr>
            <p:spPr bwMode="auto">
              <a:xfrm>
                <a:off x="11052128" y="5920387"/>
                <a:ext cx="50795" cy="14289"/>
              </a:xfrm>
              <a:custGeom>
                <a:avLst/>
                <a:gdLst>
                  <a:gd name="T0" fmla="*/ 48 w 317"/>
                  <a:gd name="T1" fmla="*/ 0 h 96"/>
                  <a:gd name="T2" fmla="*/ 270 w 317"/>
                  <a:gd name="T3" fmla="*/ 0 h 96"/>
                  <a:gd name="T4" fmla="*/ 284 w 317"/>
                  <a:gd name="T5" fmla="*/ 3 h 96"/>
                  <a:gd name="T6" fmla="*/ 297 w 317"/>
                  <a:gd name="T7" fmla="*/ 10 h 96"/>
                  <a:gd name="T8" fmla="*/ 308 w 317"/>
                  <a:gd name="T9" fmla="*/ 20 h 96"/>
                  <a:gd name="T10" fmla="*/ 315 w 317"/>
                  <a:gd name="T11" fmla="*/ 33 h 96"/>
                  <a:gd name="T12" fmla="*/ 317 w 317"/>
                  <a:gd name="T13" fmla="*/ 48 h 96"/>
                  <a:gd name="T14" fmla="*/ 315 w 317"/>
                  <a:gd name="T15" fmla="*/ 64 h 96"/>
                  <a:gd name="T16" fmla="*/ 308 w 317"/>
                  <a:gd name="T17" fmla="*/ 77 h 96"/>
                  <a:gd name="T18" fmla="*/ 297 w 317"/>
                  <a:gd name="T19" fmla="*/ 87 h 96"/>
                  <a:gd name="T20" fmla="*/ 285 w 317"/>
                  <a:gd name="T21" fmla="*/ 94 h 96"/>
                  <a:gd name="T22" fmla="*/ 270 w 317"/>
                  <a:gd name="T23" fmla="*/ 96 h 96"/>
                  <a:gd name="T24" fmla="*/ 48 w 317"/>
                  <a:gd name="T25" fmla="*/ 96 h 96"/>
                  <a:gd name="T26" fmla="*/ 33 w 317"/>
                  <a:gd name="T27" fmla="*/ 94 h 96"/>
                  <a:gd name="T28" fmla="*/ 20 w 317"/>
                  <a:gd name="T29" fmla="*/ 87 h 96"/>
                  <a:gd name="T30" fmla="*/ 10 w 317"/>
                  <a:gd name="T31" fmla="*/ 77 h 96"/>
                  <a:gd name="T32" fmla="*/ 2 w 317"/>
                  <a:gd name="T33" fmla="*/ 64 h 96"/>
                  <a:gd name="T34" fmla="*/ 0 w 317"/>
                  <a:gd name="T35" fmla="*/ 48 h 96"/>
                  <a:gd name="T36" fmla="*/ 2 w 317"/>
                  <a:gd name="T37" fmla="*/ 33 h 96"/>
                  <a:gd name="T38" fmla="*/ 10 w 317"/>
                  <a:gd name="T39" fmla="*/ 20 h 96"/>
                  <a:gd name="T40" fmla="*/ 20 w 317"/>
                  <a:gd name="T41" fmla="*/ 10 h 96"/>
                  <a:gd name="T42" fmla="*/ 33 w 317"/>
                  <a:gd name="T43" fmla="*/ 3 h 96"/>
                  <a:gd name="T44" fmla="*/ 48 w 317"/>
                  <a:gd name="T4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96">
                    <a:moveTo>
                      <a:pt x="48" y="0"/>
                    </a:moveTo>
                    <a:lnTo>
                      <a:pt x="270" y="0"/>
                    </a:lnTo>
                    <a:lnTo>
                      <a:pt x="284" y="3"/>
                    </a:lnTo>
                    <a:lnTo>
                      <a:pt x="297" y="10"/>
                    </a:lnTo>
                    <a:lnTo>
                      <a:pt x="308" y="20"/>
                    </a:lnTo>
                    <a:lnTo>
                      <a:pt x="315" y="33"/>
                    </a:lnTo>
                    <a:lnTo>
                      <a:pt x="317" y="48"/>
                    </a:lnTo>
                    <a:lnTo>
                      <a:pt x="315" y="64"/>
                    </a:lnTo>
                    <a:lnTo>
                      <a:pt x="308" y="77"/>
                    </a:lnTo>
                    <a:lnTo>
                      <a:pt x="297" y="87"/>
                    </a:lnTo>
                    <a:lnTo>
                      <a:pt x="285" y="94"/>
                    </a:lnTo>
                    <a:lnTo>
                      <a:pt x="270" y="96"/>
                    </a:lnTo>
                    <a:lnTo>
                      <a:pt x="48" y="96"/>
                    </a:lnTo>
                    <a:lnTo>
                      <a:pt x="33" y="94"/>
                    </a:lnTo>
                    <a:lnTo>
                      <a:pt x="20" y="87"/>
                    </a:lnTo>
                    <a:lnTo>
                      <a:pt x="10" y="77"/>
                    </a:lnTo>
                    <a:lnTo>
                      <a:pt x="2" y="64"/>
                    </a:lnTo>
                    <a:lnTo>
                      <a:pt x="0" y="48"/>
                    </a:lnTo>
                    <a:lnTo>
                      <a:pt x="2" y="33"/>
                    </a:lnTo>
                    <a:lnTo>
                      <a:pt x="10" y="20"/>
                    </a:lnTo>
                    <a:lnTo>
                      <a:pt x="20" y="10"/>
                    </a:lnTo>
                    <a:lnTo>
                      <a:pt x="33" y="3"/>
                    </a:lnTo>
                    <a:lnTo>
                      <a:pt x="48" y="0"/>
                    </a:lnTo>
                    <a:close/>
                  </a:path>
                </a:pathLst>
              </a:custGeom>
              <a:solidFill>
                <a:schemeClr val="accent5"/>
              </a:solidFill>
              <a:ln>
                <a:noFill/>
              </a:ln>
            </p:spPr>
            <p:txBody>
              <a:bodyPr/>
              <a:lstStyle/>
              <a:p>
                <a:endParaRPr lang="de-DE" dirty="0"/>
              </a:p>
            </p:txBody>
          </p:sp>
          <p:sp>
            <p:nvSpPr>
              <p:cNvPr id="1603" name="Freeform 363"/>
              <p:cNvSpPr>
                <a:spLocks/>
              </p:cNvSpPr>
              <p:nvPr/>
            </p:nvSpPr>
            <p:spPr bwMode="auto">
              <a:xfrm>
                <a:off x="11117209" y="5921974"/>
                <a:ext cx="41271" cy="12701"/>
              </a:xfrm>
              <a:custGeom>
                <a:avLst/>
                <a:gdLst>
                  <a:gd name="T0" fmla="*/ 43 w 261"/>
                  <a:gd name="T1" fmla="*/ 0 h 85"/>
                  <a:gd name="T2" fmla="*/ 218 w 261"/>
                  <a:gd name="T3" fmla="*/ 0 h 85"/>
                  <a:gd name="T4" fmla="*/ 233 w 261"/>
                  <a:gd name="T5" fmla="*/ 2 h 85"/>
                  <a:gd name="T6" fmla="*/ 244 w 261"/>
                  <a:gd name="T7" fmla="*/ 7 h 85"/>
                  <a:gd name="T8" fmla="*/ 254 w 261"/>
                  <a:gd name="T9" fmla="*/ 17 h 85"/>
                  <a:gd name="T10" fmla="*/ 259 w 261"/>
                  <a:gd name="T11" fmla="*/ 28 h 85"/>
                  <a:gd name="T12" fmla="*/ 261 w 261"/>
                  <a:gd name="T13" fmla="*/ 43 h 85"/>
                  <a:gd name="T14" fmla="*/ 259 w 261"/>
                  <a:gd name="T15" fmla="*/ 56 h 85"/>
                  <a:gd name="T16" fmla="*/ 254 w 261"/>
                  <a:gd name="T17" fmla="*/ 67 h 85"/>
                  <a:gd name="T18" fmla="*/ 244 w 261"/>
                  <a:gd name="T19" fmla="*/ 77 h 85"/>
                  <a:gd name="T20" fmla="*/ 233 w 261"/>
                  <a:gd name="T21" fmla="*/ 83 h 85"/>
                  <a:gd name="T22" fmla="*/ 218 w 261"/>
                  <a:gd name="T23" fmla="*/ 85 h 85"/>
                  <a:gd name="T24" fmla="*/ 43 w 261"/>
                  <a:gd name="T25" fmla="*/ 85 h 85"/>
                  <a:gd name="T26" fmla="*/ 29 w 261"/>
                  <a:gd name="T27" fmla="*/ 83 h 85"/>
                  <a:gd name="T28" fmla="*/ 18 w 261"/>
                  <a:gd name="T29" fmla="*/ 77 h 85"/>
                  <a:gd name="T30" fmla="*/ 8 w 261"/>
                  <a:gd name="T31" fmla="*/ 67 h 85"/>
                  <a:gd name="T32" fmla="*/ 3 w 261"/>
                  <a:gd name="T33" fmla="*/ 56 h 85"/>
                  <a:gd name="T34" fmla="*/ 0 w 261"/>
                  <a:gd name="T35" fmla="*/ 43 h 85"/>
                  <a:gd name="T36" fmla="*/ 3 w 261"/>
                  <a:gd name="T37" fmla="*/ 28 h 85"/>
                  <a:gd name="T38" fmla="*/ 8 w 261"/>
                  <a:gd name="T39" fmla="*/ 17 h 85"/>
                  <a:gd name="T40" fmla="*/ 18 w 261"/>
                  <a:gd name="T41" fmla="*/ 7 h 85"/>
                  <a:gd name="T42" fmla="*/ 29 w 261"/>
                  <a:gd name="T43" fmla="*/ 2 h 85"/>
                  <a:gd name="T44" fmla="*/ 43 w 261"/>
                  <a:gd name="T4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85">
                    <a:moveTo>
                      <a:pt x="43" y="0"/>
                    </a:moveTo>
                    <a:lnTo>
                      <a:pt x="218" y="0"/>
                    </a:lnTo>
                    <a:lnTo>
                      <a:pt x="233" y="2"/>
                    </a:lnTo>
                    <a:lnTo>
                      <a:pt x="244" y="7"/>
                    </a:lnTo>
                    <a:lnTo>
                      <a:pt x="254" y="17"/>
                    </a:lnTo>
                    <a:lnTo>
                      <a:pt x="259" y="28"/>
                    </a:lnTo>
                    <a:lnTo>
                      <a:pt x="261" y="43"/>
                    </a:lnTo>
                    <a:lnTo>
                      <a:pt x="259" y="56"/>
                    </a:lnTo>
                    <a:lnTo>
                      <a:pt x="254" y="67"/>
                    </a:lnTo>
                    <a:lnTo>
                      <a:pt x="244" y="77"/>
                    </a:lnTo>
                    <a:lnTo>
                      <a:pt x="233" y="83"/>
                    </a:lnTo>
                    <a:lnTo>
                      <a:pt x="218" y="85"/>
                    </a:lnTo>
                    <a:lnTo>
                      <a:pt x="43" y="85"/>
                    </a:lnTo>
                    <a:lnTo>
                      <a:pt x="29" y="83"/>
                    </a:lnTo>
                    <a:lnTo>
                      <a:pt x="18" y="77"/>
                    </a:lnTo>
                    <a:lnTo>
                      <a:pt x="8" y="67"/>
                    </a:lnTo>
                    <a:lnTo>
                      <a:pt x="3" y="56"/>
                    </a:lnTo>
                    <a:lnTo>
                      <a:pt x="0" y="43"/>
                    </a:lnTo>
                    <a:lnTo>
                      <a:pt x="3" y="28"/>
                    </a:lnTo>
                    <a:lnTo>
                      <a:pt x="8" y="17"/>
                    </a:lnTo>
                    <a:lnTo>
                      <a:pt x="18" y="7"/>
                    </a:lnTo>
                    <a:lnTo>
                      <a:pt x="29" y="2"/>
                    </a:lnTo>
                    <a:lnTo>
                      <a:pt x="43" y="0"/>
                    </a:lnTo>
                    <a:close/>
                  </a:path>
                </a:pathLst>
              </a:custGeom>
              <a:solidFill>
                <a:schemeClr val="accent5"/>
              </a:solidFill>
              <a:ln>
                <a:noFill/>
              </a:ln>
            </p:spPr>
            <p:txBody>
              <a:bodyPr/>
              <a:lstStyle/>
              <a:p>
                <a:endParaRPr lang="de-DE" dirty="0"/>
              </a:p>
            </p:txBody>
          </p:sp>
          <p:sp>
            <p:nvSpPr>
              <p:cNvPr id="1604" name="Freeform 364"/>
              <p:cNvSpPr>
                <a:spLocks/>
              </p:cNvSpPr>
              <p:nvPr/>
            </p:nvSpPr>
            <p:spPr bwMode="auto">
              <a:xfrm>
                <a:off x="11179115" y="5917211"/>
                <a:ext cx="55557" cy="17464"/>
              </a:xfrm>
              <a:custGeom>
                <a:avLst/>
                <a:gdLst>
                  <a:gd name="T0" fmla="*/ 50 w 348"/>
                  <a:gd name="T1" fmla="*/ 0 h 102"/>
                  <a:gd name="T2" fmla="*/ 297 w 348"/>
                  <a:gd name="T3" fmla="*/ 0 h 102"/>
                  <a:gd name="T4" fmla="*/ 314 w 348"/>
                  <a:gd name="T5" fmla="*/ 3 h 102"/>
                  <a:gd name="T6" fmla="*/ 327 w 348"/>
                  <a:gd name="T7" fmla="*/ 10 h 102"/>
                  <a:gd name="T8" fmla="*/ 338 w 348"/>
                  <a:gd name="T9" fmla="*/ 21 h 102"/>
                  <a:gd name="T10" fmla="*/ 346 w 348"/>
                  <a:gd name="T11" fmla="*/ 35 h 102"/>
                  <a:gd name="T12" fmla="*/ 348 w 348"/>
                  <a:gd name="T13" fmla="*/ 51 h 102"/>
                  <a:gd name="T14" fmla="*/ 346 w 348"/>
                  <a:gd name="T15" fmla="*/ 67 h 102"/>
                  <a:gd name="T16" fmla="*/ 338 w 348"/>
                  <a:gd name="T17" fmla="*/ 81 h 102"/>
                  <a:gd name="T18" fmla="*/ 327 w 348"/>
                  <a:gd name="T19" fmla="*/ 92 h 102"/>
                  <a:gd name="T20" fmla="*/ 314 w 348"/>
                  <a:gd name="T21" fmla="*/ 99 h 102"/>
                  <a:gd name="T22" fmla="*/ 297 w 348"/>
                  <a:gd name="T23" fmla="*/ 102 h 102"/>
                  <a:gd name="T24" fmla="*/ 50 w 348"/>
                  <a:gd name="T25" fmla="*/ 102 h 102"/>
                  <a:gd name="T26" fmla="*/ 35 w 348"/>
                  <a:gd name="T27" fmla="*/ 99 h 102"/>
                  <a:gd name="T28" fmla="*/ 21 w 348"/>
                  <a:gd name="T29" fmla="*/ 92 h 102"/>
                  <a:gd name="T30" fmla="*/ 10 w 348"/>
                  <a:gd name="T31" fmla="*/ 81 h 102"/>
                  <a:gd name="T32" fmla="*/ 3 w 348"/>
                  <a:gd name="T33" fmla="*/ 67 h 102"/>
                  <a:gd name="T34" fmla="*/ 0 w 348"/>
                  <a:gd name="T35" fmla="*/ 51 h 102"/>
                  <a:gd name="T36" fmla="*/ 3 w 348"/>
                  <a:gd name="T37" fmla="*/ 35 h 102"/>
                  <a:gd name="T38" fmla="*/ 10 w 348"/>
                  <a:gd name="T39" fmla="*/ 21 h 102"/>
                  <a:gd name="T40" fmla="*/ 21 w 348"/>
                  <a:gd name="T41" fmla="*/ 10 h 102"/>
                  <a:gd name="T42" fmla="*/ 35 w 348"/>
                  <a:gd name="T43" fmla="*/ 3 h 102"/>
                  <a:gd name="T44" fmla="*/ 50 w 348"/>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02">
                    <a:moveTo>
                      <a:pt x="50" y="0"/>
                    </a:moveTo>
                    <a:lnTo>
                      <a:pt x="297" y="0"/>
                    </a:lnTo>
                    <a:lnTo>
                      <a:pt x="314" y="3"/>
                    </a:lnTo>
                    <a:lnTo>
                      <a:pt x="327" y="10"/>
                    </a:lnTo>
                    <a:lnTo>
                      <a:pt x="338" y="21"/>
                    </a:lnTo>
                    <a:lnTo>
                      <a:pt x="346" y="35"/>
                    </a:lnTo>
                    <a:lnTo>
                      <a:pt x="348" y="51"/>
                    </a:lnTo>
                    <a:lnTo>
                      <a:pt x="346" y="67"/>
                    </a:lnTo>
                    <a:lnTo>
                      <a:pt x="338" y="81"/>
                    </a:lnTo>
                    <a:lnTo>
                      <a:pt x="327" y="92"/>
                    </a:lnTo>
                    <a:lnTo>
                      <a:pt x="314" y="99"/>
                    </a:lnTo>
                    <a:lnTo>
                      <a:pt x="297" y="102"/>
                    </a:lnTo>
                    <a:lnTo>
                      <a:pt x="50" y="102"/>
                    </a:lnTo>
                    <a:lnTo>
                      <a:pt x="35" y="99"/>
                    </a:lnTo>
                    <a:lnTo>
                      <a:pt x="21" y="92"/>
                    </a:lnTo>
                    <a:lnTo>
                      <a:pt x="10" y="81"/>
                    </a:lnTo>
                    <a:lnTo>
                      <a:pt x="3" y="67"/>
                    </a:lnTo>
                    <a:lnTo>
                      <a:pt x="0" y="51"/>
                    </a:lnTo>
                    <a:lnTo>
                      <a:pt x="3" y="35"/>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1605" name="Freeform 365"/>
              <p:cNvSpPr>
                <a:spLocks/>
              </p:cNvSpPr>
              <p:nvPr/>
            </p:nvSpPr>
            <p:spPr bwMode="auto">
              <a:xfrm>
                <a:off x="11253720" y="5917211"/>
                <a:ext cx="55557" cy="15877"/>
              </a:xfrm>
              <a:custGeom>
                <a:avLst/>
                <a:gdLst>
                  <a:gd name="T0" fmla="*/ 51 w 351"/>
                  <a:gd name="T1" fmla="*/ 0 h 102"/>
                  <a:gd name="T2" fmla="*/ 300 w 351"/>
                  <a:gd name="T3" fmla="*/ 0 h 102"/>
                  <a:gd name="T4" fmla="*/ 317 w 351"/>
                  <a:gd name="T5" fmla="*/ 2 h 102"/>
                  <a:gd name="T6" fmla="*/ 330 w 351"/>
                  <a:gd name="T7" fmla="*/ 10 h 102"/>
                  <a:gd name="T8" fmla="*/ 341 w 351"/>
                  <a:gd name="T9" fmla="*/ 21 h 102"/>
                  <a:gd name="T10" fmla="*/ 349 w 351"/>
                  <a:gd name="T11" fmla="*/ 35 h 102"/>
                  <a:gd name="T12" fmla="*/ 351 w 351"/>
                  <a:gd name="T13" fmla="*/ 51 h 102"/>
                  <a:gd name="T14" fmla="*/ 349 w 351"/>
                  <a:gd name="T15" fmla="*/ 67 h 102"/>
                  <a:gd name="T16" fmla="*/ 341 w 351"/>
                  <a:gd name="T17" fmla="*/ 81 h 102"/>
                  <a:gd name="T18" fmla="*/ 330 w 351"/>
                  <a:gd name="T19" fmla="*/ 92 h 102"/>
                  <a:gd name="T20" fmla="*/ 317 w 351"/>
                  <a:gd name="T21" fmla="*/ 100 h 102"/>
                  <a:gd name="T22" fmla="*/ 300 w 351"/>
                  <a:gd name="T23" fmla="*/ 102 h 102"/>
                  <a:gd name="T24" fmla="*/ 51 w 351"/>
                  <a:gd name="T25" fmla="*/ 102 h 102"/>
                  <a:gd name="T26" fmla="*/ 35 w 351"/>
                  <a:gd name="T27" fmla="*/ 100 h 102"/>
                  <a:gd name="T28" fmla="*/ 21 w 351"/>
                  <a:gd name="T29" fmla="*/ 92 h 102"/>
                  <a:gd name="T30" fmla="*/ 10 w 351"/>
                  <a:gd name="T31" fmla="*/ 81 h 102"/>
                  <a:gd name="T32" fmla="*/ 2 w 351"/>
                  <a:gd name="T33" fmla="*/ 67 h 102"/>
                  <a:gd name="T34" fmla="*/ 0 w 351"/>
                  <a:gd name="T35" fmla="*/ 51 h 102"/>
                  <a:gd name="T36" fmla="*/ 2 w 351"/>
                  <a:gd name="T37" fmla="*/ 35 h 102"/>
                  <a:gd name="T38" fmla="*/ 10 w 351"/>
                  <a:gd name="T39" fmla="*/ 21 h 102"/>
                  <a:gd name="T40" fmla="*/ 21 w 351"/>
                  <a:gd name="T41" fmla="*/ 10 h 102"/>
                  <a:gd name="T42" fmla="*/ 35 w 351"/>
                  <a:gd name="T43" fmla="*/ 2 h 102"/>
                  <a:gd name="T44" fmla="*/ 51 w 351"/>
                  <a:gd name="T45"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1" h="102">
                    <a:moveTo>
                      <a:pt x="51" y="0"/>
                    </a:moveTo>
                    <a:lnTo>
                      <a:pt x="300" y="0"/>
                    </a:lnTo>
                    <a:lnTo>
                      <a:pt x="317" y="2"/>
                    </a:lnTo>
                    <a:lnTo>
                      <a:pt x="330" y="10"/>
                    </a:lnTo>
                    <a:lnTo>
                      <a:pt x="341" y="21"/>
                    </a:lnTo>
                    <a:lnTo>
                      <a:pt x="349" y="35"/>
                    </a:lnTo>
                    <a:lnTo>
                      <a:pt x="351" y="51"/>
                    </a:lnTo>
                    <a:lnTo>
                      <a:pt x="349" y="67"/>
                    </a:lnTo>
                    <a:lnTo>
                      <a:pt x="341" y="81"/>
                    </a:lnTo>
                    <a:lnTo>
                      <a:pt x="330" y="92"/>
                    </a:lnTo>
                    <a:lnTo>
                      <a:pt x="317" y="100"/>
                    </a:lnTo>
                    <a:lnTo>
                      <a:pt x="300" y="102"/>
                    </a:lnTo>
                    <a:lnTo>
                      <a:pt x="51" y="102"/>
                    </a:lnTo>
                    <a:lnTo>
                      <a:pt x="35" y="100"/>
                    </a:lnTo>
                    <a:lnTo>
                      <a:pt x="21" y="92"/>
                    </a:lnTo>
                    <a:lnTo>
                      <a:pt x="10" y="81"/>
                    </a:lnTo>
                    <a:lnTo>
                      <a:pt x="2" y="67"/>
                    </a:lnTo>
                    <a:lnTo>
                      <a:pt x="0" y="51"/>
                    </a:lnTo>
                    <a:lnTo>
                      <a:pt x="2" y="35"/>
                    </a:lnTo>
                    <a:lnTo>
                      <a:pt x="10" y="21"/>
                    </a:lnTo>
                    <a:lnTo>
                      <a:pt x="21" y="10"/>
                    </a:lnTo>
                    <a:lnTo>
                      <a:pt x="35" y="2"/>
                    </a:lnTo>
                    <a:lnTo>
                      <a:pt x="51" y="0"/>
                    </a:lnTo>
                    <a:close/>
                  </a:path>
                </a:pathLst>
              </a:custGeom>
              <a:solidFill>
                <a:schemeClr val="accent5"/>
              </a:solidFill>
              <a:ln>
                <a:noFill/>
              </a:ln>
            </p:spPr>
            <p:txBody>
              <a:bodyPr/>
              <a:lstStyle/>
              <a:p>
                <a:endParaRPr lang="de-DE" dirty="0"/>
              </a:p>
            </p:txBody>
          </p:sp>
          <p:sp>
            <p:nvSpPr>
              <p:cNvPr id="1606" name="Freeform 366"/>
              <p:cNvSpPr>
                <a:spLocks/>
              </p:cNvSpPr>
              <p:nvPr/>
            </p:nvSpPr>
            <p:spPr bwMode="auto">
              <a:xfrm>
                <a:off x="11325151" y="5920387"/>
                <a:ext cx="47620" cy="14289"/>
              </a:xfrm>
              <a:custGeom>
                <a:avLst/>
                <a:gdLst>
                  <a:gd name="T0" fmla="*/ 46 w 304"/>
                  <a:gd name="T1" fmla="*/ 0 h 94"/>
                  <a:gd name="T2" fmla="*/ 258 w 304"/>
                  <a:gd name="T3" fmla="*/ 0 h 94"/>
                  <a:gd name="T4" fmla="*/ 272 w 304"/>
                  <a:gd name="T5" fmla="*/ 3 h 94"/>
                  <a:gd name="T6" fmla="*/ 285 w 304"/>
                  <a:gd name="T7" fmla="*/ 10 h 94"/>
                  <a:gd name="T8" fmla="*/ 295 w 304"/>
                  <a:gd name="T9" fmla="*/ 20 h 94"/>
                  <a:gd name="T10" fmla="*/ 302 w 304"/>
                  <a:gd name="T11" fmla="*/ 32 h 94"/>
                  <a:gd name="T12" fmla="*/ 304 w 304"/>
                  <a:gd name="T13" fmla="*/ 47 h 94"/>
                  <a:gd name="T14" fmla="*/ 302 w 304"/>
                  <a:gd name="T15" fmla="*/ 62 h 94"/>
                  <a:gd name="T16" fmla="*/ 295 w 304"/>
                  <a:gd name="T17" fmla="*/ 75 h 94"/>
                  <a:gd name="T18" fmla="*/ 285 w 304"/>
                  <a:gd name="T19" fmla="*/ 85 h 94"/>
                  <a:gd name="T20" fmla="*/ 272 w 304"/>
                  <a:gd name="T21" fmla="*/ 92 h 94"/>
                  <a:gd name="T22" fmla="*/ 258 w 304"/>
                  <a:gd name="T23" fmla="*/ 94 h 94"/>
                  <a:gd name="T24" fmla="*/ 46 w 304"/>
                  <a:gd name="T25" fmla="*/ 94 h 94"/>
                  <a:gd name="T26" fmla="*/ 32 w 304"/>
                  <a:gd name="T27" fmla="*/ 92 h 94"/>
                  <a:gd name="T28" fmla="*/ 19 w 304"/>
                  <a:gd name="T29" fmla="*/ 85 h 94"/>
                  <a:gd name="T30" fmla="*/ 9 w 304"/>
                  <a:gd name="T31" fmla="*/ 75 h 94"/>
                  <a:gd name="T32" fmla="*/ 2 w 304"/>
                  <a:gd name="T33" fmla="*/ 62 h 94"/>
                  <a:gd name="T34" fmla="*/ 0 w 304"/>
                  <a:gd name="T35" fmla="*/ 47 h 94"/>
                  <a:gd name="T36" fmla="*/ 2 w 304"/>
                  <a:gd name="T37" fmla="*/ 32 h 94"/>
                  <a:gd name="T38" fmla="*/ 9 w 304"/>
                  <a:gd name="T39" fmla="*/ 20 h 94"/>
                  <a:gd name="T40" fmla="*/ 19 w 304"/>
                  <a:gd name="T41" fmla="*/ 10 h 94"/>
                  <a:gd name="T42" fmla="*/ 32 w 304"/>
                  <a:gd name="T43" fmla="*/ 3 h 94"/>
                  <a:gd name="T44" fmla="*/ 46 w 304"/>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4" h="94">
                    <a:moveTo>
                      <a:pt x="46" y="0"/>
                    </a:moveTo>
                    <a:lnTo>
                      <a:pt x="258" y="0"/>
                    </a:lnTo>
                    <a:lnTo>
                      <a:pt x="272" y="3"/>
                    </a:lnTo>
                    <a:lnTo>
                      <a:pt x="285" y="10"/>
                    </a:lnTo>
                    <a:lnTo>
                      <a:pt x="295" y="20"/>
                    </a:lnTo>
                    <a:lnTo>
                      <a:pt x="302" y="32"/>
                    </a:lnTo>
                    <a:lnTo>
                      <a:pt x="304" y="47"/>
                    </a:lnTo>
                    <a:lnTo>
                      <a:pt x="302" y="62"/>
                    </a:lnTo>
                    <a:lnTo>
                      <a:pt x="295" y="75"/>
                    </a:lnTo>
                    <a:lnTo>
                      <a:pt x="285" y="85"/>
                    </a:lnTo>
                    <a:lnTo>
                      <a:pt x="272" y="92"/>
                    </a:lnTo>
                    <a:lnTo>
                      <a:pt x="258" y="94"/>
                    </a:lnTo>
                    <a:lnTo>
                      <a:pt x="46" y="94"/>
                    </a:lnTo>
                    <a:lnTo>
                      <a:pt x="32" y="92"/>
                    </a:lnTo>
                    <a:lnTo>
                      <a:pt x="19" y="85"/>
                    </a:lnTo>
                    <a:lnTo>
                      <a:pt x="9" y="75"/>
                    </a:lnTo>
                    <a:lnTo>
                      <a:pt x="2" y="62"/>
                    </a:lnTo>
                    <a:lnTo>
                      <a:pt x="0" y="47"/>
                    </a:lnTo>
                    <a:lnTo>
                      <a:pt x="2" y="32"/>
                    </a:lnTo>
                    <a:lnTo>
                      <a:pt x="9" y="20"/>
                    </a:lnTo>
                    <a:lnTo>
                      <a:pt x="19" y="10"/>
                    </a:lnTo>
                    <a:lnTo>
                      <a:pt x="32" y="3"/>
                    </a:lnTo>
                    <a:lnTo>
                      <a:pt x="46" y="0"/>
                    </a:lnTo>
                    <a:close/>
                  </a:path>
                </a:pathLst>
              </a:custGeom>
              <a:solidFill>
                <a:schemeClr val="accent5"/>
              </a:solidFill>
              <a:ln>
                <a:noFill/>
              </a:ln>
            </p:spPr>
            <p:txBody>
              <a:bodyPr/>
              <a:lstStyle/>
              <a:p>
                <a:endParaRPr lang="de-DE" dirty="0"/>
              </a:p>
            </p:txBody>
          </p:sp>
          <p:sp>
            <p:nvSpPr>
              <p:cNvPr id="1607" name="Freeform 367"/>
              <p:cNvSpPr>
                <a:spLocks/>
              </p:cNvSpPr>
              <p:nvPr/>
            </p:nvSpPr>
            <p:spPr bwMode="auto">
              <a:xfrm>
                <a:off x="11391819" y="5920387"/>
                <a:ext cx="41271" cy="12701"/>
              </a:xfrm>
              <a:custGeom>
                <a:avLst/>
                <a:gdLst>
                  <a:gd name="T0" fmla="*/ 42 w 260"/>
                  <a:gd name="T1" fmla="*/ 0 h 85"/>
                  <a:gd name="T2" fmla="*/ 217 w 260"/>
                  <a:gd name="T3" fmla="*/ 0 h 85"/>
                  <a:gd name="T4" fmla="*/ 234 w 260"/>
                  <a:gd name="T5" fmla="*/ 3 h 85"/>
                  <a:gd name="T6" fmla="*/ 248 w 260"/>
                  <a:gd name="T7" fmla="*/ 12 h 85"/>
                  <a:gd name="T8" fmla="*/ 257 w 260"/>
                  <a:gd name="T9" fmla="*/ 25 h 85"/>
                  <a:gd name="T10" fmla="*/ 260 w 260"/>
                  <a:gd name="T11" fmla="*/ 42 h 85"/>
                  <a:gd name="T12" fmla="*/ 257 w 260"/>
                  <a:gd name="T13" fmla="*/ 58 h 85"/>
                  <a:gd name="T14" fmla="*/ 248 w 260"/>
                  <a:gd name="T15" fmla="*/ 73 h 85"/>
                  <a:gd name="T16" fmla="*/ 234 w 260"/>
                  <a:gd name="T17" fmla="*/ 81 h 85"/>
                  <a:gd name="T18" fmla="*/ 217 w 260"/>
                  <a:gd name="T19" fmla="*/ 85 h 85"/>
                  <a:gd name="T20" fmla="*/ 42 w 260"/>
                  <a:gd name="T21" fmla="*/ 85 h 85"/>
                  <a:gd name="T22" fmla="*/ 29 w 260"/>
                  <a:gd name="T23" fmla="*/ 83 h 85"/>
                  <a:gd name="T24" fmla="*/ 18 w 260"/>
                  <a:gd name="T25" fmla="*/ 76 h 85"/>
                  <a:gd name="T26" fmla="*/ 8 w 260"/>
                  <a:gd name="T27" fmla="*/ 67 h 85"/>
                  <a:gd name="T28" fmla="*/ 2 w 260"/>
                  <a:gd name="T29" fmla="*/ 55 h 85"/>
                  <a:gd name="T30" fmla="*/ 0 w 260"/>
                  <a:gd name="T31" fmla="*/ 42 h 85"/>
                  <a:gd name="T32" fmla="*/ 2 w 260"/>
                  <a:gd name="T33" fmla="*/ 28 h 85"/>
                  <a:gd name="T34" fmla="*/ 8 w 260"/>
                  <a:gd name="T35" fmla="*/ 16 h 85"/>
                  <a:gd name="T36" fmla="*/ 18 w 260"/>
                  <a:gd name="T37" fmla="*/ 7 h 85"/>
                  <a:gd name="T38" fmla="*/ 29 w 260"/>
                  <a:gd name="T39" fmla="*/ 1 h 85"/>
                  <a:gd name="T40" fmla="*/ 42 w 260"/>
                  <a:gd name="T41"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85">
                    <a:moveTo>
                      <a:pt x="42" y="0"/>
                    </a:moveTo>
                    <a:lnTo>
                      <a:pt x="217" y="0"/>
                    </a:lnTo>
                    <a:lnTo>
                      <a:pt x="234" y="3"/>
                    </a:lnTo>
                    <a:lnTo>
                      <a:pt x="248" y="12"/>
                    </a:lnTo>
                    <a:lnTo>
                      <a:pt x="257" y="25"/>
                    </a:lnTo>
                    <a:lnTo>
                      <a:pt x="260" y="42"/>
                    </a:lnTo>
                    <a:lnTo>
                      <a:pt x="257" y="58"/>
                    </a:lnTo>
                    <a:lnTo>
                      <a:pt x="248" y="73"/>
                    </a:lnTo>
                    <a:lnTo>
                      <a:pt x="234" y="81"/>
                    </a:lnTo>
                    <a:lnTo>
                      <a:pt x="217" y="85"/>
                    </a:lnTo>
                    <a:lnTo>
                      <a:pt x="42" y="85"/>
                    </a:lnTo>
                    <a:lnTo>
                      <a:pt x="29" y="83"/>
                    </a:lnTo>
                    <a:lnTo>
                      <a:pt x="18" y="76"/>
                    </a:lnTo>
                    <a:lnTo>
                      <a:pt x="8" y="67"/>
                    </a:lnTo>
                    <a:lnTo>
                      <a:pt x="2" y="55"/>
                    </a:lnTo>
                    <a:lnTo>
                      <a:pt x="0" y="42"/>
                    </a:lnTo>
                    <a:lnTo>
                      <a:pt x="2" y="28"/>
                    </a:lnTo>
                    <a:lnTo>
                      <a:pt x="8" y="16"/>
                    </a:lnTo>
                    <a:lnTo>
                      <a:pt x="18" y="7"/>
                    </a:lnTo>
                    <a:lnTo>
                      <a:pt x="29" y="1"/>
                    </a:lnTo>
                    <a:lnTo>
                      <a:pt x="42" y="0"/>
                    </a:lnTo>
                    <a:close/>
                  </a:path>
                </a:pathLst>
              </a:custGeom>
              <a:solidFill>
                <a:schemeClr val="accent5"/>
              </a:solidFill>
              <a:ln>
                <a:noFill/>
              </a:ln>
            </p:spPr>
            <p:txBody>
              <a:bodyPr/>
              <a:lstStyle/>
              <a:p>
                <a:endParaRPr lang="de-DE" dirty="0"/>
              </a:p>
            </p:txBody>
          </p:sp>
          <p:sp>
            <p:nvSpPr>
              <p:cNvPr id="1608" name="Freeform 368"/>
              <p:cNvSpPr>
                <a:spLocks/>
              </p:cNvSpPr>
              <p:nvPr/>
            </p:nvSpPr>
            <p:spPr bwMode="auto">
              <a:xfrm>
                <a:off x="10982285" y="5971192"/>
                <a:ext cx="50795" cy="15877"/>
              </a:xfrm>
              <a:custGeom>
                <a:avLst/>
                <a:gdLst>
                  <a:gd name="T0" fmla="*/ 48 w 311"/>
                  <a:gd name="T1" fmla="*/ 0 h 95"/>
                  <a:gd name="T2" fmla="*/ 263 w 311"/>
                  <a:gd name="T3" fmla="*/ 0 h 95"/>
                  <a:gd name="T4" fmla="*/ 278 w 311"/>
                  <a:gd name="T5" fmla="*/ 2 h 95"/>
                  <a:gd name="T6" fmla="*/ 291 w 311"/>
                  <a:gd name="T7" fmla="*/ 8 h 95"/>
                  <a:gd name="T8" fmla="*/ 301 w 311"/>
                  <a:gd name="T9" fmla="*/ 18 h 95"/>
                  <a:gd name="T10" fmla="*/ 309 w 311"/>
                  <a:gd name="T11" fmla="*/ 32 h 95"/>
                  <a:gd name="T12" fmla="*/ 311 w 311"/>
                  <a:gd name="T13" fmla="*/ 47 h 95"/>
                  <a:gd name="T14" fmla="*/ 309 w 311"/>
                  <a:gd name="T15" fmla="*/ 61 h 95"/>
                  <a:gd name="T16" fmla="*/ 301 w 311"/>
                  <a:gd name="T17" fmla="*/ 75 h 95"/>
                  <a:gd name="T18" fmla="*/ 291 w 311"/>
                  <a:gd name="T19" fmla="*/ 85 h 95"/>
                  <a:gd name="T20" fmla="*/ 278 w 311"/>
                  <a:gd name="T21" fmla="*/ 92 h 95"/>
                  <a:gd name="T22" fmla="*/ 263 w 311"/>
                  <a:gd name="T23" fmla="*/ 95 h 95"/>
                  <a:gd name="T24" fmla="*/ 48 w 311"/>
                  <a:gd name="T25" fmla="*/ 95 h 95"/>
                  <a:gd name="T26" fmla="*/ 32 w 311"/>
                  <a:gd name="T27" fmla="*/ 92 h 95"/>
                  <a:gd name="T28" fmla="*/ 19 w 311"/>
                  <a:gd name="T29" fmla="*/ 85 h 95"/>
                  <a:gd name="T30" fmla="*/ 9 w 311"/>
                  <a:gd name="T31" fmla="*/ 75 h 95"/>
                  <a:gd name="T32" fmla="*/ 2 w 311"/>
                  <a:gd name="T33" fmla="*/ 61 h 95"/>
                  <a:gd name="T34" fmla="*/ 0 w 311"/>
                  <a:gd name="T35" fmla="*/ 47 h 95"/>
                  <a:gd name="T36" fmla="*/ 2 w 311"/>
                  <a:gd name="T37" fmla="*/ 32 h 95"/>
                  <a:gd name="T38" fmla="*/ 9 w 311"/>
                  <a:gd name="T39" fmla="*/ 18 h 95"/>
                  <a:gd name="T40" fmla="*/ 19 w 311"/>
                  <a:gd name="T41" fmla="*/ 8 h 95"/>
                  <a:gd name="T42" fmla="*/ 32 w 311"/>
                  <a:gd name="T43" fmla="*/ 2 h 95"/>
                  <a:gd name="T44" fmla="*/ 48 w 311"/>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1" h="95">
                    <a:moveTo>
                      <a:pt x="48" y="0"/>
                    </a:moveTo>
                    <a:lnTo>
                      <a:pt x="263" y="0"/>
                    </a:lnTo>
                    <a:lnTo>
                      <a:pt x="278" y="2"/>
                    </a:lnTo>
                    <a:lnTo>
                      <a:pt x="291" y="8"/>
                    </a:lnTo>
                    <a:lnTo>
                      <a:pt x="301" y="18"/>
                    </a:lnTo>
                    <a:lnTo>
                      <a:pt x="309" y="32"/>
                    </a:lnTo>
                    <a:lnTo>
                      <a:pt x="311" y="47"/>
                    </a:lnTo>
                    <a:lnTo>
                      <a:pt x="309" y="61"/>
                    </a:lnTo>
                    <a:lnTo>
                      <a:pt x="301" y="75"/>
                    </a:lnTo>
                    <a:lnTo>
                      <a:pt x="291" y="85"/>
                    </a:lnTo>
                    <a:lnTo>
                      <a:pt x="278" y="92"/>
                    </a:lnTo>
                    <a:lnTo>
                      <a:pt x="263" y="95"/>
                    </a:lnTo>
                    <a:lnTo>
                      <a:pt x="48" y="95"/>
                    </a:lnTo>
                    <a:lnTo>
                      <a:pt x="32" y="92"/>
                    </a:lnTo>
                    <a:lnTo>
                      <a:pt x="19" y="85"/>
                    </a:lnTo>
                    <a:lnTo>
                      <a:pt x="9" y="75"/>
                    </a:lnTo>
                    <a:lnTo>
                      <a:pt x="2" y="61"/>
                    </a:lnTo>
                    <a:lnTo>
                      <a:pt x="0" y="47"/>
                    </a:lnTo>
                    <a:lnTo>
                      <a:pt x="2" y="32"/>
                    </a:lnTo>
                    <a:lnTo>
                      <a:pt x="9" y="18"/>
                    </a:lnTo>
                    <a:lnTo>
                      <a:pt x="19" y="8"/>
                    </a:lnTo>
                    <a:lnTo>
                      <a:pt x="32" y="2"/>
                    </a:lnTo>
                    <a:lnTo>
                      <a:pt x="48" y="0"/>
                    </a:lnTo>
                    <a:close/>
                  </a:path>
                </a:pathLst>
              </a:custGeom>
              <a:solidFill>
                <a:schemeClr val="accent5"/>
              </a:solidFill>
              <a:ln>
                <a:noFill/>
              </a:ln>
            </p:spPr>
            <p:txBody>
              <a:bodyPr/>
              <a:lstStyle/>
              <a:p>
                <a:endParaRPr lang="de-DE" dirty="0"/>
              </a:p>
            </p:txBody>
          </p:sp>
          <p:sp>
            <p:nvSpPr>
              <p:cNvPr id="1609" name="Freeform 369"/>
              <p:cNvSpPr>
                <a:spLocks/>
              </p:cNvSpPr>
              <p:nvPr/>
            </p:nvSpPr>
            <p:spPr bwMode="auto">
              <a:xfrm>
                <a:off x="11047366" y="5975955"/>
                <a:ext cx="39684" cy="14289"/>
              </a:xfrm>
              <a:custGeom>
                <a:avLst/>
                <a:gdLst>
                  <a:gd name="T0" fmla="*/ 42 w 248"/>
                  <a:gd name="T1" fmla="*/ 0 h 83"/>
                  <a:gd name="T2" fmla="*/ 206 w 248"/>
                  <a:gd name="T3" fmla="*/ 0 h 83"/>
                  <a:gd name="T4" fmla="*/ 222 w 248"/>
                  <a:gd name="T5" fmla="*/ 4 h 83"/>
                  <a:gd name="T6" fmla="*/ 236 w 248"/>
                  <a:gd name="T7" fmla="*/ 13 h 83"/>
                  <a:gd name="T8" fmla="*/ 244 w 248"/>
                  <a:gd name="T9" fmla="*/ 26 h 83"/>
                  <a:gd name="T10" fmla="*/ 248 w 248"/>
                  <a:gd name="T11" fmla="*/ 42 h 83"/>
                  <a:gd name="T12" fmla="*/ 244 w 248"/>
                  <a:gd name="T13" fmla="*/ 59 h 83"/>
                  <a:gd name="T14" fmla="*/ 236 w 248"/>
                  <a:gd name="T15" fmla="*/ 71 h 83"/>
                  <a:gd name="T16" fmla="*/ 222 w 248"/>
                  <a:gd name="T17" fmla="*/ 81 h 83"/>
                  <a:gd name="T18" fmla="*/ 206 w 248"/>
                  <a:gd name="T19" fmla="*/ 83 h 83"/>
                  <a:gd name="T20" fmla="*/ 42 w 248"/>
                  <a:gd name="T21" fmla="*/ 83 h 83"/>
                  <a:gd name="T22" fmla="*/ 25 w 248"/>
                  <a:gd name="T23" fmla="*/ 81 h 83"/>
                  <a:gd name="T24" fmla="*/ 12 w 248"/>
                  <a:gd name="T25" fmla="*/ 72 h 83"/>
                  <a:gd name="T26" fmla="*/ 3 w 248"/>
                  <a:gd name="T27" fmla="*/ 59 h 83"/>
                  <a:gd name="T28" fmla="*/ 0 w 248"/>
                  <a:gd name="T29" fmla="*/ 42 h 83"/>
                  <a:gd name="T30" fmla="*/ 3 w 248"/>
                  <a:gd name="T31" fmla="*/ 26 h 83"/>
                  <a:gd name="T32" fmla="*/ 12 w 248"/>
                  <a:gd name="T33" fmla="*/ 13 h 83"/>
                  <a:gd name="T34" fmla="*/ 25 w 248"/>
                  <a:gd name="T35" fmla="*/ 4 h 83"/>
                  <a:gd name="T36" fmla="*/ 42 w 248"/>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8" h="83">
                    <a:moveTo>
                      <a:pt x="42" y="0"/>
                    </a:moveTo>
                    <a:lnTo>
                      <a:pt x="206" y="0"/>
                    </a:lnTo>
                    <a:lnTo>
                      <a:pt x="222" y="4"/>
                    </a:lnTo>
                    <a:lnTo>
                      <a:pt x="236" y="13"/>
                    </a:lnTo>
                    <a:lnTo>
                      <a:pt x="244" y="26"/>
                    </a:lnTo>
                    <a:lnTo>
                      <a:pt x="248" y="42"/>
                    </a:lnTo>
                    <a:lnTo>
                      <a:pt x="244" y="59"/>
                    </a:lnTo>
                    <a:lnTo>
                      <a:pt x="236" y="71"/>
                    </a:lnTo>
                    <a:lnTo>
                      <a:pt x="222" y="81"/>
                    </a:lnTo>
                    <a:lnTo>
                      <a:pt x="206" y="83"/>
                    </a:lnTo>
                    <a:lnTo>
                      <a:pt x="42" y="83"/>
                    </a:lnTo>
                    <a:lnTo>
                      <a:pt x="25" y="81"/>
                    </a:lnTo>
                    <a:lnTo>
                      <a:pt x="12" y="72"/>
                    </a:lnTo>
                    <a:lnTo>
                      <a:pt x="3" y="59"/>
                    </a:lnTo>
                    <a:lnTo>
                      <a:pt x="0" y="42"/>
                    </a:lnTo>
                    <a:lnTo>
                      <a:pt x="3" y="26"/>
                    </a:lnTo>
                    <a:lnTo>
                      <a:pt x="12" y="13"/>
                    </a:lnTo>
                    <a:lnTo>
                      <a:pt x="25" y="4"/>
                    </a:lnTo>
                    <a:lnTo>
                      <a:pt x="42" y="0"/>
                    </a:lnTo>
                    <a:close/>
                  </a:path>
                </a:pathLst>
              </a:custGeom>
              <a:solidFill>
                <a:schemeClr val="accent5"/>
              </a:solidFill>
              <a:ln>
                <a:noFill/>
              </a:ln>
            </p:spPr>
            <p:txBody>
              <a:bodyPr/>
              <a:lstStyle/>
              <a:p>
                <a:endParaRPr lang="de-DE" dirty="0"/>
              </a:p>
            </p:txBody>
          </p:sp>
          <p:sp>
            <p:nvSpPr>
              <p:cNvPr id="1610" name="Freeform 370"/>
              <p:cNvSpPr>
                <a:spLocks/>
              </p:cNvSpPr>
              <p:nvPr/>
            </p:nvSpPr>
            <p:spPr bwMode="auto">
              <a:xfrm>
                <a:off x="11118796" y="5974368"/>
                <a:ext cx="47620" cy="14289"/>
              </a:xfrm>
              <a:custGeom>
                <a:avLst/>
                <a:gdLst>
                  <a:gd name="T0" fmla="*/ 47 w 300"/>
                  <a:gd name="T1" fmla="*/ 0 h 93"/>
                  <a:gd name="T2" fmla="*/ 254 w 300"/>
                  <a:gd name="T3" fmla="*/ 0 h 93"/>
                  <a:gd name="T4" fmla="*/ 268 w 300"/>
                  <a:gd name="T5" fmla="*/ 2 h 93"/>
                  <a:gd name="T6" fmla="*/ 281 w 300"/>
                  <a:gd name="T7" fmla="*/ 9 h 93"/>
                  <a:gd name="T8" fmla="*/ 291 w 300"/>
                  <a:gd name="T9" fmla="*/ 19 h 93"/>
                  <a:gd name="T10" fmla="*/ 298 w 300"/>
                  <a:gd name="T11" fmla="*/ 32 h 93"/>
                  <a:gd name="T12" fmla="*/ 300 w 300"/>
                  <a:gd name="T13" fmla="*/ 47 h 93"/>
                  <a:gd name="T14" fmla="*/ 298 w 300"/>
                  <a:gd name="T15" fmla="*/ 61 h 93"/>
                  <a:gd name="T16" fmla="*/ 291 w 300"/>
                  <a:gd name="T17" fmla="*/ 74 h 93"/>
                  <a:gd name="T18" fmla="*/ 281 w 300"/>
                  <a:gd name="T19" fmla="*/ 84 h 93"/>
                  <a:gd name="T20" fmla="*/ 268 w 300"/>
                  <a:gd name="T21" fmla="*/ 91 h 93"/>
                  <a:gd name="T22" fmla="*/ 254 w 300"/>
                  <a:gd name="T23" fmla="*/ 93 h 93"/>
                  <a:gd name="T24" fmla="*/ 47 w 300"/>
                  <a:gd name="T25" fmla="*/ 93 h 93"/>
                  <a:gd name="T26" fmla="*/ 32 w 300"/>
                  <a:gd name="T27" fmla="*/ 91 h 93"/>
                  <a:gd name="T28" fmla="*/ 19 w 300"/>
                  <a:gd name="T29" fmla="*/ 84 h 93"/>
                  <a:gd name="T30" fmla="*/ 9 w 300"/>
                  <a:gd name="T31" fmla="*/ 74 h 93"/>
                  <a:gd name="T32" fmla="*/ 3 w 300"/>
                  <a:gd name="T33" fmla="*/ 61 h 93"/>
                  <a:gd name="T34" fmla="*/ 0 w 300"/>
                  <a:gd name="T35" fmla="*/ 47 h 93"/>
                  <a:gd name="T36" fmla="*/ 3 w 300"/>
                  <a:gd name="T37" fmla="*/ 32 h 93"/>
                  <a:gd name="T38" fmla="*/ 9 w 300"/>
                  <a:gd name="T39" fmla="*/ 19 h 93"/>
                  <a:gd name="T40" fmla="*/ 19 w 300"/>
                  <a:gd name="T41" fmla="*/ 9 h 93"/>
                  <a:gd name="T42" fmla="*/ 32 w 300"/>
                  <a:gd name="T43" fmla="*/ 2 h 93"/>
                  <a:gd name="T44" fmla="*/ 47 w 300"/>
                  <a:gd name="T4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93">
                    <a:moveTo>
                      <a:pt x="47" y="0"/>
                    </a:moveTo>
                    <a:lnTo>
                      <a:pt x="254" y="0"/>
                    </a:lnTo>
                    <a:lnTo>
                      <a:pt x="268" y="2"/>
                    </a:lnTo>
                    <a:lnTo>
                      <a:pt x="281" y="9"/>
                    </a:lnTo>
                    <a:lnTo>
                      <a:pt x="291" y="19"/>
                    </a:lnTo>
                    <a:lnTo>
                      <a:pt x="298" y="32"/>
                    </a:lnTo>
                    <a:lnTo>
                      <a:pt x="300" y="47"/>
                    </a:lnTo>
                    <a:lnTo>
                      <a:pt x="298" y="61"/>
                    </a:lnTo>
                    <a:lnTo>
                      <a:pt x="291" y="74"/>
                    </a:lnTo>
                    <a:lnTo>
                      <a:pt x="281" y="84"/>
                    </a:lnTo>
                    <a:lnTo>
                      <a:pt x="268" y="91"/>
                    </a:lnTo>
                    <a:lnTo>
                      <a:pt x="254" y="93"/>
                    </a:lnTo>
                    <a:lnTo>
                      <a:pt x="47" y="93"/>
                    </a:lnTo>
                    <a:lnTo>
                      <a:pt x="32" y="91"/>
                    </a:lnTo>
                    <a:lnTo>
                      <a:pt x="19" y="84"/>
                    </a:lnTo>
                    <a:lnTo>
                      <a:pt x="9" y="74"/>
                    </a:lnTo>
                    <a:lnTo>
                      <a:pt x="3" y="61"/>
                    </a:lnTo>
                    <a:lnTo>
                      <a:pt x="0" y="47"/>
                    </a:lnTo>
                    <a:lnTo>
                      <a:pt x="3" y="32"/>
                    </a:lnTo>
                    <a:lnTo>
                      <a:pt x="9" y="19"/>
                    </a:lnTo>
                    <a:lnTo>
                      <a:pt x="19" y="9"/>
                    </a:lnTo>
                    <a:lnTo>
                      <a:pt x="32" y="2"/>
                    </a:lnTo>
                    <a:lnTo>
                      <a:pt x="47" y="0"/>
                    </a:lnTo>
                    <a:close/>
                  </a:path>
                </a:pathLst>
              </a:custGeom>
              <a:solidFill>
                <a:schemeClr val="accent5"/>
              </a:solidFill>
              <a:ln>
                <a:noFill/>
              </a:ln>
            </p:spPr>
            <p:txBody>
              <a:bodyPr/>
              <a:lstStyle/>
              <a:p>
                <a:endParaRPr lang="de-DE" dirty="0"/>
              </a:p>
            </p:txBody>
          </p:sp>
          <p:sp>
            <p:nvSpPr>
              <p:cNvPr id="1611" name="Freeform 371"/>
              <p:cNvSpPr>
                <a:spLocks/>
              </p:cNvSpPr>
              <p:nvPr/>
            </p:nvSpPr>
            <p:spPr bwMode="auto">
              <a:xfrm>
                <a:off x="11179115" y="5972780"/>
                <a:ext cx="50795" cy="15877"/>
              </a:xfrm>
              <a:custGeom>
                <a:avLst/>
                <a:gdLst>
                  <a:gd name="T0" fmla="*/ 48 w 312"/>
                  <a:gd name="T1" fmla="*/ 0 h 95"/>
                  <a:gd name="T2" fmla="*/ 264 w 312"/>
                  <a:gd name="T3" fmla="*/ 0 h 95"/>
                  <a:gd name="T4" fmla="*/ 279 w 312"/>
                  <a:gd name="T5" fmla="*/ 3 h 95"/>
                  <a:gd name="T6" fmla="*/ 292 w 312"/>
                  <a:gd name="T7" fmla="*/ 9 h 95"/>
                  <a:gd name="T8" fmla="*/ 302 w 312"/>
                  <a:gd name="T9" fmla="*/ 20 h 95"/>
                  <a:gd name="T10" fmla="*/ 309 w 312"/>
                  <a:gd name="T11" fmla="*/ 32 h 95"/>
                  <a:gd name="T12" fmla="*/ 312 w 312"/>
                  <a:gd name="T13" fmla="*/ 48 h 95"/>
                  <a:gd name="T14" fmla="*/ 309 w 312"/>
                  <a:gd name="T15" fmla="*/ 62 h 95"/>
                  <a:gd name="T16" fmla="*/ 302 w 312"/>
                  <a:gd name="T17" fmla="*/ 75 h 95"/>
                  <a:gd name="T18" fmla="*/ 292 w 312"/>
                  <a:gd name="T19" fmla="*/ 86 h 95"/>
                  <a:gd name="T20" fmla="*/ 279 w 312"/>
                  <a:gd name="T21" fmla="*/ 93 h 95"/>
                  <a:gd name="T22" fmla="*/ 264 w 312"/>
                  <a:gd name="T23" fmla="*/ 95 h 95"/>
                  <a:gd name="T24" fmla="*/ 48 w 312"/>
                  <a:gd name="T25" fmla="*/ 95 h 95"/>
                  <a:gd name="T26" fmla="*/ 33 w 312"/>
                  <a:gd name="T27" fmla="*/ 93 h 95"/>
                  <a:gd name="T28" fmla="*/ 20 w 312"/>
                  <a:gd name="T29" fmla="*/ 86 h 95"/>
                  <a:gd name="T30" fmla="*/ 10 w 312"/>
                  <a:gd name="T31" fmla="*/ 75 h 95"/>
                  <a:gd name="T32" fmla="*/ 3 w 312"/>
                  <a:gd name="T33" fmla="*/ 62 h 95"/>
                  <a:gd name="T34" fmla="*/ 0 w 312"/>
                  <a:gd name="T35" fmla="*/ 48 h 95"/>
                  <a:gd name="T36" fmla="*/ 3 w 312"/>
                  <a:gd name="T37" fmla="*/ 32 h 95"/>
                  <a:gd name="T38" fmla="*/ 10 w 312"/>
                  <a:gd name="T39" fmla="*/ 20 h 95"/>
                  <a:gd name="T40" fmla="*/ 20 w 312"/>
                  <a:gd name="T41" fmla="*/ 9 h 95"/>
                  <a:gd name="T42" fmla="*/ 33 w 312"/>
                  <a:gd name="T43" fmla="*/ 3 h 95"/>
                  <a:gd name="T44" fmla="*/ 48 w 312"/>
                  <a:gd name="T4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2" h="95">
                    <a:moveTo>
                      <a:pt x="48" y="0"/>
                    </a:moveTo>
                    <a:lnTo>
                      <a:pt x="264" y="0"/>
                    </a:lnTo>
                    <a:lnTo>
                      <a:pt x="279" y="3"/>
                    </a:lnTo>
                    <a:lnTo>
                      <a:pt x="292" y="9"/>
                    </a:lnTo>
                    <a:lnTo>
                      <a:pt x="302" y="20"/>
                    </a:lnTo>
                    <a:lnTo>
                      <a:pt x="309" y="32"/>
                    </a:lnTo>
                    <a:lnTo>
                      <a:pt x="312" y="48"/>
                    </a:lnTo>
                    <a:lnTo>
                      <a:pt x="309" y="62"/>
                    </a:lnTo>
                    <a:lnTo>
                      <a:pt x="302" y="75"/>
                    </a:lnTo>
                    <a:lnTo>
                      <a:pt x="292" y="86"/>
                    </a:lnTo>
                    <a:lnTo>
                      <a:pt x="279" y="93"/>
                    </a:lnTo>
                    <a:lnTo>
                      <a:pt x="264" y="95"/>
                    </a:lnTo>
                    <a:lnTo>
                      <a:pt x="48" y="95"/>
                    </a:lnTo>
                    <a:lnTo>
                      <a:pt x="33" y="93"/>
                    </a:lnTo>
                    <a:lnTo>
                      <a:pt x="20" y="86"/>
                    </a:lnTo>
                    <a:lnTo>
                      <a:pt x="10" y="75"/>
                    </a:lnTo>
                    <a:lnTo>
                      <a:pt x="3" y="62"/>
                    </a:lnTo>
                    <a:lnTo>
                      <a:pt x="0" y="48"/>
                    </a:lnTo>
                    <a:lnTo>
                      <a:pt x="3" y="32"/>
                    </a:lnTo>
                    <a:lnTo>
                      <a:pt x="10" y="20"/>
                    </a:lnTo>
                    <a:lnTo>
                      <a:pt x="20" y="9"/>
                    </a:lnTo>
                    <a:lnTo>
                      <a:pt x="33" y="3"/>
                    </a:lnTo>
                    <a:lnTo>
                      <a:pt x="48" y="0"/>
                    </a:lnTo>
                    <a:close/>
                  </a:path>
                </a:pathLst>
              </a:custGeom>
              <a:solidFill>
                <a:schemeClr val="accent5"/>
              </a:solidFill>
              <a:ln>
                <a:noFill/>
              </a:ln>
            </p:spPr>
            <p:txBody>
              <a:bodyPr/>
              <a:lstStyle/>
              <a:p>
                <a:endParaRPr lang="de-DE" dirty="0"/>
              </a:p>
            </p:txBody>
          </p:sp>
          <p:sp>
            <p:nvSpPr>
              <p:cNvPr id="1612" name="Freeform 372"/>
              <p:cNvSpPr>
                <a:spLocks/>
              </p:cNvSpPr>
              <p:nvPr/>
            </p:nvSpPr>
            <p:spPr bwMode="auto">
              <a:xfrm>
                <a:off x="11261657" y="5975955"/>
                <a:ext cx="41271" cy="14289"/>
              </a:xfrm>
              <a:custGeom>
                <a:avLst/>
                <a:gdLst>
                  <a:gd name="T0" fmla="*/ 45 w 267"/>
                  <a:gd name="T1" fmla="*/ 0 h 86"/>
                  <a:gd name="T2" fmla="*/ 224 w 267"/>
                  <a:gd name="T3" fmla="*/ 0 h 86"/>
                  <a:gd name="T4" fmla="*/ 237 w 267"/>
                  <a:gd name="T5" fmla="*/ 2 h 86"/>
                  <a:gd name="T6" fmla="*/ 249 w 267"/>
                  <a:gd name="T7" fmla="*/ 8 h 86"/>
                  <a:gd name="T8" fmla="*/ 259 w 267"/>
                  <a:gd name="T9" fmla="*/ 18 h 86"/>
                  <a:gd name="T10" fmla="*/ 265 w 267"/>
                  <a:gd name="T11" fmla="*/ 30 h 86"/>
                  <a:gd name="T12" fmla="*/ 267 w 267"/>
                  <a:gd name="T13" fmla="*/ 43 h 86"/>
                  <a:gd name="T14" fmla="*/ 265 w 267"/>
                  <a:gd name="T15" fmla="*/ 57 h 86"/>
                  <a:gd name="T16" fmla="*/ 259 w 267"/>
                  <a:gd name="T17" fmla="*/ 69 h 86"/>
                  <a:gd name="T18" fmla="*/ 249 w 267"/>
                  <a:gd name="T19" fmla="*/ 79 h 86"/>
                  <a:gd name="T20" fmla="*/ 237 w 267"/>
                  <a:gd name="T21" fmla="*/ 84 h 86"/>
                  <a:gd name="T22" fmla="*/ 224 w 267"/>
                  <a:gd name="T23" fmla="*/ 86 h 86"/>
                  <a:gd name="T24" fmla="*/ 45 w 267"/>
                  <a:gd name="T25" fmla="*/ 86 h 86"/>
                  <a:gd name="T26" fmla="*/ 30 w 267"/>
                  <a:gd name="T27" fmla="*/ 84 h 86"/>
                  <a:gd name="T28" fmla="*/ 18 w 267"/>
                  <a:gd name="T29" fmla="*/ 79 h 86"/>
                  <a:gd name="T30" fmla="*/ 9 w 267"/>
                  <a:gd name="T31" fmla="*/ 69 h 86"/>
                  <a:gd name="T32" fmla="*/ 3 w 267"/>
                  <a:gd name="T33" fmla="*/ 57 h 86"/>
                  <a:gd name="T34" fmla="*/ 0 w 267"/>
                  <a:gd name="T35" fmla="*/ 43 h 86"/>
                  <a:gd name="T36" fmla="*/ 3 w 267"/>
                  <a:gd name="T37" fmla="*/ 30 h 86"/>
                  <a:gd name="T38" fmla="*/ 9 w 267"/>
                  <a:gd name="T39" fmla="*/ 18 h 86"/>
                  <a:gd name="T40" fmla="*/ 18 w 267"/>
                  <a:gd name="T41" fmla="*/ 8 h 86"/>
                  <a:gd name="T42" fmla="*/ 30 w 267"/>
                  <a:gd name="T43" fmla="*/ 2 h 86"/>
                  <a:gd name="T44" fmla="*/ 45 w 267"/>
                  <a:gd name="T4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7" h="86">
                    <a:moveTo>
                      <a:pt x="45" y="0"/>
                    </a:moveTo>
                    <a:lnTo>
                      <a:pt x="224" y="0"/>
                    </a:lnTo>
                    <a:lnTo>
                      <a:pt x="237" y="2"/>
                    </a:lnTo>
                    <a:lnTo>
                      <a:pt x="249" y="8"/>
                    </a:lnTo>
                    <a:lnTo>
                      <a:pt x="259" y="18"/>
                    </a:lnTo>
                    <a:lnTo>
                      <a:pt x="265" y="30"/>
                    </a:lnTo>
                    <a:lnTo>
                      <a:pt x="267" y="43"/>
                    </a:lnTo>
                    <a:lnTo>
                      <a:pt x="265" y="57"/>
                    </a:lnTo>
                    <a:lnTo>
                      <a:pt x="259" y="69"/>
                    </a:lnTo>
                    <a:lnTo>
                      <a:pt x="249" y="79"/>
                    </a:lnTo>
                    <a:lnTo>
                      <a:pt x="237" y="84"/>
                    </a:lnTo>
                    <a:lnTo>
                      <a:pt x="224" y="86"/>
                    </a:lnTo>
                    <a:lnTo>
                      <a:pt x="45" y="86"/>
                    </a:lnTo>
                    <a:lnTo>
                      <a:pt x="30" y="84"/>
                    </a:lnTo>
                    <a:lnTo>
                      <a:pt x="18" y="79"/>
                    </a:lnTo>
                    <a:lnTo>
                      <a:pt x="9" y="69"/>
                    </a:lnTo>
                    <a:lnTo>
                      <a:pt x="3" y="57"/>
                    </a:lnTo>
                    <a:lnTo>
                      <a:pt x="0" y="43"/>
                    </a:lnTo>
                    <a:lnTo>
                      <a:pt x="3" y="30"/>
                    </a:lnTo>
                    <a:lnTo>
                      <a:pt x="9" y="18"/>
                    </a:lnTo>
                    <a:lnTo>
                      <a:pt x="18" y="8"/>
                    </a:lnTo>
                    <a:lnTo>
                      <a:pt x="30" y="2"/>
                    </a:lnTo>
                    <a:lnTo>
                      <a:pt x="45" y="0"/>
                    </a:lnTo>
                    <a:close/>
                  </a:path>
                </a:pathLst>
              </a:custGeom>
              <a:solidFill>
                <a:schemeClr val="accent5"/>
              </a:solidFill>
              <a:ln>
                <a:noFill/>
              </a:ln>
            </p:spPr>
            <p:txBody>
              <a:bodyPr/>
              <a:lstStyle/>
              <a:p>
                <a:endParaRPr lang="de-DE" dirty="0"/>
              </a:p>
            </p:txBody>
          </p:sp>
          <p:sp>
            <p:nvSpPr>
              <p:cNvPr id="1613" name="Freeform 373"/>
              <p:cNvSpPr>
                <a:spLocks/>
              </p:cNvSpPr>
              <p:nvPr/>
            </p:nvSpPr>
            <p:spPr bwMode="auto">
              <a:xfrm>
                <a:off x="11317214" y="5969605"/>
                <a:ext cx="53970" cy="15877"/>
              </a:xfrm>
              <a:custGeom>
                <a:avLst/>
                <a:gdLst>
                  <a:gd name="T0" fmla="*/ 51 w 344"/>
                  <a:gd name="T1" fmla="*/ 0 h 100"/>
                  <a:gd name="T2" fmla="*/ 293 w 344"/>
                  <a:gd name="T3" fmla="*/ 0 h 100"/>
                  <a:gd name="T4" fmla="*/ 310 w 344"/>
                  <a:gd name="T5" fmla="*/ 2 h 100"/>
                  <a:gd name="T6" fmla="*/ 323 w 344"/>
                  <a:gd name="T7" fmla="*/ 10 h 100"/>
                  <a:gd name="T8" fmla="*/ 334 w 344"/>
                  <a:gd name="T9" fmla="*/ 20 h 100"/>
                  <a:gd name="T10" fmla="*/ 342 w 344"/>
                  <a:gd name="T11" fmla="*/ 34 h 100"/>
                  <a:gd name="T12" fmla="*/ 344 w 344"/>
                  <a:gd name="T13" fmla="*/ 49 h 100"/>
                  <a:gd name="T14" fmla="*/ 342 w 344"/>
                  <a:gd name="T15" fmla="*/ 66 h 100"/>
                  <a:gd name="T16" fmla="*/ 334 w 344"/>
                  <a:gd name="T17" fmla="*/ 79 h 100"/>
                  <a:gd name="T18" fmla="*/ 323 w 344"/>
                  <a:gd name="T19" fmla="*/ 90 h 100"/>
                  <a:gd name="T20" fmla="*/ 310 w 344"/>
                  <a:gd name="T21" fmla="*/ 98 h 100"/>
                  <a:gd name="T22" fmla="*/ 293 w 344"/>
                  <a:gd name="T23" fmla="*/ 100 h 100"/>
                  <a:gd name="T24" fmla="*/ 51 w 344"/>
                  <a:gd name="T25" fmla="*/ 100 h 100"/>
                  <a:gd name="T26" fmla="*/ 36 w 344"/>
                  <a:gd name="T27" fmla="*/ 98 h 100"/>
                  <a:gd name="T28" fmla="*/ 21 w 344"/>
                  <a:gd name="T29" fmla="*/ 90 h 100"/>
                  <a:gd name="T30" fmla="*/ 10 w 344"/>
                  <a:gd name="T31" fmla="*/ 79 h 100"/>
                  <a:gd name="T32" fmla="*/ 4 w 344"/>
                  <a:gd name="T33" fmla="*/ 66 h 100"/>
                  <a:gd name="T34" fmla="*/ 0 w 344"/>
                  <a:gd name="T35" fmla="*/ 49 h 100"/>
                  <a:gd name="T36" fmla="*/ 4 w 344"/>
                  <a:gd name="T37" fmla="*/ 34 h 100"/>
                  <a:gd name="T38" fmla="*/ 10 w 344"/>
                  <a:gd name="T39" fmla="*/ 20 h 100"/>
                  <a:gd name="T40" fmla="*/ 21 w 344"/>
                  <a:gd name="T41" fmla="*/ 10 h 100"/>
                  <a:gd name="T42" fmla="*/ 36 w 344"/>
                  <a:gd name="T43" fmla="*/ 2 h 100"/>
                  <a:gd name="T44" fmla="*/ 51 w 344"/>
                  <a:gd name="T4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4" h="100">
                    <a:moveTo>
                      <a:pt x="51" y="0"/>
                    </a:moveTo>
                    <a:lnTo>
                      <a:pt x="293" y="0"/>
                    </a:lnTo>
                    <a:lnTo>
                      <a:pt x="310" y="2"/>
                    </a:lnTo>
                    <a:lnTo>
                      <a:pt x="323" y="10"/>
                    </a:lnTo>
                    <a:lnTo>
                      <a:pt x="334" y="20"/>
                    </a:lnTo>
                    <a:lnTo>
                      <a:pt x="342" y="34"/>
                    </a:lnTo>
                    <a:lnTo>
                      <a:pt x="344" y="49"/>
                    </a:lnTo>
                    <a:lnTo>
                      <a:pt x="342" y="66"/>
                    </a:lnTo>
                    <a:lnTo>
                      <a:pt x="334" y="79"/>
                    </a:lnTo>
                    <a:lnTo>
                      <a:pt x="323" y="90"/>
                    </a:lnTo>
                    <a:lnTo>
                      <a:pt x="310" y="98"/>
                    </a:lnTo>
                    <a:lnTo>
                      <a:pt x="293" y="100"/>
                    </a:lnTo>
                    <a:lnTo>
                      <a:pt x="51" y="100"/>
                    </a:lnTo>
                    <a:lnTo>
                      <a:pt x="36" y="98"/>
                    </a:lnTo>
                    <a:lnTo>
                      <a:pt x="21" y="90"/>
                    </a:lnTo>
                    <a:lnTo>
                      <a:pt x="10" y="79"/>
                    </a:lnTo>
                    <a:lnTo>
                      <a:pt x="4" y="66"/>
                    </a:lnTo>
                    <a:lnTo>
                      <a:pt x="0" y="49"/>
                    </a:lnTo>
                    <a:lnTo>
                      <a:pt x="4" y="34"/>
                    </a:lnTo>
                    <a:lnTo>
                      <a:pt x="10" y="20"/>
                    </a:lnTo>
                    <a:lnTo>
                      <a:pt x="21" y="10"/>
                    </a:lnTo>
                    <a:lnTo>
                      <a:pt x="36" y="2"/>
                    </a:lnTo>
                    <a:lnTo>
                      <a:pt x="51" y="0"/>
                    </a:lnTo>
                    <a:close/>
                  </a:path>
                </a:pathLst>
              </a:custGeom>
              <a:solidFill>
                <a:schemeClr val="accent5"/>
              </a:solidFill>
              <a:ln>
                <a:noFill/>
              </a:ln>
            </p:spPr>
            <p:txBody>
              <a:bodyPr/>
              <a:lstStyle/>
              <a:p>
                <a:endParaRPr lang="de-DE" dirty="0"/>
              </a:p>
            </p:txBody>
          </p:sp>
          <p:sp>
            <p:nvSpPr>
              <p:cNvPr id="1614" name="Freeform 374"/>
              <p:cNvSpPr>
                <a:spLocks/>
              </p:cNvSpPr>
              <p:nvPr/>
            </p:nvSpPr>
            <p:spPr bwMode="auto">
              <a:xfrm>
                <a:off x="11387057" y="5972780"/>
                <a:ext cx="57144" cy="15877"/>
              </a:xfrm>
              <a:custGeom>
                <a:avLst/>
                <a:gdLst>
                  <a:gd name="T0" fmla="*/ 50 w 357"/>
                  <a:gd name="T1" fmla="*/ 0 h 103"/>
                  <a:gd name="T2" fmla="*/ 305 w 357"/>
                  <a:gd name="T3" fmla="*/ 0 h 103"/>
                  <a:gd name="T4" fmla="*/ 322 w 357"/>
                  <a:gd name="T5" fmla="*/ 3 h 103"/>
                  <a:gd name="T6" fmla="*/ 336 w 357"/>
                  <a:gd name="T7" fmla="*/ 10 h 103"/>
                  <a:gd name="T8" fmla="*/ 347 w 357"/>
                  <a:gd name="T9" fmla="*/ 21 h 103"/>
                  <a:gd name="T10" fmla="*/ 355 w 357"/>
                  <a:gd name="T11" fmla="*/ 36 h 103"/>
                  <a:gd name="T12" fmla="*/ 357 w 357"/>
                  <a:gd name="T13" fmla="*/ 52 h 103"/>
                  <a:gd name="T14" fmla="*/ 355 w 357"/>
                  <a:gd name="T15" fmla="*/ 68 h 103"/>
                  <a:gd name="T16" fmla="*/ 347 w 357"/>
                  <a:gd name="T17" fmla="*/ 82 h 103"/>
                  <a:gd name="T18" fmla="*/ 336 w 357"/>
                  <a:gd name="T19" fmla="*/ 93 h 103"/>
                  <a:gd name="T20" fmla="*/ 322 w 357"/>
                  <a:gd name="T21" fmla="*/ 101 h 103"/>
                  <a:gd name="T22" fmla="*/ 305 w 357"/>
                  <a:gd name="T23" fmla="*/ 103 h 103"/>
                  <a:gd name="T24" fmla="*/ 50 w 357"/>
                  <a:gd name="T25" fmla="*/ 103 h 103"/>
                  <a:gd name="T26" fmla="*/ 35 w 357"/>
                  <a:gd name="T27" fmla="*/ 101 h 103"/>
                  <a:gd name="T28" fmla="*/ 21 w 357"/>
                  <a:gd name="T29" fmla="*/ 93 h 103"/>
                  <a:gd name="T30" fmla="*/ 10 w 357"/>
                  <a:gd name="T31" fmla="*/ 82 h 103"/>
                  <a:gd name="T32" fmla="*/ 2 w 357"/>
                  <a:gd name="T33" fmla="*/ 68 h 103"/>
                  <a:gd name="T34" fmla="*/ 0 w 357"/>
                  <a:gd name="T35" fmla="*/ 52 h 103"/>
                  <a:gd name="T36" fmla="*/ 2 w 357"/>
                  <a:gd name="T37" fmla="*/ 36 h 103"/>
                  <a:gd name="T38" fmla="*/ 10 w 357"/>
                  <a:gd name="T39" fmla="*/ 21 h 103"/>
                  <a:gd name="T40" fmla="*/ 21 w 357"/>
                  <a:gd name="T41" fmla="*/ 10 h 103"/>
                  <a:gd name="T42" fmla="*/ 35 w 357"/>
                  <a:gd name="T43" fmla="*/ 3 h 103"/>
                  <a:gd name="T44" fmla="*/ 50 w 357"/>
                  <a:gd name="T4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103">
                    <a:moveTo>
                      <a:pt x="50" y="0"/>
                    </a:moveTo>
                    <a:lnTo>
                      <a:pt x="305" y="0"/>
                    </a:lnTo>
                    <a:lnTo>
                      <a:pt x="322" y="3"/>
                    </a:lnTo>
                    <a:lnTo>
                      <a:pt x="336" y="10"/>
                    </a:lnTo>
                    <a:lnTo>
                      <a:pt x="347" y="21"/>
                    </a:lnTo>
                    <a:lnTo>
                      <a:pt x="355" y="36"/>
                    </a:lnTo>
                    <a:lnTo>
                      <a:pt x="357" y="52"/>
                    </a:lnTo>
                    <a:lnTo>
                      <a:pt x="355" y="68"/>
                    </a:lnTo>
                    <a:lnTo>
                      <a:pt x="347" y="82"/>
                    </a:lnTo>
                    <a:lnTo>
                      <a:pt x="336" y="93"/>
                    </a:lnTo>
                    <a:lnTo>
                      <a:pt x="322" y="101"/>
                    </a:lnTo>
                    <a:lnTo>
                      <a:pt x="305" y="103"/>
                    </a:lnTo>
                    <a:lnTo>
                      <a:pt x="50" y="103"/>
                    </a:lnTo>
                    <a:lnTo>
                      <a:pt x="35" y="101"/>
                    </a:lnTo>
                    <a:lnTo>
                      <a:pt x="21" y="93"/>
                    </a:lnTo>
                    <a:lnTo>
                      <a:pt x="10" y="82"/>
                    </a:lnTo>
                    <a:lnTo>
                      <a:pt x="2" y="68"/>
                    </a:lnTo>
                    <a:lnTo>
                      <a:pt x="0" y="52"/>
                    </a:lnTo>
                    <a:lnTo>
                      <a:pt x="2" y="36"/>
                    </a:lnTo>
                    <a:lnTo>
                      <a:pt x="10" y="21"/>
                    </a:lnTo>
                    <a:lnTo>
                      <a:pt x="21" y="10"/>
                    </a:lnTo>
                    <a:lnTo>
                      <a:pt x="35" y="3"/>
                    </a:lnTo>
                    <a:lnTo>
                      <a:pt x="50" y="0"/>
                    </a:lnTo>
                    <a:close/>
                  </a:path>
                </a:pathLst>
              </a:custGeom>
              <a:solidFill>
                <a:schemeClr val="accent5"/>
              </a:solidFill>
              <a:ln>
                <a:noFill/>
              </a:ln>
            </p:spPr>
            <p:txBody>
              <a:bodyPr/>
              <a:lstStyle/>
              <a:p>
                <a:endParaRPr lang="de-DE" dirty="0"/>
              </a:p>
            </p:txBody>
          </p:sp>
          <p:sp>
            <p:nvSpPr>
              <p:cNvPr id="1615" name="Freeform 375"/>
              <p:cNvSpPr>
                <a:spLocks/>
              </p:cNvSpPr>
              <p:nvPr/>
            </p:nvSpPr>
            <p:spPr bwMode="auto">
              <a:xfrm>
                <a:off x="10985459" y="6023586"/>
                <a:ext cx="44446" cy="17464"/>
              </a:xfrm>
              <a:custGeom>
                <a:avLst/>
                <a:gdLst>
                  <a:gd name="T0" fmla="*/ 53 w 281"/>
                  <a:gd name="T1" fmla="*/ 0 h 106"/>
                  <a:gd name="T2" fmla="*/ 228 w 281"/>
                  <a:gd name="T3" fmla="*/ 0 h 106"/>
                  <a:gd name="T4" fmla="*/ 246 w 281"/>
                  <a:gd name="T5" fmla="*/ 2 h 106"/>
                  <a:gd name="T6" fmla="*/ 260 w 281"/>
                  <a:gd name="T7" fmla="*/ 10 h 106"/>
                  <a:gd name="T8" fmla="*/ 271 w 281"/>
                  <a:gd name="T9" fmla="*/ 21 h 106"/>
                  <a:gd name="T10" fmla="*/ 279 w 281"/>
                  <a:gd name="T11" fmla="*/ 36 h 106"/>
                  <a:gd name="T12" fmla="*/ 281 w 281"/>
                  <a:gd name="T13" fmla="*/ 53 h 106"/>
                  <a:gd name="T14" fmla="*/ 279 w 281"/>
                  <a:gd name="T15" fmla="*/ 69 h 106"/>
                  <a:gd name="T16" fmla="*/ 271 w 281"/>
                  <a:gd name="T17" fmla="*/ 84 h 106"/>
                  <a:gd name="T18" fmla="*/ 260 w 281"/>
                  <a:gd name="T19" fmla="*/ 95 h 106"/>
                  <a:gd name="T20" fmla="*/ 246 w 281"/>
                  <a:gd name="T21" fmla="*/ 102 h 106"/>
                  <a:gd name="T22" fmla="*/ 228 w 281"/>
                  <a:gd name="T23" fmla="*/ 106 h 106"/>
                  <a:gd name="T24" fmla="*/ 53 w 281"/>
                  <a:gd name="T25" fmla="*/ 106 h 106"/>
                  <a:gd name="T26" fmla="*/ 37 w 281"/>
                  <a:gd name="T27" fmla="*/ 102 h 106"/>
                  <a:gd name="T28" fmla="*/ 21 w 281"/>
                  <a:gd name="T29" fmla="*/ 95 h 106"/>
                  <a:gd name="T30" fmla="*/ 10 w 281"/>
                  <a:gd name="T31" fmla="*/ 84 h 106"/>
                  <a:gd name="T32" fmla="*/ 2 w 281"/>
                  <a:gd name="T33" fmla="*/ 69 h 106"/>
                  <a:gd name="T34" fmla="*/ 0 w 281"/>
                  <a:gd name="T35" fmla="*/ 53 h 106"/>
                  <a:gd name="T36" fmla="*/ 2 w 281"/>
                  <a:gd name="T37" fmla="*/ 36 h 106"/>
                  <a:gd name="T38" fmla="*/ 10 w 281"/>
                  <a:gd name="T39" fmla="*/ 21 h 106"/>
                  <a:gd name="T40" fmla="*/ 21 w 281"/>
                  <a:gd name="T41" fmla="*/ 10 h 106"/>
                  <a:gd name="T42" fmla="*/ 37 w 281"/>
                  <a:gd name="T43" fmla="*/ 2 h 106"/>
                  <a:gd name="T44" fmla="*/ 53 w 28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06">
                    <a:moveTo>
                      <a:pt x="53" y="0"/>
                    </a:moveTo>
                    <a:lnTo>
                      <a:pt x="228" y="0"/>
                    </a:lnTo>
                    <a:lnTo>
                      <a:pt x="246" y="2"/>
                    </a:lnTo>
                    <a:lnTo>
                      <a:pt x="260" y="10"/>
                    </a:lnTo>
                    <a:lnTo>
                      <a:pt x="271" y="21"/>
                    </a:lnTo>
                    <a:lnTo>
                      <a:pt x="279" y="36"/>
                    </a:lnTo>
                    <a:lnTo>
                      <a:pt x="281" y="53"/>
                    </a:lnTo>
                    <a:lnTo>
                      <a:pt x="279" y="69"/>
                    </a:lnTo>
                    <a:lnTo>
                      <a:pt x="271" y="84"/>
                    </a:lnTo>
                    <a:lnTo>
                      <a:pt x="260" y="95"/>
                    </a:lnTo>
                    <a:lnTo>
                      <a:pt x="246" y="102"/>
                    </a:lnTo>
                    <a:lnTo>
                      <a:pt x="228" y="106"/>
                    </a:lnTo>
                    <a:lnTo>
                      <a:pt x="53" y="106"/>
                    </a:lnTo>
                    <a:lnTo>
                      <a:pt x="37" y="102"/>
                    </a:lnTo>
                    <a:lnTo>
                      <a:pt x="21" y="95"/>
                    </a:lnTo>
                    <a:lnTo>
                      <a:pt x="10" y="84"/>
                    </a:lnTo>
                    <a:lnTo>
                      <a:pt x="2" y="69"/>
                    </a:lnTo>
                    <a:lnTo>
                      <a:pt x="0" y="53"/>
                    </a:lnTo>
                    <a:lnTo>
                      <a:pt x="2" y="36"/>
                    </a:lnTo>
                    <a:lnTo>
                      <a:pt x="10" y="21"/>
                    </a:lnTo>
                    <a:lnTo>
                      <a:pt x="21" y="10"/>
                    </a:lnTo>
                    <a:lnTo>
                      <a:pt x="37" y="2"/>
                    </a:lnTo>
                    <a:lnTo>
                      <a:pt x="53" y="0"/>
                    </a:lnTo>
                    <a:close/>
                  </a:path>
                </a:pathLst>
              </a:custGeom>
              <a:solidFill>
                <a:schemeClr val="accent5"/>
              </a:solidFill>
              <a:ln>
                <a:noFill/>
              </a:ln>
            </p:spPr>
            <p:txBody>
              <a:bodyPr/>
              <a:lstStyle/>
              <a:p>
                <a:endParaRPr lang="de-DE" dirty="0"/>
              </a:p>
            </p:txBody>
          </p:sp>
          <p:sp>
            <p:nvSpPr>
              <p:cNvPr id="1616" name="Freeform 376"/>
              <p:cNvSpPr>
                <a:spLocks/>
              </p:cNvSpPr>
              <p:nvPr/>
            </p:nvSpPr>
            <p:spPr bwMode="auto">
              <a:xfrm>
                <a:off x="11044191" y="6028349"/>
                <a:ext cx="44446" cy="17464"/>
              </a:xfrm>
              <a:custGeom>
                <a:avLst/>
                <a:gdLst>
                  <a:gd name="T0" fmla="*/ 53 w 284"/>
                  <a:gd name="T1" fmla="*/ 0 h 106"/>
                  <a:gd name="T2" fmla="*/ 231 w 284"/>
                  <a:gd name="T3" fmla="*/ 0 h 106"/>
                  <a:gd name="T4" fmla="*/ 248 w 284"/>
                  <a:gd name="T5" fmla="*/ 3 h 106"/>
                  <a:gd name="T6" fmla="*/ 262 w 284"/>
                  <a:gd name="T7" fmla="*/ 10 h 106"/>
                  <a:gd name="T8" fmla="*/ 273 w 284"/>
                  <a:gd name="T9" fmla="*/ 21 h 106"/>
                  <a:gd name="T10" fmla="*/ 281 w 284"/>
                  <a:gd name="T11" fmla="*/ 36 h 106"/>
                  <a:gd name="T12" fmla="*/ 284 w 284"/>
                  <a:gd name="T13" fmla="*/ 53 h 106"/>
                  <a:gd name="T14" fmla="*/ 281 w 284"/>
                  <a:gd name="T15" fmla="*/ 70 h 106"/>
                  <a:gd name="T16" fmla="*/ 273 w 284"/>
                  <a:gd name="T17" fmla="*/ 84 h 106"/>
                  <a:gd name="T18" fmla="*/ 262 w 284"/>
                  <a:gd name="T19" fmla="*/ 95 h 106"/>
                  <a:gd name="T20" fmla="*/ 248 w 284"/>
                  <a:gd name="T21" fmla="*/ 103 h 106"/>
                  <a:gd name="T22" fmla="*/ 231 w 284"/>
                  <a:gd name="T23" fmla="*/ 106 h 106"/>
                  <a:gd name="T24" fmla="*/ 53 w 284"/>
                  <a:gd name="T25" fmla="*/ 106 h 106"/>
                  <a:gd name="T26" fmla="*/ 36 w 284"/>
                  <a:gd name="T27" fmla="*/ 103 h 106"/>
                  <a:gd name="T28" fmla="*/ 21 w 284"/>
                  <a:gd name="T29" fmla="*/ 95 h 106"/>
                  <a:gd name="T30" fmla="*/ 10 w 284"/>
                  <a:gd name="T31" fmla="*/ 84 h 106"/>
                  <a:gd name="T32" fmla="*/ 2 w 284"/>
                  <a:gd name="T33" fmla="*/ 70 h 106"/>
                  <a:gd name="T34" fmla="*/ 0 w 284"/>
                  <a:gd name="T35" fmla="*/ 53 h 106"/>
                  <a:gd name="T36" fmla="*/ 2 w 284"/>
                  <a:gd name="T37" fmla="*/ 36 h 106"/>
                  <a:gd name="T38" fmla="*/ 10 w 284"/>
                  <a:gd name="T39" fmla="*/ 21 h 106"/>
                  <a:gd name="T40" fmla="*/ 21 w 284"/>
                  <a:gd name="T41" fmla="*/ 10 h 106"/>
                  <a:gd name="T42" fmla="*/ 36 w 284"/>
                  <a:gd name="T43" fmla="*/ 3 h 106"/>
                  <a:gd name="T44" fmla="*/ 53 w 284"/>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106">
                    <a:moveTo>
                      <a:pt x="53" y="0"/>
                    </a:moveTo>
                    <a:lnTo>
                      <a:pt x="231" y="0"/>
                    </a:lnTo>
                    <a:lnTo>
                      <a:pt x="248" y="3"/>
                    </a:lnTo>
                    <a:lnTo>
                      <a:pt x="262" y="10"/>
                    </a:lnTo>
                    <a:lnTo>
                      <a:pt x="273" y="21"/>
                    </a:lnTo>
                    <a:lnTo>
                      <a:pt x="281" y="36"/>
                    </a:lnTo>
                    <a:lnTo>
                      <a:pt x="284" y="53"/>
                    </a:lnTo>
                    <a:lnTo>
                      <a:pt x="281" y="70"/>
                    </a:lnTo>
                    <a:lnTo>
                      <a:pt x="273" y="84"/>
                    </a:lnTo>
                    <a:lnTo>
                      <a:pt x="262" y="95"/>
                    </a:lnTo>
                    <a:lnTo>
                      <a:pt x="248" y="103"/>
                    </a:lnTo>
                    <a:lnTo>
                      <a:pt x="231" y="106"/>
                    </a:lnTo>
                    <a:lnTo>
                      <a:pt x="53" y="106"/>
                    </a:lnTo>
                    <a:lnTo>
                      <a:pt x="36" y="103"/>
                    </a:lnTo>
                    <a:lnTo>
                      <a:pt x="21" y="95"/>
                    </a:lnTo>
                    <a:lnTo>
                      <a:pt x="10" y="84"/>
                    </a:lnTo>
                    <a:lnTo>
                      <a:pt x="2" y="70"/>
                    </a:lnTo>
                    <a:lnTo>
                      <a:pt x="0" y="53"/>
                    </a:lnTo>
                    <a:lnTo>
                      <a:pt x="2" y="36"/>
                    </a:lnTo>
                    <a:lnTo>
                      <a:pt x="10" y="21"/>
                    </a:lnTo>
                    <a:lnTo>
                      <a:pt x="21" y="10"/>
                    </a:lnTo>
                    <a:lnTo>
                      <a:pt x="36" y="3"/>
                    </a:lnTo>
                    <a:lnTo>
                      <a:pt x="53" y="0"/>
                    </a:lnTo>
                    <a:close/>
                  </a:path>
                </a:pathLst>
              </a:custGeom>
              <a:solidFill>
                <a:schemeClr val="accent5"/>
              </a:solidFill>
              <a:ln>
                <a:noFill/>
              </a:ln>
            </p:spPr>
            <p:txBody>
              <a:bodyPr/>
              <a:lstStyle/>
              <a:p>
                <a:endParaRPr lang="de-DE" dirty="0"/>
              </a:p>
            </p:txBody>
          </p:sp>
          <p:sp>
            <p:nvSpPr>
              <p:cNvPr id="1617" name="Freeform 377"/>
              <p:cNvSpPr>
                <a:spLocks/>
              </p:cNvSpPr>
              <p:nvPr/>
            </p:nvSpPr>
            <p:spPr bwMode="auto">
              <a:xfrm>
                <a:off x="11112447" y="6028349"/>
                <a:ext cx="53970" cy="15877"/>
              </a:xfrm>
              <a:custGeom>
                <a:avLst/>
                <a:gdLst>
                  <a:gd name="T0" fmla="*/ 53 w 337"/>
                  <a:gd name="T1" fmla="*/ 0 h 106"/>
                  <a:gd name="T2" fmla="*/ 284 w 337"/>
                  <a:gd name="T3" fmla="*/ 0 h 106"/>
                  <a:gd name="T4" fmla="*/ 301 w 337"/>
                  <a:gd name="T5" fmla="*/ 2 h 106"/>
                  <a:gd name="T6" fmla="*/ 315 w 337"/>
                  <a:gd name="T7" fmla="*/ 10 h 106"/>
                  <a:gd name="T8" fmla="*/ 326 w 337"/>
                  <a:gd name="T9" fmla="*/ 22 h 106"/>
                  <a:gd name="T10" fmla="*/ 334 w 337"/>
                  <a:gd name="T11" fmla="*/ 37 h 106"/>
                  <a:gd name="T12" fmla="*/ 337 w 337"/>
                  <a:gd name="T13" fmla="*/ 53 h 106"/>
                  <a:gd name="T14" fmla="*/ 334 w 337"/>
                  <a:gd name="T15" fmla="*/ 70 h 106"/>
                  <a:gd name="T16" fmla="*/ 326 w 337"/>
                  <a:gd name="T17" fmla="*/ 84 h 106"/>
                  <a:gd name="T18" fmla="*/ 315 w 337"/>
                  <a:gd name="T19" fmla="*/ 96 h 106"/>
                  <a:gd name="T20" fmla="*/ 301 w 337"/>
                  <a:gd name="T21" fmla="*/ 103 h 106"/>
                  <a:gd name="T22" fmla="*/ 284 w 337"/>
                  <a:gd name="T23" fmla="*/ 106 h 106"/>
                  <a:gd name="T24" fmla="*/ 53 w 337"/>
                  <a:gd name="T25" fmla="*/ 106 h 106"/>
                  <a:gd name="T26" fmla="*/ 36 w 337"/>
                  <a:gd name="T27" fmla="*/ 103 h 106"/>
                  <a:gd name="T28" fmla="*/ 21 w 337"/>
                  <a:gd name="T29" fmla="*/ 96 h 106"/>
                  <a:gd name="T30" fmla="*/ 10 w 337"/>
                  <a:gd name="T31" fmla="*/ 84 h 106"/>
                  <a:gd name="T32" fmla="*/ 2 w 337"/>
                  <a:gd name="T33" fmla="*/ 70 h 106"/>
                  <a:gd name="T34" fmla="*/ 0 w 337"/>
                  <a:gd name="T35" fmla="*/ 53 h 106"/>
                  <a:gd name="T36" fmla="*/ 2 w 337"/>
                  <a:gd name="T37" fmla="*/ 37 h 106"/>
                  <a:gd name="T38" fmla="*/ 10 w 337"/>
                  <a:gd name="T39" fmla="*/ 22 h 106"/>
                  <a:gd name="T40" fmla="*/ 21 w 337"/>
                  <a:gd name="T41" fmla="*/ 10 h 106"/>
                  <a:gd name="T42" fmla="*/ 36 w 337"/>
                  <a:gd name="T43" fmla="*/ 2 h 106"/>
                  <a:gd name="T44" fmla="*/ 53 w 337"/>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7" h="106">
                    <a:moveTo>
                      <a:pt x="53" y="0"/>
                    </a:moveTo>
                    <a:lnTo>
                      <a:pt x="284" y="0"/>
                    </a:lnTo>
                    <a:lnTo>
                      <a:pt x="301" y="2"/>
                    </a:lnTo>
                    <a:lnTo>
                      <a:pt x="315" y="10"/>
                    </a:lnTo>
                    <a:lnTo>
                      <a:pt x="326" y="22"/>
                    </a:lnTo>
                    <a:lnTo>
                      <a:pt x="334" y="37"/>
                    </a:lnTo>
                    <a:lnTo>
                      <a:pt x="337" y="53"/>
                    </a:lnTo>
                    <a:lnTo>
                      <a:pt x="334" y="70"/>
                    </a:lnTo>
                    <a:lnTo>
                      <a:pt x="326" y="84"/>
                    </a:lnTo>
                    <a:lnTo>
                      <a:pt x="315" y="96"/>
                    </a:lnTo>
                    <a:lnTo>
                      <a:pt x="301" y="103"/>
                    </a:lnTo>
                    <a:lnTo>
                      <a:pt x="284" y="106"/>
                    </a:lnTo>
                    <a:lnTo>
                      <a:pt x="53" y="106"/>
                    </a:lnTo>
                    <a:lnTo>
                      <a:pt x="36" y="103"/>
                    </a:lnTo>
                    <a:lnTo>
                      <a:pt x="21" y="96"/>
                    </a:lnTo>
                    <a:lnTo>
                      <a:pt x="10" y="84"/>
                    </a:lnTo>
                    <a:lnTo>
                      <a:pt x="2" y="70"/>
                    </a:lnTo>
                    <a:lnTo>
                      <a:pt x="0" y="53"/>
                    </a:lnTo>
                    <a:lnTo>
                      <a:pt x="2" y="37"/>
                    </a:lnTo>
                    <a:lnTo>
                      <a:pt x="10" y="22"/>
                    </a:lnTo>
                    <a:lnTo>
                      <a:pt x="21" y="10"/>
                    </a:lnTo>
                    <a:lnTo>
                      <a:pt x="36" y="2"/>
                    </a:lnTo>
                    <a:lnTo>
                      <a:pt x="53" y="0"/>
                    </a:lnTo>
                    <a:close/>
                  </a:path>
                </a:pathLst>
              </a:custGeom>
              <a:solidFill>
                <a:schemeClr val="accent5"/>
              </a:solidFill>
              <a:ln>
                <a:noFill/>
              </a:ln>
            </p:spPr>
            <p:txBody>
              <a:bodyPr/>
              <a:lstStyle/>
              <a:p>
                <a:endParaRPr lang="de-DE" dirty="0"/>
              </a:p>
            </p:txBody>
          </p:sp>
          <p:sp>
            <p:nvSpPr>
              <p:cNvPr id="1618" name="Freeform 378"/>
              <p:cNvSpPr>
                <a:spLocks/>
              </p:cNvSpPr>
              <p:nvPr/>
            </p:nvSpPr>
            <p:spPr bwMode="auto">
              <a:xfrm>
                <a:off x="11179115" y="6026761"/>
                <a:ext cx="52382" cy="17464"/>
              </a:xfrm>
              <a:custGeom>
                <a:avLst/>
                <a:gdLst>
                  <a:gd name="T0" fmla="*/ 53 w 329"/>
                  <a:gd name="T1" fmla="*/ 0 h 106"/>
                  <a:gd name="T2" fmla="*/ 277 w 329"/>
                  <a:gd name="T3" fmla="*/ 0 h 106"/>
                  <a:gd name="T4" fmla="*/ 294 w 329"/>
                  <a:gd name="T5" fmla="*/ 3 h 106"/>
                  <a:gd name="T6" fmla="*/ 308 w 329"/>
                  <a:gd name="T7" fmla="*/ 10 h 106"/>
                  <a:gd name="T8" fmla="*/ 319 w 329"/>
                  <a:gd name="T9" fmla="*/ 22 h 106"/>
                  <a:gd name="T10" fmla="*/ 327 w 329"/>
                  <a:gd name="T11" fmla="*/ 36 h 106"/>
                  <a:gd name="T12" fmla="*/ 329 w 329"/>
                  <a:gd name="T13" fmla="*/ 53 h 106"/>
                  <a:gd name="T14" fmla="*/ 327 w 329"/>
                  <a:gd name="T15" fmla="*/ 69 h 106"/>
                  <a:gd name="T16" fmla="*/ 319 w 329"/>
                  <a:gd name="T17" fmla="*/ 84 h 106"/>
                  <a:gd name="T18" fmla="*/ 308 w 329"/>
                  <a:gd name="T19" fmla="*/ 96 h 106"/>
                  <a:gd name="T20" fmla="*/ 294 w 329"/>
                  <a:gd name="T21" fmla="*/ 104 h 106"/>
                  <a:gd name="T22" fmla="*/ 277 w 329"/>
                  <a:gd name="T23" fmla="*/ 106 h 106"/>
                  <a:gd name="T24" fmla="*/ 53 w 329"/>
                  <a:gd name="T25" fmla="*/ 106 h 106"/>
                  <a:gd name="T26" fmla="*/ 36 w 329"/>
                  <a:gd name="T27" fmla="*/ 104 h 106"/>
                  <a:gd name="T28" fmla="*/ 22 w 329"/>
                  <a:gd name="T29" fmla="*/ 96 h 106"/>
                  <a:gd name="T30" fmla="*/ 11 w 329"/>
                  <a:gd name="T31" fmla="*/ 84 h 106"/>
                  <a:gd name="T32" fmla="*/ 3 w 329"/>
                  <a:gd name="T33" fmla="*/ 69 h 106"/>
                  <a:gd name="T34" fmla="*/ 0 w 329"/>
                  <a:gd name="T35" fmla="*/ 53 h 106"/>
                  <a:gd name="T36" fmla="*/ 3 w 329"/>
                  <a:gd name="T37" fmla="*/ 36 h 106"/>
                  <a:gd name="T38" fmla="*/ 11 w 329"/>
                  <a:gd name="T39" fmla="*/ 22 h 106"/>
                  <a:gd name="T40" fmla="*/ 22 w 329"/>
                  <a:gd name="T41" fmla="*/ 10 h 106"/>
                  <a:gd name="T42" fmla="*/ 36 w 329"/>
                  <a:gd name="T43" fmla="*/ 3 h 106"/>
                  <a:gd name="T44" fmla="*/ 53 w 32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106">
                    <a:moveTo>
                      <a:pt x="53" y="0"/>
                    </a:moveTo>
                    <a:lnTo>
                      <a:pt x="277" y="0"/>
                    </a:lnTo>
                    <a:lnTo>
                      <a:pt x="294" y="3"/>
                    </a:lnTo>
                    <a:lnTo>
                      <a:pt x="308" y="10"/>
                    </a:lnTo>
                    <a:lnTo>
                      <a:pt x="319" y="22"/>
                    </a:lnTo>
                    <a:lnTo>
                      <a:pt x="327" y="36"/>
                    </a:lnTo>
                    <a:lnTo>
                      <a:pt x="329" y="53"/>
                    </a:lnTo>
                    <a:lnTo>
                      <a:pt x="327" y="69"/>
                    </a:lnTo>
                    <a:lnTo>
                      <a:pt x="319" y="84"/>
                    </a:lnTo>
                    <a:lnTo>
                      <a:pt x="308" y="96"/>
                    </a:lnTo>
                    <a:lnTo>
                      <a:pt x="294" y="104"/>
                    </a:lnTo>
                    <a:lnTo>
                      <a:pt x="277" y="106"/>
                    </a:lnTo>
                    <a:lnTo>
                      <a:pt x="53" y="106"/>
                    </a:lnTo>
                    <a:lnTo>
                      <a:pt x="36" y="104"/>
                    </a:lnTo>
                    <a:lnTo>
                      <a:pt x="22" y="96"/>
                    </a:lnTo>
                    <a:lnTo>
                      <a:pt x="11" y="84"/>
                    </a:lnTo>
                    <a:lnTo>
                      <a:pt x="3" y="69"/>
                    </a:lnTo>
                    <a:lnTo>
                      <a:pt x="0" y="53"/>
                    </a:lnTo>
                    <a:lnTo>
                      <a:pt x="3" y="36"/>
                    </a:lnTo>
                    <a:lnTo>
                      <a:pt x="11" y="22"/>
                    </a:lnTo>
                    <a:lnTo>
                      <a:pt x="22" y="10"/>
                    </a:lnTo>
                    <a:lnTo>
                      <a:pt x="36" y="3"/>
                    </a:lnTo>
                    <a:lnTo>
                      <a:pt x="53" y="0"/>
                    </a:lnTo>
                    <a:close/>
                  </a:path>
                </a:pathLst>
              </a:custGeom>
              <a:solidFill>
                <a:schemeClr val="accent5"/>
              </a:solidFill>
              <a:ln>
                <a:noFill/>
              </a:ln>
            </p:spPr>
            <p:txBody>
              <a:bodyPr/>
              <a:lstStyle/>
              <a:p>
                <a:endParaRPr lang="de-DE" dirty="0"/>
              </a:p>
            </p:txBody>
          </p:sp>
          <p:sp>
            <p:nvSpPr>
              <p:cNvPr id="1619" name="Freeform 379"/>
              <p:cNvSpPr>
                <a:spLocks/>
              </p:cNvSpPr>
              <p:nvPr/>
            </p:nvSpPr>
            <p:spPr bwMode="auto">
              <a:xfrm>
                <a:off x="11248958" y="6028349"/>
                <a:ext cx="44446" cy="15877"/>
              </a:xfrm>
              <a:custGeom>
                <a:avLst/>
                <a:gdLst>
                  <a:gd name="T0" fmla="*/ 53 w 288"/>
                  <a:gd name="T1" fmla="*/ 0 h 106"/>
                  <a:gd name="T2" fmla="*/ 235 w 288"/>
                  <a:gd name="T3" fmla="*/ 0 h 106"/>
                  <a:gd name="T4" fmla="*/ 252 w 288"/>
                  <a:gd name="T5" fmla="*/ 3 h 106"/>
                  <a:gd name="T6" fmla="*/ 267 w 288"/>
                  <a:gd name="T7" fmla="*/ 10 h 106"/>
                  <a:gd name="T8" fmla="*/ 278 w 288"/>
                  <a:gd name="T9" fmla="*/ 22 h 106"/>
                  <a:gd name="T10" fmla="*/ 286 w 288"/>
                  <a:gd name="T11" fmla="*/ 36 h 106"/>
                  <a:gd name="T12" fmla="*/ 288 w 288"/>
                  <a:gd name="T13" fmla="*/ 53 h 106"/>
                  <a:gd name="T14" fmla="*/ 286 w 288"/>
                  <a:gd name="T15" fmla="*/ 70 h 106"/>
                  <a:gd name="T16" fmla="*/ 278 w 288"/>
                  <a:gd name="T17" fmla="*/ 84 h 106"/>
                  <a:gd name="T18" fmla="*/ 267 w 288"/>
                  <a:gd name="T19" fmla="*/ 96 h 106"/>
                  <a:gd name="T20" fmla="*/ 252 w 288"/>
                  <a:gd name="T21" fmla="*/ 104 h 106"/>
                  <a:gd name="T22" fmla="*/ 235 w 288"/>
                  <a:gd name="T23" fmla="*/ 106 h 106"/>
                  <a:gd name="T24" fmla="*/ 53 w 288"/>
                  <a:gd name="T25" fmla="*/ 106 h 106"/>
                  <a:gd name="T26" fmla="*/ 35 w 288"/>
                  <a:gd name="T27" fmla="*/ 104 h 106"/>
                  <a:gd name="T28" fmla="*/ 21 w 288"/>
                  <a:gd name="T29" fmla="*/ 96 h 106"/>
                  <a:gd name="T30" fmla="*/ 10 w 288"/>
                  <a:gd name="T31" fmla="*/ 84 h 106"/>
                  <a:gd name="T32" fmla="*/ 2 w 288"/>
                  <a:gd name="T33" fmla="*/ 70 h 106"/>
                  <a:gd name="T34" fmla="*/ 0 w 288"/>
                  <a:gd name="T35" fmla="*/ 53 h 106"/>
                  <a:gd name="T36" fmla="*/ 2 w 288"/>
                  <a:gd name="T37" fmla="*/ 36 h 106"/>
                  <a:gd name="T38" fmla="*/ 10 w 288"/>
                  <a:gd name="T39" fmla="*/ 22 h 106"/>
                  <a:gd name="T40" fmla="*/ 21 w 288"/>
                  <a:gd name="T41" fmla="*/ 10 h 106"/>
                  <a:gd name="T42" fmla="*/ 35 w 288"/>
                  <a:gd name="T43" fmla="*/ 3 h 106"/>
                  <a:gd name="T44" fmla="*/ 53 w 288"/>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106">
                    <a:moveTo>
                      <a:pt x="53" y="0"/>
                    </a:moveTo>
                    <a:lnTo>
                      <a:pt x="235" y="0"/>
                    </a:lnTo>
                    <a:lnTo>
                      <a:pt x="252" y="3"/>
                    </a:lnTo>
                    <a:lnTo>
                      <a:pt x="267" y="10"/>
                    </a:lnTo>
                    <a:lnTo>
                      <a:pt x="278" y="22"/>
                    </a:lnTo>
                    <a:lnTo>
                      <a:pt x="286" y="36"/>
                    </a:lnTo>
                    <a:lnTo>
                      <a:pt x="288" y="53"/>
                    </a:lnTo>
                    <a:lnTo>
                      <a:pt x="286" y="70"/>
                    </a:lnTo>
                    <a:lnTo>
                      <a:pt x="278" y="84"/>
                    </a:lnTo>
                    <a:lnTo>
                      <a:pt x="267" y="96"/>
                    </a:lnTo>
                    <a:lnTo>
                      <a:pt x="252" y="104"/>
                    </a:lnTo>
                    <a:lnTo>
                      <a:pt x="235" y="106"/>
                    </a:lnTo>
                    <a:lnTo>
                      <a:pt x="53" y="106"/>
                    </a:lnTo>
                    <a:lnTo>
                      <a:pt x="35" y="104"/>
                    </a:lnTo>
                    <a:lnTo>
                      <a:pt x="21" y="96"/>
                    </a:lnTo>
                    <a:lnTo>
                      <a:pt x="10" y="84"/>
                    </a:lnTo>
                    <a:lnTo>
                      <a:pt x="2" y="70"/>
                    </a:lnTo>
                    <a:lnTo>
                      <a:pt x="0" y="53"/>
                    </a:lnTo>
                    <a:lnTo>
                      <a:pt x="2" y="36"/>
                    </a:lnTo>
                    <a:lnTo>
                      <a:pt x="10" y="22"/>
                    </a:lnTo>
                    <a:lnTo>
                      <a:pt x="21" y="10"/>
                    </a:lnTo>
                    <a:lnTo>
                      <a:pt x="35" y="3"/>
                    </a:lnTo>
                    <a:lnTo>
                      <a:pt x="53" y="0"/>
                    </a:lnTo>
                    <a:close/>
                  </a:path>
                </a:pathLst>
              </a:custGeom>
              <a:solidFill>
                <a:schemeClr val="accent5"/>
              </a:solidFill>
              <a:ln>
                <a:noFill/>
              </a:ln>
            </p:spPr>
            <p:txBody>
              <a:bodyPr/>
              <a:lstStyle/>
              <a:p>
                <a:endParaRPr lang="de-DE" dirty="0"/>
              </a:p>
            </p:txBody>
          </p:sp>
          <p:sp>
            <p:nvSpPr>
              <p:cNvPr id="1620" name="Freeform 380"/>
              <p:cNvSpPr>
                <a:spLocks/>
              </p:cNvSpPr>
              <p:nvPr/>
            </p:nvSpPr>
            <p:spPr bwMode="auto">
              <a:xfrm>
                <a:off x="11315627" y="6025173"/>
                <a:ext cx="53970" cy="17464"/>
              </a:xfrm>
              <a:custGeom>
                <a:avLst/>
                <a:gdLst>
                  <a:gd name="T0" fmla="*/ 53 w 343"/>
                  <a:gd name="T1" fmla="*/ 0 h 105"/>
                  <a:gd name="T2" fmla="*/ 291 w 343"/>
                  <a:gd name="T3" fmla="*/ 0 h 105"/>
                  <a:gd name="T4" fmla="*/ 308 w 343"/>
                  <a:gd name="T5" fmla="*/ 2 h 105"/>
                  <a:gd name="T6" fmla="*/ 322 w 343"/>
                  <a:gd name="T7" fmla="*/ 10 h 105"/>
                  <a:gd name="T8" fmla="*/ 333 w 343"/>
                  <a:gd name="T9" fmla="*/ 21 h 105"/>
                  <a:gd name="T10" fmla="*/ 341 w 343"/>
                  <a:gd name="T11" fmla="*/ 35 h 105"/>
                  <a:gd name="T12" fmla="*/ 343 w 343"/>
                  <a:gd name="T13" fmla="*/ 53 h 105"/>
                  <a:gd name="T14" fmla="*/ 341 w 343"/>
                  <a:gd name="T15" fmla="*/ 70 h 105"/>
                  <a:gd name="T16" fmla="*/ 333 w 343"/>
                  <a:gd name="T17" fmla="*/ 84 h 105"/>
                  <a:gd name="T18" fmla="*/ 322 w 343"/>
                  <a:gd name="T19" fmla="*/ 95 h 105"/>
                  <a:gd name="T20" fmla="*/ 308 w 343"/>
                  <a:gd name="T21" fmla="*/ 103 h 105"/>
                  <a:gd name="T22" fmla="*/ 291 w 343"/>
                  <a:gd name="T23" fmla="*/ 105 h 105"/>
                  <a:gd name="T24" fmla="*/ 53 w 343"/>
                  <a:gd name="T25" fmla="*/ 105 h 105"/>
                  <a:gd name="T26" fmla="*/ 37 w 343"/>
                  <a:gd name="T27" fmla="*/ 103 h 105"/>
                  <a:gd name="T28" fmla="*/ 22 w 343"/>
                  <a:gd name="T29" fmla="*/ 95 h 105"/>
                  <a:gd name="T30" fmla="*/ 10 w 343"/>
                  <a:gd name="T31" fmla="*/ 84 h 105"/>
                  <a:gd name="T32" fmla="*/ 3 w 343"/>
                  <a:gd name="T33" fmla="*/ 70 h 105"/>
                  <a:gd name="T34" fmla="*/ 0 w 343"/>
                  <a:gd name="T35" fmla="*/ 53 h 105"/>
                  <a:gd name="T36" fmla="*/ 3 w 343"/>
                  <a:gd name="T37" fmla="*/ 35 h 105"/>
                  <a:gd name="T38" fmla="*/ 10 w 343"/>
                  <a:gd name="T39" fmla="*/ 21 h 105"/>
                  <a:gd name="T40" fmla="*/ 22 w 343"/>
                  <a:gd name="T41" fmla="*/ 10 h 105"/>
                  <a:gd name="T42" fmla="*/ 37 w 343"/>
                  <a:gd name="T43" fmla="*/ 2 h 105"/>
                  <a:gd name="T44" fmla="*/ 53 w 343"/>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3" h="105">
                    <a:moveTo>
                      <a:pt x="53" y="0"/>
                    </a:moveTo>
                    <a:lnTo>
                      <a:pt x="291" y="0"/>
                    </a:lnTo>
                    <a:lnTo>
                      <a:pt x="308" y="2"/>
                    </a:lnTo>
                    <a:lnTo>
                      <a:pt x="322" y="10"/>
                    </a:lnTo>
                    <a:lnTo>
                      <a:pt x="333" y="21"/>
                    </a:lnTo>
                    <a:lnTo>
                      <a:pt x="341" y="35"/>
                    </a:lnTo>
                    <a:lnTo>
                      <a:pt x="343" y="53"/>
                    </a:lnTo>
                    <a:lnTo>
                      <a:pt x="341" y="70"/>
                    </a:lnTo>
                    <a:lnTo>
                      <a:pt x="333" y="84"/>
                    </a:lnTo>
                    <a:lnTo>
                      <a:pt x="322" y="95"/>
                    </a:lnTo>
                    <a:lnTo>
                      <a:pt x="308" y="103"/>
                    </a:lnTo>
                    <a:lnTo>
                      <a:pt x="291" y="105"/>
                    </a:lnTo>
                    <a:lnTo>
                      <a:pt x="53" y="105"/>
                    </a:lnTo>
                    <a:lnTo>
                      <a:pt x="37" y="103"/>
                    </a:lnTo>
                    <a:lnTo>
                      <a:pt x="22" y="95"/>
                    </a:lnTo>
                    <a:lnTo>
                      <a:pt x="10" y="84"/>
                    </a:lnTo>
                    <a:lnTo>
                      <a:pt x="3" y="70"/>
                    </a:lnTo>
                    <a:lnTo>
                      <a:pt x="0" y="53"/>
                    </a:lnTo>
                    <a:lnTo>
                      <a:pt x="3" y="35"/>
                    </a:lnTo>
                    <a:lnTo>
                      <a:pt x="10" y="21"/>
                    </a:lnTo>
                    <a:lnTo>
                      <a:pt x="22" y="10"/>
                    </a:lnTo>
                    <a:lnTo>
                      <a:pt x="37" y="2"/>
                    </a:lnTo>
                    <a:lnTo>
                      <a:pt x="53" y="0"/>
                    </a:lnTo>
                    <a:close/>
                  </a:path>
                </a:pathLst>
              </a:custGeom>
              <a:solidFill>
                <a:schemeClr val="accent5"/>
              </a:solidFill>
              <a:ln>
                <a:noFill/>
              </a:ln>
            </p:spPr>
            <p:txBody>
              <a:bodyPr/>
              <a:lstStyle/>
              <a:p>
                <a:endParaRPr lang="de-DE" dirty="0"/>
              </a:p>
            </p:txBody>
          </p:sp>
          <p:sp>
            <p:nvSpPr>
              <p:cNvPr id="1621" name="Freeform 381"/>
              <p:cNvSpPr>
                <a:spLocks/>
              </p:cNvSpPr>
              <p:nvPr/>
            </p:nvSpPr>
            <p:spPr bwMode="auto">
              <a:xfrm>
                <a:off x="11382295" y="6025173"/>
                <a:ext cx="57144" cy="17464"/>
              </a:xfrm>
              <a:custGeom>
                <a:avLst/>
                <a:gdLst>
                  <a:gd name="T0" fmla="*/ 53 w 361"/>
                  <a:gd name="T1" fmla="*/ 0 h 106"/>
                  <a:gd name="T2" fmla="*/ 308 w 361"/>
                  <a:gd name="T3" fmla="*/ 0 h 106"/>
                  <a:gd name="T4" fmla="*/ 324 w 361"/>
                  <a:gd name="T5" fmla="*/ 3 h 106"/>
                  <a:gd name="T6" fmla="*/ 339 w 361"/>
                  <a:gd name="T7" fmla="*/ 11 h 106"/>
                  <a:gd name="T8" fmla="*/ 351 w 361"/>
                  <a:gd name="T9" fmla="*/ 22 h 106"/>
                  <a:gd name="T10" fmla="*/ 359 w 361"/>
                  <a:gd name="T11" fmla="*/ 36 h 106"/>
                  <a:gd name="T12" fmla="*/ 361 w 361"/>
                  <a:gd name="T13" fmla="*/ 53 h 106"/>
                  <a:gd name="T14" fmla="*/ 359 w 361"/>
                  <a:gd name="T15" fmla="*/ 69 h 106"/>
                  <a:gd name="T16" fmla="*/ 351 w 361"/>
                  <a:gd name="T17" fmla="*/ 85 h 106"/>
                  <a:gd name="T18" fmla="*/ 339 w 361"/>
                  <a:gd name="T19" fmla="*/ 96 h 106"/>
                  <a:gd name="T20" fmla="*/ 324 w 361"/>
                  <a:gd name="T21" fmla="*/ 104 h 106"/>
                  <a:gd name="T22" fmla="*/ 308 w 361"/>
                  <a:gd name="T23" fmla="*/ 106 h 106"/>
                  <a:gd name="T24" fmla="*/ 53 w 361"/>
                  <a:gd name="T25" fmla="*/ 106 h 106"/>
                  <a:gd name="T26" fmla="*/ 37 w 361"/>
                  <a:gd name="T27" fmla="*/ 104 h 106"/>
                  <a:gd name="T28" fmla="*/ 22 w 361"/>
                  <a:gd name="T29" fmla="*/ 96 h 106"/>
                  <a:gd name="T30" fmla="*/ 10 w 361"/>
                  <a:gd name="T31" fmla="*/ 85 h 106"/>
                  <a:gd name="T32" fmla="*/ 2 w 361"/>
                  <a:gd name="T33" fmla="*/ 69 h 106"/>
                  <a:gd name="T34" fmla="*/ 0 w 361"/>
                  <a:gd name="T35" fmla="*/ 53 h 106"/>
                  <a:gd name="T36" fmla="*/ 2 w 361"/>
                  <a:gd name="T37" fmla="*/ 36 h 106"/>
                  <a:gd name="T38" fmla="*/ 10 w 361"/>
                  <a:gd name="T39" fmla="*/ 22 h 106"/>
                  <a:gd name="T40" fmla="*/ 22 w 361"/>
                  <a:gd name="T41" fmla="*/ 11 h 106"/>
                  <a:gd name="T42" fmla="*/ 37 w 361"/>
                  <a:gd name="T43" fmla="*/ 3 h 106"/>
                  <a:gd name="T44" fmla="*/ 53 w 36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1" h="106">
                    <a:moveTo>
                      <a:pt x="53" y="0"/>
                    </a:moveTo>
                    <a:lnTo>
                      <a:pt x="308" y="0"/>
                    </a:lnTo>
                    <a:lnTo>
                      <a:pt x="324" y="3"/>
                    </a:lnTo>
                    <a:lnTo>
                      <a:pt x="339" y="11"/>
                    </a:lnTo>
                    <a:lnTo>
                      <a:pt x="351" y="22"/>
                    </a:lnTo>
                    <a:lnTo>
                      <a:pt x="359" y="36"/>
                    </a:lnTo>
                    <a:lnTo>
                      <a:pt x="361" y="53"/>
                    </a:lnTo>
                    <a:lnTo>
                      <a:pt x="359" y="69"/>
                    </a:lnTo>
                    <a:lnTo>
                      <a:pt x="351" y="85"/>
                    </a:lnTo>
                    <a:lnTo>
                      <a:pt x="339" y="96"/>
                    </a:lnTo>
                    <a:lnTo>
                      <a:pt x="324" y="104"/>
                    </a:lnTo>
                    <a:lnTo>
                      <a:pt x="308" y="106"/>
                    </a:lnTo>
                    <a:lnTo>
                      <a:pt x="53" y="106"/>
                    </a:lnTo>
                    <a:lnTo>
                      <a:pt x="37" y="104"/>
                    </a:lnTo>
                    <a:lnTo>
                      <a:pt x="22" y="96"/>
                    </a:lnTo>
                    <a:lnTo>
                      <a:pt x="10" y="85"/>
                    </a:lnTo>
                    <a:lnTo>
                      <a:pt x="2" y="69"/>
                    </a:lnTo>
                    <a:lnTo>
                      <a:pt x="0" y="53"/>
                    </a:lnTo>
                    <a:lnTo>
                      <a:pt x="2" y="36"/>
                    </a:lnTo>
                    <a:lnTo>
                      <a:pt x="10" y="22"/>
                    </a:lnTo>
                    <a:lnTo>
                      <a:pt x="22" y="11"/>
                    </a:lnTo>
                    <a:lnTo>
                      <a:pt x="37" y="3"/>
                    </a:lnTo>
                    <a:lnTo>
                      <a:pt x="53" y="0"/>
                    </a:lnTo>
                    <a:close/>
                  </a:path>
                </a:pathLst>
              </a:custGeom>
              <a:solidFill>
                <a:schemeClr val="accent5"/>
              </a:solidFill>
              <a:ln>
                <a:noFill/>
              </a:ln>
            </p:spPr>
            <p:txBody>
              <a:bodyPr/>
              <a:lstStyle/>
              <a:p>
                <a:endParaRPr lang="de-DE" dirty="0"/>
              </a:p>
            </p:txBody>
          </p:sp>
          <p:sp>
            <p:nvSpPr>
              <p:cNvPr id="1622" name="Freeform 382"/>
              <p:cNvSpPr>
                <a:spLocks/>
              </p:cNvSpPr>
              <p:nvPr/>
            </p:nvSpPr>
            <p:spPr bwMode="auto">
              <a:xfrm>
                <a:off x="10967999"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623" name="Freeform 383"/>
              <p:cNvSpPr>
                <a:spLocks/>
              </p:cNvSpPr>
              <p:nvPr/>
            </p:nvSpPr>
            <p:spPr bwMode="auto">
              <a:xfrm>
                <a:off x="10982285"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24" name="Freeform 384"/>
              <p:cNvSpPr>
                <a:spLocks/>
              </p:cNvSpPr>
              <p:nvPr/>
            </p:nvSpPr>
            <p:spPr bwMode="auto">
              <a:xfrm>
                <a:off x="10996571" y="5680647"/>
                <a:ext cx="4762" cy="4763"/>
              </a:xfrm>
              <a:custGeom>
                <a:avLst/>
                <a:gdLst>
                  <a:gd name="T0" fmla="*/ 14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4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0"/>
                    </a:lnTo>
                    <a:lnTo>
                      <a:pt x="30" y="16"/>
                    </a:lnTo>
                    <a:lnTo>
                      <a:pt x="29" y="20"/>
                    </a:lnTo>
                    <a:lnTo>
                      <a:pt x="27" y="25"/>
                    </a:lnTo>
                    <a:lnTo>
                      <a:pt x="23" y="28"/>
                    </a:lnTo>
                    <a:lnTo>
                      <a:pt x="19" y="29"/>
                    </a:lnTo>
                    <a:lnTo>
                      <a:pt x="14" y="30"/>
                    </a:lnTo>
                    <a:lnTo>
                      <a:pt x="10" y="29"/>
                    </a:lnTo>
                    <a:lnTo>
                      <a:pt x="6" y="28"/>
                    </a:lnTo>
                    <a:lnTo>
                      <a:pt x="2" y="25"/>
                    </a:lnTo>
                    <a:lnTo>
                      <a:pt x="0" y="20"/>
                    </a:lnTo>
                    <a:lnTo>
                      <a:pt x="0" y="16"/>
                    </a:lnTo>
                    <a:lnTo>
                      <a:pt x="0" y="10"/>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1625" name="Freeform 385"/>
              <p:cNvSpPr>
                <a:spLocks/>
              </p:cNvSpPr>
              <p:nvPr/>
            </p:nvSpPr>
            <p:spPr bwMode="auto">
              <a:xfrm>
                <a:off x="11010857" y="5680647"/>
                <a:ext cx="4762" cy="4763"/>
              </a:xfrm>
              <a:custGeom>
                <a:avLst/>
                <a:gdLst>
                  <a:gd name="T0" fmla="*/ 15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0"/>
                    </a:lnTo>
                    <a:lnTo>
                      <a:pt x="30" y="16"/>
                    </a:lnTo>
                    <a:lnTo>
                      <a:pt x="29" y="20"/>
                    </a:lnTo>
                    <a:lnTo>
                      <a:pt x="27" y="25"/>
                    </a:lnTo>
                    <a:lnTo>
                      <a:pt x="24" y="28"/>
                    </a:lnTo>
                    <a:lnTo>
                      <a:pt x="20"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626" name="Freeform 386"/>
              <p:cNvSpPr>
                <a:spLocks/>
              </p:cNvSpPr>
              <p:nvPr/>
            </p:nvSpPr>
            <p:spPr bwMode="auto">
              <a:xfrm>
                <a:off x="11023556"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627" name="Freeform 387"/>
              <p:cNvSpPr>
                <a:spLocks/>
              </p:cNvSpPr>
              <p:nvPr/>
            </p:nvSpPr>
            <p:spPr bwMode="auto">
              <a:xfrm>
                <a:off x="11037842"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628" name="Freeform 388"/>
              <p:cNvSpPr>
                <a:spLocks/>
              </p:cNvSpPr>
              <p:nvPr/>
            </p:nvSpPr>
            <p:spPr bwMode="auto">
              <a:xfrm>
                <a:off x="11052128"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29" name="Freeform 389"/>
              <p:cNvSpPr>
                <a:spLocks/>
              </p:cNvSpPr>
              <p:nvPr/>
            </p:nvSpPr>
            <p:spPr bwMode="auto">
              <a:xfrm>
                <a:off x="11066414" y="5680647"/>
                <a:ext cx="4762" cy="4763"/>
              </a:xfrm>
              <a:custGeom>
                <a:avLst/>
                <a:gdLst>
                  <a:gd name="T0" fmla="*/ 15 w 30"/>
                  <a:gd name="T1" fmla="*/ 0 h 30"/>
                  <a:gd name="T2" fmla="*/ 19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0"/>
                    </a:lnTo>
                    <a:lnTo>
                      <a:pt x="30"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630" name="Freeform 390"/>
              <p:cNvSpPr>
                <a:spLocks/>
              </p:cNvSpPr>
              <p:nvPr/>
            </p:nvSpPr>
            <p:spPr bwMode="auto">
              <a:xfrm>
                <a:off x="11079113"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631" name="Freeform 391"/>
              <p:cNvSpPr>
                <a:spLocks/>
              </p:cNvSpPr>
              <p:nvPr/>
            </p:nvSpPr>
            <p:spPr bwMode="auto">
              <a:xfrm>
                <a:off x="11093399"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632" name="Freeform 392"/>
              <p:cNvSpPr>
                <a:spLocks/>
              </p:cNvSpPr>
              <p:nvPr/>
            </p:nvSpPr>
            <p:spPr bwMode="auto">
              <a:xfrm>
                <a:off x="11107685" y="5680647"/>
                <a:ext cx="4762" cy="4763"/>
              </a:xfrm>
              <a:custGeom>
                <a:avLst/>
                <a:gdLst>
                  <a:gd name="T0" fmla="*/ 16 w 30"/>
                  <a:gd name="T1" fmla="*/ 0 h 30"/>
                  <a:gd name="T2" fmla="*/ 20 w 30"/>
                  <a:gd name="T3" fmla="*/ 1 h 30"/>
                  <a:gd name="T4" fmla="*/ 25 w 30"/>
                  <a:gd name="T5" fmla="*/ 4 h 30"/>
                  <a:gd name="T6" fmla="*/ 28 w 30"/>
                  <a:gd name="T7" fmla="*/ 7 h 30"/>
                  <a:gd name="T8" fmla="*/ 29 w 30"/>
                  <a:gd name="T9" fmla="*/ 10 h 30"/>
                  <a:gd name="T10" fmla="*/ 30 w 30"/>
                  <a:gd name="T11" fmla="*/ 16 h 30"/>
                  <a:gd name="T12" fmla="*/ 29 w 30"/>
                  <a:gd name="T13" fmla="*/ 20 h 30"/>
                  <a:gd name="T14" fmla="*/ 28 w 30"/>
                  <a:gd name="T15" fmla="*/ 25 h 30"/>
                  <a:gd name="T16" fmla="*/ 25 w 30"/>
                  <a:gd name="T17" fmla="*/ 28 h 30"/>
                  <a:gd name="T18" fmla="*/ 20 w 30"/>
                  <a:gd name="T19" fmla="*/ 29 h 30"/>
                  <a:gd name="T20" fmla="*/ 16 w 30"/>
                  <a:gd name="T21" fmla="*/ 30 h 30"/>
                  <a:gd name="T22" fmla="*/ 11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0"/>
                    </a:lnTo>
                    <a:lnTo>
                      <a:pt x="30" y="16"/>
                    </a:lnTo>
                    <a:lnTo>
                      <a:pt x="29" y="20"/>
                    </a:lnTo>
                    <a:lnTo>
                      <a:pt x="28" y="25"/>
                    </a:lnTo>
                    <a:lnTo>
                      <a:pt x="25" y="28"/>
                    </a:lnTo>
                    <a:lnTo>
                      <a:pt x="20" y="29"/>
                    </a:lnTo>
                    <a:lnTo>
                      <a:pt x="16" y="30"/>
                    </a:lnTo>
                    <a:lnTo>
                      <a:pt x="11" y="29"/>
                    </a:lnTo>
                    <a:lnTo>
                      <a:pt x="7" y="28"/>
                    </a:lnTo>
                    <a:lnTo>
                      <a:pt x="4" y="25"/>
                    </a:lnTo>
                    <a:lnTo>
                      <a:pt x="1" y="20"/>
                    </a:lnTo>
                    <a:lnTo>
                      <a:pt x="0" y="16"/>
                    </a:lnTo>
                    <a:lnTo>
                      <a:pt x="1" y="10"/>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1633" name="Freeform 393"/>
              <p:cNvSpPr>
                <a:spLocks/>
              </p:cNvSpPr>
              <p:nvPr/>
            </p:nvSpPr>
            <p:spPr bwMode="auto">
              <a:xfrm>
                <a:off x="111219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34" name="Freeform 394"/>
              <p:cNvSpPr>
                <a:spLocks/>
              </p:cNvSpPr>
              <p:nvPr/>
            </p:nvSpPr>
            <p:spPr bwMode="auto">
              <a:xfrm>
                <a:off x="11136257"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635" name="Freeform 395"/>
              <p:cNvSpPr>
                <a:spLocks/>
              </p:cNvSpPr>
              <p:nvPr/>
            </p:nvSpPr>
            <p:spPr bwMode="auto">
              <a:xfrm>
                <a:off x="11148956"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636" name="Freeform 396"/>
              <p:cNvSpPr>
                <a:spLocks/>
              </p:cNvSpPr>
              <p:nvPr/>
            </p:nvSpPr>
            <p:spPr bwMode="auto">
              <a:xfrm>
                <a:off x="11163242" y="5680647"/>
                <a:ext cx="4762" cy="4763"/>
              </a:xfrm>
              <a:custGeom>
                <a:avLst/>
                <a:gdLst>
                  <a:gd name="T0" fmla="*/ 16 w 30"/>
                  <a:gd name="T1" fmla="*/ 0 h 30"/>
                  <a:gd name="T2" fmla="*/ 20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0"/>
                    </a:lnTo>
                    <a:lnTo>
                      <a:pt x="30" y="16"/>
                    </a:lnTo>
                    <a:lnTo>
                      <a:pt x="29" y="20"/>
                    </a:lnTo>
                    <a:lnTo>
                      <a:pt x="27" y="25"/>
                    </a:lnTo>
                    <a:lnTo>
                      <a:pt x="24"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637" name="Freeform 397"/>
              <p:cNvSpPr>
                <a:spLocks/>
              </p:cNvSpPr>
              <p:nvPr/>
            </p:nvSpPr>
            <p:spPr bwMode="auto">
              <a:xfrm>
                <a:off x="11177528" y="5680647"/>
                <a:ext cx="4762" cy="4763"/>
              </a:xfrm>
              <a:custGeom>
                <a:avLst/>
                <a:gdLst>
                  <a:gd name="T0" fmla="*/ 15 w 29"/>
                  <a:gd name="T1" fmla="*/ 0 h 30"/>
                  <a:gd name="T2" fmla="*/ 19 w 29"/>
                  <a:gd name="T3" fmla="*/ 1 h 30"/>
                  <a:gd name="T4" fmla="*/ 24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4 w 29"/>
                  <a:gd name="T17" fmla="*/ 28 h 30"/>
                  <a:gd name="T18" fmla="*/ 19 w 29"/>
                  <a:gd name="T19" fmla="*/ 29 h 30"/>
                  <a:gd name="T20" fmla="*/ 15 w 29"/>
                  <a:gd name="T21" fmla="*/ 30 h 30"/>
                  <a:gd name="T22" fmla="*/ 11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0"/>
                    </a:lnTo>
                    <a:lnTo>
                      <a:pt x="29" y="16"/>
                    </a:lnTo>
                    <a:lnTo>
                      <a:pt x="29" y="20"/>
                    </a:lnTo>
                    <a:lnTo>
                      <a:pt x="27" y="25"/>
                    </a:lnTo>
                    <a:lnTo>
                      <a:pt x="24" y="28"/>
                    </a:lnTo>
                    <a:lnTo>
                      <a:pt x="19"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38" name="Freeform 398"/>
              <p:cNvSpPr>
                <a:spLocks/>
              </p:cNvSpPr>
              <p:nvPr/>
            </p:nvSpPr>
            <p:spPr bwMode="auto">
              <a:xfrm>
                <a:off x="11190227"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639" name="Freeform 399"/>
              <p:cNvSpPr>
                <a:spLocks/>
              </p:cNvSpPr>
              <p:nvPr/>
            </p:nvSpPr>
            <p:spPr bwMode="auto">
              <a:xfrm>
                <a:off x="112045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640" name="Freeform 400"/>
              <p:cNvSpPr>
                <a:spLocks/>
              </p:cNvSpPr>
              <p:nvPr/>
            </p:nvSpPr>
            <p:spPr bwMode="auto">
              <a:xfrm>
                <a:off x="11218799"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3" y="25"/>
                    </a:lnTo>
                    <a:lnTo>
                      <a:pt x="1" y="20"/>
                    </a:lnTo>
                    <a:lnTo>
                      <a:pt x="0" y="16"/>
                    </a:lnTo>
                    <a:lnTo>
                      <a:pt x="1" y="10"/>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641" name="Freeform 401"/>
              <p:cNvSpPr>
                <a:spLocks/>
              </p:cNvSpPr>
              <p:nvPr/>
            </p:nvSpPr>
            <p:spPr bwMode="auto">
              <a:xfrm>
                <a:off x="11233085"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642" name="Freeform 402"/>
              <p:cNvSpPr>
                <a:spLocks/>
              </p:cNvSpPr>
              <p:nvPr/>
            </p:nvSpPr>
            <p:spPr bwMode="auto">
              <a:xfrm>
                <a:off x="11247371"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43" name="Freeform 403"/>
              <p:cNvSpPr>
                <a:spLocks/>
              </p:cNvSpPr>
              <p:nvPr/>
            </p:nvSpPr>
            <p:spPr bwMode="auto">
              <a:xfrm>
                <a:off x="11260070" y="5680647"/>
                <a:ext cx="4762" cy="4763"/>
              </a:xfrm>
              <a:custGeom>
                <a:avLst/>
                <a:gdLst>
                  <a:gd name="T0" fmla="*/ 15 w 29"/>
                  <a:gd name="T1" fmla="*/ 0 h 30"/>
                  <a:gd name="T2" fmla="*/ 19 w 29"/>
                  <a:gd name="T3" fmla="*/ 1 h 30"/>
                  <a:gd name="T4" fmla="*/ 23 w 29"/>
                  <a:gd name="T5" fmla="*/ 4 h 30"/>
                  <a:gd name="T6" fmla="*/ 27 w 29"/>
                  <a:gd name="T7" fmla="*/ 7 h 30"/>
                  <a:gd name="T8" fmla="*/ 29 w 29"/>
                  <a:gd name="T9" fmla="*/ 10 h 30"/>
                  <a:gd name="T10" fmla="*/ 29 w 29"/>
                  <a:gd name="T11" fmla="*/ 16 h 30"/>
                  <a:gd name="T12" fmla="*/ 29 w 29"/>
                  <a:gd name="T13" fmla="*/ 20 h 30"/>
                  <a:gd name="T14" fmla="*/ 27 w 29"/>
                  <a:gd name="T15" fmla="*/ 25 h 30"/>
                  <a:gd name="T16" fmla="*/ 23 w 29"/>
                  <a:gd name="T17" fmla="*/ 28 h 30"/>
                  <a:gd name="T18" fmla="*/ 19 w 29"/>
                  <a:gd name="T19" fmla="*/ 29 h 30"/>
                  <a:gd name="T20" fmla="*/ 15 w 29"/>
                  <a:gd name="T21" fmla="*/ 30 h 30"/>
                  <a:gd name="T22" fmla="*/ 10 w 29"/>
                  <a:gd name="T23" fmla="*/ 29 h 30"/>
                  <a:gd name="T24" fmla="*/ 6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0"/>
                    </a:lnTo>
                    <a:lnTo>
                      <a:pt x="29" y="16"/>
                    </a:lnTo>
                    <a:lnTo>
                      <a:pt x="29" y="20"/>
                    </a:lnTo>
                    <a:lnTo>
                      <a:pt x="27" y="25"/>
                    </a:lnTo>
                    <a:lnTo>
                      <a:pt x="23"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644" name="Freeform 404"/>
              <p:cNvSpPr>
                <a:spLocks/>
              </p:cNvSpPr>
              <p:nvPr/>
            </p:nvSpPr>
            <p:spPr bwMode="auto">
              <a:xfrm>
                <a:off x="11274356" y="5680647"/>
                <a:ext cx="4762" cy="4763"/>
              </a:xfrm>
              <a:custGeom>
                <a:avLst/>
                <a:gdLst>
                  <a:gd name="T0" fmla="*/ 14 w 29"/>
                  <a:gd name="T1" fmla="*/ 0 h 30"/>
                  <a:gd name="T2" fmla="*/ 19 w 29"/>
                  <a:gd name="T3" fmla="*/ 1 h 30"/>
                  <a:gd name="T4" fmla="*/ 23 w 29"/>
                  <a:gd name="T5" fmla="*/ 4 h 30"/>
                  <a:gd name="T6" fmla="*/ 26 w 29"/>
                  <a:gd name="T7" fmla="*/ 7 h 30"/>
                  <a:gd name="T8" fmla="*/ 28 w 29"/>
                  <a:gd name="T9" fmla="*/ 10 h 30"/>
                  <a:gd name="T10" fmla="*/ 29 w 29"/>
                  <a:gd name="T11" fmla="*/ 16 h 30"/>
                  <a:gd name="T12" fmla="*/ 28 w 29"/>
                  <a:gd name="T13" fmla="*/ 20 h 30"/>
                  <a:gd name="T14" fmla="*/ 26 w 29"/>
                  <a:gd name="T15" fmla="*/ 25 h 30"/>
                  <a:gd name="T16" fmla="*/ 23 w 29"/>
                  <a:gd name="T17" fmla="*/ 28 h 30"/>
                  <a:gd name="T18" fmla="*/ 19 w 29"/>
                  <a:gd name="T19" fmla="*/ 29 h 30"/>
                  <a:gd name="T20" fmla="*/ 14 w 29"/>
                  <a:gd name="T21" fmla="*/ 30 h 30"/>
                  <a:gd name="T22" fmla="*/ 10 w 29"/>
                  <a:gd name="T23" fmla="*/ 29 h 30"/>
                  <a:gd name="T24" fmla="*/ 5 w 29"/>
                  <a:gd name="T25" fmla="*/ 28 h 30"/>
                  <a:gd name="T26" fmla="*/ 2 w 29"/>
                  <a:gd name="T27" fmla="*/ 25 h 30"/>
                  <a:gd name="T28" fmla="*/ 0 w 29"/>
                  <a:gd name="T29" fmla="*/ 20 h 30"/>
                  <a:gd name="T30" fmla="*/ 0 w 29"/>
                  <a:gd name="T31" fmla="*/ 16 h 30"/>
                  <a:gd name="T32" fmla="*/ 0 w 29"/>
                  <a:gd name="T33" fmla="*/ 10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0"/>
                    </a:lnTo>
                    <a:lnTo>
                      <a:pt x="29" y="16"/>
                    </a:lnTo>
                    <a:lnTo>
                      <a:pt x="28" y="20"/>
                    </a:lnTo>
                    <a:lnTo>
                      <a:pt x="26" y="25"/>
                    </a:lnTo>
                    <a:lnTo>
                      <a:pt x="23" y="28"/>
                    </a:lnTo>
                    <a:lnTo>
                      <a:pt x="19"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645" name="Freeform 405"/>
              <p:cNvSpPr>
                <a:spLocks/>
              </p:cNvSpPr>
              <p:nvPr/>
            </p:nvSpPr>
            <p:spPr bwMode="auto">
              <a:xfrm>
                <a:off x="11288642" y="5680647"/>
                <a:ext cx="4762" cy="4763"/>
              </a:xfrm>
              <a:custGeom>
                <a:avLst/>
                <a:gdLst>
                  <a:gd name="T0" fmla="*/ 15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5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0"/>
                    </a:lnTo>
                    <a:lnTo>
                      <a:pt x="30" y="16"/>
                    </a:lnTo>
                    <a:lnTo>
                      <a:pt x="29" y="20"/>
                    </a:lnTo>
                    <a:lnTo>
                      <a:pt x="27" y="25"/>
                    </a:lnTo>
                    <a:lnTo>
                      <a:pt x="23" y="28"/>
                    </a:lnTo>
                    <a:lnTo>
                      <a:pt x="20" y="29"/>
                    </a:lnTo>
                    <a:lnTo>
                      <a:pt x="15" y="30"/>
                    </a:lnTo>
                    <a:lnTo>
                      <a:pt x="10" y="29"/>
                    </a:lnTo>
                    <a:lnTo>
                      <a:pt x="7" y="28"/>
                    </a:lnTo>
                    <a:lnTo>
                      <a:pt x="3" y="25"/>
                    </a:lnTo>
                    <a:lnTo>
                      <a:pt x="1" y="20"/>
                    </a:lnTo>
                    <a:lnTo>
                      <a:pt x="0" y="16"/>
                    </a:lnTo>
                    <a:lnTo>
                      <a:pt x="1" y="10"/>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646" name="Freeform 406"/>
              <p:cNvSpPr>
                <a:spLocks/>
              </p:cNvSpPr>
              <p:nvPr/>
            </p:nvSpPr>
            <p:spPr bwMode="auto">
              <a:xfrm>
                <a:off x="113029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647" name="Freeform 407"/>
              <p:cNvSpPr>
                <a:spLocks/>
              </p:cNvSpPr>
              <p:nvPr/>
            </p:nvSpPr>
            <p:spPr bwMode="auto">
              <a:xfrm>
                <a:off x="113156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48" name="Freeform 408"/>
              <p:cNvSpPr>
                <a:spLocks/>
              </p:cNvSpPr>
              <p:nvPr/>
            </p:nvSpPr>
            <p:spPr bwMode="auto">
              <a:xfrm>
                <a:off x="11329913"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2" y="25"/>
                    </a:lnTo>
                    <a:lnTo>
                      <a:pt x="0" y="20"/>
                    </a:lnTo>
                    <a:lnTo>
                      <a:pt x="0" y="16"/>
                    </a:lnTo>
                    <a:lnTo>
                      <a:pt x="0" y="10"/>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649" name="Freeform 409"/>
              <p:cNvSpPr>
                <a:spLocks/>
              </p:cNvSpPr>
              <p:nvPr/>
            </p:nvSpPr>
            <p:spPr bwMode="auto">
              <a:xfrm>
                <a:off x="11344199" y="5680647"/>
                <a:ext cx="4762" cy="4763"/>
              </a:xfrm>
              <a:custGeom>
                <a:avLst/>
                <a:gdLst>
                  <a:gd name="T0" fmla="*/ 14 w 30"/>
                  <a:gd name="T1" fmla="*/ 0 h 30"/>
                  <a:gd name="T2" fmla="*/ 20 w 30"/>
                  <a:gd name="T3" fmla="*/ 1 h 30"/>
                  <a:gd name="T4" fmla="*/ 23 w 30"/>
                  <a:gd name="T5" fmla="*/ 4 h 30"/>
                  <a:gd name="T6" fmla="*/ 26 w 30"/>
                  <a:gd name="T7" fmla="*/ 7 h 30"/>
                  <a:gd name="T8" fmla="*/ 28 w 30"/>
                  <a:gd name="T9" fmla="*/ 10 h 30"/>
                  <a:gd name="T10" fmla="*/ 30 w 30"/>
                  <a:gd name="T11" fmla="*/ 16 h 30"/>
                  <a:gd name="T12" fmla="*/ 28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0 w 30"/>
                  <a:gd name="T29" fmla="*/ 20 h 30"/>
                  <a:gd name="T30" fmla="*/ 0 w 30"/>
                  <a:gd name="T31" fmla="*/ 16 h 30"/>
                  <a:gd name="T32" fmla="*/ 0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0"/>
                    </a:lnTo>
                    <a:lnTo>
                      <a:pt x="30" y="16"/>
                    </a:lnTo>
                    <a:lnTo>
                      <a:pt x="28" y="20"/>
                    </a:lnTo>
                    <a:lnTo>
                      <a:pt x="26" y="25"/>
                    </a:lnTo>
                    <a:lnTo>
                      <a:pt x="23" y="28"/>
                    </a:lnTo>
                    <a:lnTo>
                      <a:pt x="20" y="29"/>
                    </a:lnTo>
                    <a:lnTo>
                      <a:pt x="14" y="30"/>
                    </a:lnTo>
                    <a:lnTo>
                      <a:pt x="10" y="29"/>
                    </a:lnTo>
                    <a:lnTo>
                      <a:pt x="5" y="28"/>
                    </a:lnTo>
                    <a:lnTo>
                      <a:pt x="2" y="25"/>
                    </a:lnTo>
                    <a:lnTo>
                      <a:pt x="0" y="20"/>
                    </a:lnTo>
                    <a:lnTo>
                      <a:pt x="0" y="16"/>
                    </a:lnTo>
                    <a:lnTo>
                      <a:pt x="0"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650" name="Freeform 410"/>
              <p:cNvSpPr>
                <a:spLocks/>
              </p:cNvSpPr>
              <p:nvPr/>
            </p:nvSpPr>
            <p:spPr bwMode="auto">
              <a:xfrm>
                <a:off x="11358485" y="5680647"/>
                <a:ext cx="4762" cy="4763"/>
              </a:xfrm>
              <a:custGeom>
                <a:avLst/>
                <a:gdLst>
                  <a:gd name="T0" fmla="*/ 16 w 30"/>
                  <a:gd name="T1" fmla="*/ 0 h 30"/>
                  <a:gd name="T2" fmla="*/ 20 w 30"/>
                  <a:gd name="T3" fmla="*/ 1 h 30"/>
                  <a:gd name="T4" fmla="*/ 23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3 w 30"/>
                  <a:gd name="T17" fmla="*/ 28 h 30"/>
                  <a:gd name="T18" fmla="*/ 20 w 30"/>
                  <a:gd name="T19" fmla="*/ 29 h 30"/>
                  <a:gd name="T20" fmla="*/ 16 w 30"/>
                  <a:gd name="T21" fmla="*/ 30 h 30"/>
                  <a:gd name="T22" fmla="*/ 10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0"/>
                    </a:lnTo>
                    <a:lnTo>
                      <a:pt x="30" y="16"/>
                    </a:lnTo>
                    <a:lnTo>
                      <a:pt x="29" y="20"/>
                    </a:lnTo>
                    <a:lnTo>
                      <a:pt x="27" y="25"/>
                    </a:lnTo>
                    <a:lnTo>
                      <a:pt x="23" y="28"/>
                    </a:lnTo>
                    <a:lnTo>
                      <a:pt x="20" y="29"/>
                    </a:lnTo>
                    <a:lnTo>
                      <a:pt x="16" y="30"/>
                    </a:lnTo>
                    <a:lnTo>
                      <a:pt x="10" y="29"/>
                    </a:lnTo>
                    <a:lnTo>
                      <a:pt x="7" y="28"/>
                    </a:lnTo>
                    <a:lnTo>
                      <a:pt x="3" y="25"/>
                    </a:lnTo>
                    <a:lnTo>
                      <a:pt x="1" y="20"/>
                    </a:lnTo>
                    <a:lnTo>
                      <a:pt x="0" y="16"/>
                    </a:lnTo>
                    <a:lnTo>
                      <a:pt x="1" y="10"/>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651" name="Freeform 411"/>
              <p:cNvSpPr>
                <a:spLocks/>
              </p:cNvSpPr>
              <p:nvPr/>
            </p:nvSpPr>
            <p:spPr bwMode="auto">
              <a:xfrm>
                <a:off x="11371184" y="5680647"/>
                <a:ext cx="4762" cy="4763"/>
              </a:xfrm>
              <a:custGeom>
                <a:avLst/>
                <a:gdLst>
                  <a:gd name="T0" fmla="*/ 15 w 29"/>
                  <a:gd name="T1" fmla="*/ 0 h 30"/>
                  <a:gd name="T2" fmla="*/ 19 w 29"/>
                  <a:gd name="T3" fmla="*/ 1 h 30"/>
                  <a:gd name="T4" fmla="*/ 24 w 29"/>
                  <a:gd name="T5" fmla="*/ 4 h 30"/>
                  <a:gd name="T6" fmla="*/ 27 w 29"/>
                  <a:gd name="T7" fmla="*/ 7 h 30"/>
                  <a:gd name="T8" fmla="*/ 28 w 29"/>
                  <a:gd name="T9" fmla="*/ 10 h 30"/>
                  <a:gd name="T10" fmla="*/ 29 w 29"/>
                  <a:gd name="T11" fmla="*/ 16 h 30"/>
                  <a:gd name="T12" fmla="*/ 28 w 29"/>
                  <a:gd name="T13" fmla="*/ 20 h 30"/>
                  <a:gd name="T14" fmla="*/ 27 w 29"/>
                  <a:gd name="T15" fmla="*/ 25 h 30"/>
                  <a:gd name="T16" fmla="*/ 24 w 29"/>
                  <a:gd name="T17" fmla="*/ 28 h 30"/>
                  <a:gd name="T18" fmla="*/ 19 w 29"/>
                  <a:gd name="T19" fmla="*/ 29 h 30"/>
                  <a:gd name="T20" fmla="*/ 15 w 29"/>
                  <a:gd name="T21" fmla="*/ 30 h 30"/>
                  <a:gd name="T22" fmla="*/ 9 w 29"/>
                  <a:gd name="T23" fmla="*/ 29 h 30"/>
                  <a:gd name="T24" fmla="*/ 6 w 29"/>
                  <a:gd name="T25" fmla="*/ 28 h 30"/>
                  <a:gd name="T26" fmla="*/ 3 w 29"/>
                  <a:gd name="T27" fmla="*/ 25 h 30"/>
                  <a:gd name="T28" fmla="*/ 1 w 29"/>
                  <a:gd name="T29" fmla="*/ 20 h 30"/>
                  <a:gd name="T30" fmla="*/ 0 w 29"/>
                  <a:gd name="T31" fmla="*/ 16 h 30"/>
                  <a:gd name="T32" fmla="*/ 1 w 29"/>
                  <a:gd name="T33" fmla="*/ 10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0"/>
                    </a:lnTo>
                    <a:lnTo>
                      <a:pt x="29" y="16"/>
                    </a:lnTo>
                    <a:lnTo>
                      <a:pt x="28" y="20"/>
                    </a:lnTo>
                    <a:lnTo>
                      <a:pt x="27" y="25"/>
                    </a:lnTo>
                    <a:lnTo>
                      <a:pt x="24" y="28"/>
                    </a:lnTo>
                    <a:lnTo>
                      <a:pt x="19" y="29"/>
                    </a:lnTo>
                    <a:lnTo>
                      <a:pt x="15" y="30"/>
                    </a:lnTo>
                    <a:lnTo>
                      <a:pt x="9" y="29"/>
                    </a:lnTo>
                    <a:lnTo>
                      <a:pt x="6" y="28"/>
                    </a:lnTo>
                    <a:lnTo>
                      <a:pt x="3" y="25"/>
                    </a:lnTo>
                    <a:lnTo>
                      <a:pt x="1" y="20"/>
                    </a:lnTo>
                    <a:lnTo>
                      <a:pt x="0" y="16"/>
                    </a:lnTo>
                    <a:lnTo>
                      <a:pt x="1" y="10"/>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1652" name="Freeform 412"/>
              <p:cNvSpPr>
                <a:spLocks/>
              </p:cNvSpPr>
              <p:nvPr/>
            </p:nvSpPr>
            <p:spPr bwMode="auto">
              <a:xfrm>
                <a:off x="11385470" y="5680647"/>
                <a:ext cx="4762" cy="4763"/>
              </a:xfrm>
              <a:custGeom>
                <a:avLst/>
                <a:gdLst>
                  <a:gd name="T0" fmla="*/ 15 w 30"/>
                  <a:gd name="T1" fmla="*/ 0 h 30"/>
                  <a:gd name="T2" fmla="*/ 20 w 30"/>
                  <a:gd name="T3" fmla="*/ 1 h 30"/>
                  <a:gd name="T4" fmla="*/ 24 w 30"/>
                  <a:gd name="T5" fmla="*/ 4 h 30"/>
                  <a:gd name="T6" fmla="*/ 28 w 30"/>
                  <a:gd name="T7" fmla="*/ 7 h 30"/>
                  <a:gd name="T8" fmla="*/ 30 w 30"/>
                  <a:gd name="T9" fmla="*/ 10 h 30"/>
                  <a:gd name="T10" fmla="*/ 30 w 30"/>
                  <a:gd name="T11" fmla="*/ 16 h 30"/>
                  <a:gd name="T12" fmla="*/ 30 w 30"/>
                  <a:gd name="T13" fmla="*/ 20 h 30"/>
                  <a:gd name="T14" fmla="*/ 28 w 30"/>
                  <a:gd name="T15" fmla="*/ 25 h 30"/>
                  <a:gd name="T16" fmla="*/ 24 w 30"/>
                  <a:gd name="T17" fmla="*/ 28 h 30"/>
                  <a:gd name="T18" fmla="*/ 20 w 30"/>
                  <a:gd name="T19" fmla="*/ 29 h 30"/>
                  <a:gd name="T20" fmla="*/ 15 w 30"/>
                  <a:gd name="T21" fmla="*/ 30 h 30"/>
                  <a:gd name="T22" fmla="*/ 11 w 30"/>
                  <a:gd name="T23" fmla="*/ 29 h 30"/>
                  <a:gd name="T24" fmla="*/ 7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0"/>
                    </a:lnTo>
                    <a:lnTo>
                      <a:pt x="30" y="16"/>
                    </a:lnTo>
                    <a:lnTo>
                      <a:pt x="30" y="20"/>
                    </a:lnTo>
                    <a:lnTo>
                      <a:pt x="28" y="25"/>
                    </a:lnTo>
                    <a:lnTo>
                      <a:pt x="24" y="28"/>
                    </a:lnTo>
                    <a:lnTo>
                      <a:pt x="20" y="29"/>
                    </a:lnTo>
                    <a:lnTo>
                      <a:pt x="15" y="30"/>
                    </a:lnTo>
                    <a:lnTo>
                      <a:pt x="11" y="29"/>
                    </a:lnTo>
                    <a:lnTo>
                      <a:pt x="7" y="28"/>
                    </a:lnTo>
                    <a:lnTo>
                      <a:pt x="3" y="25"/>
                    </a:lnTo>
                    <a:lnTo>
                      <a:pt x="1" y="20"/>
                    </a:lnTo>
                    <a:lnTo>
                      <a:pt x="0" y="16"/>
                    </a:lnTo>
                    <a:lnTo>
                      <a:pt x="1" y="10"/>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653" name="Freeform 413"/>
              <p:cNvSpPr>
                <a:spLocks/>
              </p:cNvSpPr>
              <p:nvPr/>
            </p:nvSpPr>
            <p:spPr bwMode="auto">
              <a:xfrm>
                <a:off x="11399756" y="5680647"/>
                <a:ext cx="4762" cy="4763"/>
              </a:xfrm>
              <a:custGeom>
                <a:avLst/>
                <a:gdLst>
                  <a:gd name="T0" fmla="*/ 15 w 30"/>
                  <a:gd name="T1" fmla="*/ 0 h 30"/>
                  <a:gd name="T2" fmla="*/ 19 w 30"/>
                  <a:gd name="T3" fmla="*/ 1 h 30"/>
                  <a:gd name="T4" fmla="*/ 24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4 w 30"/>
                  <a:gd name="T17" fmla="*/ 28 h 30"/>
                  <a:gd name="T18" fmla="*/ 19 w 30"/>
                  <a:gd name="T19" fmla="*/ 29 h 30"/>
                  <a:gd name="T20" fmla="*/ 15 w 30"/>
                  <a:gd name="T21" fmla="*/ 30 h 30"/>
                  <a:gd name="T22" fmla="*/ 10 w 30"/>
                  <a:gd name="T23" fmla="*/ 29 h 30"/>
                  <a:gd name="T24" fmla="*/ 6 w 30"/>
                  <a:gd name="T25" fmla="*/ 28 h 30"/>
                  <a:gd name="T26" fmla="*/ 3 w 30"/>
                  <a:gd name="T27" fmla="*/ 25 h 30"/>
                  <a:gd name="T28" fmla="*/ 0 w 30"/>
                  <a:gd name="T29" fmla="*/ 20 h 30"/>
                  <a:gd name="T30" fmla="*/ 0 w 30"/>
                  <a:gd name="T31" fmla="*/ 16 h 30"/>
                  <a:gd name="T32" fmla="*/ 0 w 30"/>
                  <a:gd name="T33" fmla="*/ 10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0"/>
                    </a:lnTo>
                    <a:lnTo>
                      <a:pt x="30" y="16"/>
                    </a:lnTo>
                    <a:lnTo>
                      <a:pt x="29" y="20"/>
                    </a:lnTo>
                    <a:lnTo>
                      <a:pt x="27" y="25"/>
                    </a:lnTo>
                    <a:lnTo>
                      <a:pt x="24" y="28"/>
                    </a:lnTo>
                    <a:lnTo>
                      <a:pt x="19" y="29"/>
                    </a:lnTo>
                    <a:lnTo>
                      <a:pt x="15" y="30"/>
                    </a:lnTo>
                    <a:lnTo>
                      <a:pt x="10" y="29"/>
                    </a:lnTo>
                    <a:lnTo>
                      <a:pt x="6" y="28"/>
                    </a:lnTo>
                    <a:lnTo>
                      <a:pt x="3" y="25"/>
                    </a:lnTo>
                    <a:lnTo>
                      <a:pt x="0" y="20"/>
                    </a:lnTo>
                    <a:lnTo>
                      <a:pt x="0" y="16"/>
                    </a:lnTo>
                    <a:lnTo>
                      <a:pt x="0" y="10"/>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654" name="Freeform 414"/>
              <p:cNvSpPr>
                <a:spLocks/>
              </p:cNvSpPr>
              <p:nvPr/>
            </p:nvSpPr>
            <p:spPr bwMode="auto">
              <a:xfrm>
                <a:off x="11414042" y="5680647"/>
                <a:ext cx="4762" cy="4763"/>
              </a:xfrm>
              <a:custGeom>
                <a:avLst/>
                <a:gdLst>
                  <a:gd name="T0" fmla="*/ 14 w 30"/>
                  <a:gd name="T1" fmla="*/ 0 h 30"/>
                  <a:gd name="T2" fmla="*/ 20 w 30"/>
                  <a:gd name="T3" fmla="*/ 1 h 30"/>
                  <a:gd name="T4" fmla="*/ 23 w 30"/>
                  <a:gd name="T5" fmla="*/ 4 h 30"/>
                  <a:gd name="T6" fmla="*/ 26 w 30"/>
                  <a:gd name="T7" fmla="*/ 7 h 30"/>
                  <a:gd name="T8" fmla="*/ 29 w 30"/>
                  <a:gd name="T9" fmla="*/ 10 h 30"/>
                  <a:gd name="T10" fmla="*/ 30 w 30"/>
                  <a:gd name="T11" fmla="*/ 16 h 30"/>
                  <a:gd name="T12" fmla="*/ 29 w 30"/>
                  <a:gd name="T13" fmla="*/ 20 h 30"/>
                  <a:gd name="T14" fmla="*/ 26 w 30"/>
                  <a:gd name="T15" fmla="*/ 25 h 30"/>
                  <a:gd name="T16" fmla="*/ 23 w 30"/>
                  <a:gd name="T17" fmla="*/ 28 h 30"/>
                  <a:gd name="T18" fmla="*/ 20 w 30"/>
                  <a:gd name="T19" fmla="*/ 29 h 30"/>
                  <a:gd name="T20" fmla="*/ 14 w 30"/>
                  <a:gd name="T21" fmla="*/ 30 h 30"/>
                  <a:gd name="T22" fmla="*/ 10 w 30"/>
                  <a:gd name="T23" fmla="*/ 29 h 30"/>
                  <a:gd name="T24" fmla="*/ 5 w 30"/>
                  <a:gd name="T25" fmla="*/ 28 h 30"/>
                  <a:gd name="T26" fmla="*/ 2 w 30"/>
                  <a:gd name="T27" fmla="*/ 25 h 30"/>
                  <a:gd name="T28" fmla="*/ 1 w 30"/>
                  <a:gd name="T29" fmla="*/ 20 h 30"/>
                  <a:gd name="T30" fmla="*/ 0 w 30"/>
                  <a:gd name="T31" fmla="*/ 16 h 30"/>
                  <a:gd name="T32" fmla="*/ 1 w 30"/>
                  <a:gd name="T33" fmla="*/ 10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0"/>
                    </a:lnTo>
                    <a:lnTo>
                      <a:pt x="30" y="16"/>
                    </a:lnTo>
                    <a:lnTo>
                      <a:pt x="29" y="20"/>
                    </a:lnTo>
                    <a:lnTo>
                      <a:pt x="26" y="25"/>
                    </a:lnTo>
                    <a:lnTo>
                      <a:pt x="23" y="28"/>
                    </a:lnTo>
                    <a:lnTo>
                      <a:pt x="20" y="29"/>
                    </a:lnTo>
                    <a:lnTo>
                      <a:pt x="14" y="30"/>
                    </a:lnTo>
                    <a:lnTo>
                      <a:pt x="10" y="29"/>
                    </a:lnTo>
                    <a:lnTo>
                      <a:pt x="5" y="28"/>
                    </a:lnTo>
                    <a:lnTo>
                      <a:pt x="2" y="25"/>
                    </a:lnTo>
                    <a:lnTo>
                      <a:pt x="1" y="20"/>
                    </a:lnTo>
                    <a:lnTo>
                      <a:pt x="0" y="16"/>
                    </a:lnTo>
                    <a:lnTo>
                      <a:pt x="1" y="10"/>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655" name="Freeform 415"/>
              <p:cNvSpPr>
                <a:spLocks/>
              </p:cNvSpPr>
              <p:nvPr/>
            </p:nvSpPr>
            <p:spPr bwMode="auto">
              <a:xfrm>
                <a:off x="11428328" y="5680647"/>
                <a:ext cx="4762" cy="4763"/>
              </a:xfrm>
              <a:custGeom>
                <a:avLst/>
                <a:gdLst>
                  <a:gd name="T0" fmla="*/ 16 w 30"/>
                  <a:gd name="T1" fmla="*/ 0 h 30"/>
                  <a:gd name="T2" fmla="*/ 20 w 30"/>
                  <a:gd name="T3" fmla="*/ 1 h 30"/>
                  <a:gd name="T4" fmla="*/ 25 w 30"/>
                  <a:gd name="T5" fmla="*/ 4 h 30"/>
                  <a:gd name="T6" fmla="*/ 27 w 30"/>
                  <a:gd name="T7" fmla="*/ 7 h 30"/>
                  <a:gd name="T8" fmla="*/ 29 w 30"/>
                  <a:gd name="T9" fmla="*/ 10 h 30"/>
                  <a:gd name="T10" fmla="*/ 30 w 30"/>
                  <a:gd name="T11" fmla="*/ 16 h 30"/>
                  <a:gd name="T12" fmla="*/ 29 w 30"/>
                  <a:gd name="T13" fmla="*/ 20 h 30"/>
                  <a:gd name="T14" fmla="*/ 27 w 30"/>
                  <a:gd name="T15" fmla="*/ 25 h 30"/>
                  <a:gd name="T16" fmla="*/ 25 w 30"/>
                  <a:gd name="T17" fmla="*/ 28 h 30"/>
                  <a:gd name="T18" fmla="*/ 20 w 30"/>
                  <a:gd name="T19" fmla="*/ 29 h 30"/>
                  <a:gd name="T20" fmla="*/ 16 w 30"/>
                  <a:gd name="T21" fmla="*/ 30 h 30"/>
                  <a:gd name="T22" fmla="*/ 10 w 30"/>
                  <a:gd name="T23" fmla="*/ 29 h 30"/>
                  <a:gd name="T24" fmla="*/ 7 w 30"/>
                  <a:gd name="T25" fmla="*/ 28 h 30"/>
                  <a:gd name="T26" fmla="*/ 4 w 30"/>
                  <a:gd name="T27" fmla="*/ 25 h 30"/>
                  <a:gd name="T28" fmla="*/ 1 w 30"/>
                  <a:gd name="T29" fmla="*/ 20 h 30"/>
                  <a:gd name="T30" fmla="*/ 0 w 30"/>
                  <a:gd name="T31" fmla="*/ 16 h 30"/>
                  <a:gd name="T32" fmla="*/ 1 w 30"/>
                  <a:gd name="T33" fmla="*/ 10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0"/>
                    </a:lnTo>
                    <a:lnTo>
                      <a:pt x="30" y="16"/>
                    </a:lnTo>
                    <a:lnTo>
                      <a:pt x="29" y="20"/>
                    </a:lnTo>
                    <a:lnTo>
                      <a:pt x="27" y="25"/>
                    </a:lnTo>
                    <a:lnTo>
                      <a:pt x="25" y="28"/>
                    </a:lnTo>
                    <a:lnTo>
                      <a:pt x="20" y="29"/>
                    </a:lnTo>
                    <a:lnTo>
                      <a:pt x="16" y="30"/>
                    </a:lnTo>
                    <a:lnTo>
                      <a:pt x="10" y="29"/>
                    </a:lnTo>
                    <a:lnTo>
                      <a:pt x="7" y="28"/>
                    </a:lnTo>
                    <a:lnTo>
                      <a:pt x="4" y="25"/>
                    </a:lnTo>
                    <a:lnTo>
                      <a:pt x="1" y="20"/>
                    </a:lnTo>
                    <a:lnTo>
                      <a:pt x="0" y="16"/>
                    </a:lnTo>
                    <a:lnTo>
                      <a:pt x="1" y="10"/>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656" name="Freeform 416"/>
              <p:cNvSpPr>
                <a:spLocks/>
              </p:cNvSpPr>
              <p:nvPr/>
            </p:nvSpPr>
            <p:spPr bwMode="auto">
              <a:xfrm>
                <a:off x="11441027" y="5680647"/>
                <a:ext cx="4762" cy="4763"/>
              </a:xfrm>
              <a:custGeom>
                <a:avLst/>
                <a:gdLst>
                  <a:gd name="T0" fmla="*/ 15 w 30"/>
                  <a:gd name="T1" fmla="*/ 0 h 30"/>
                  <a:gd name="T2" fmla="*/ 20 w 30"/>
                  <a:gd name="T3" fmla="*/ 1 h 30"/>
                  <a:gd name="T4" fmla="*/ 24 w 30"/>
                  <a:gd name="T5" fmla="*/ 4 h 30"/>
                  <a:gd name="T6" fmla="*/ 27 w 30"/>
                  <a:gd name="T7" fmla="*/ 7 h 30"/>
                  <a:gd name="T8" fmla="*/ 30 w 30"/>
                  <a:gd name="T9" fmla="*/ 10 h 30"/>
                  <a:gd name="T10" fmla="*/ 30 w 30"/>
                  <a:gd name="T11" fmla="*/ 16 h 30"/>
                  <a:gd name="T12" fmla="*/ 30 w 30"/>
                  <a:gd name="T13" fmla="*/ 20 h 30"/>
                  <a:gd name="T14" fmla="*/ 27 w 30"/>
                  <a:gd name="T15" fmla="*/ 25 h 30"/>
                  <a:gd name="T16" fmla="*/ 24 w 30"/>
                  <a:gd name="T17" fmla="*/ 28 h 30"/>
                  <a:gd name="T18" fmla="*/ 20 w 30"/>
                  <a:gd name="T19" fmla="*/ 29 h 30"/>
                  <a:gd name="T20" fmla="*/ 15 w 30"/>
                  <a:gd name="T21" fmla="*/ 30 h 30"/>
                  <a:gd name="T22" fmla="*/ 11 w 30"/>
                  <a:gd name="T23" fmla="*/ 29 h 30"/>
                  <a:gd name="T24" fmla="*/ 6 w 30"/>
                  <a:gd name="T25" fmla="*/ 28 h 30"/>
                  <a:gd name="T26" fmla="*/ 3 w 30"/>
                  <a:gd name="T27" fmla="*/ 25 h 30"/>
                  <a:gd name="T28" fmla="*/ 1 w 30"/>
                  <a:gd name="T29" fmla="*/ 20 h 30"/>
                  <a:gd name="T30" fmla="*/ 0 w 30"/>
                  <a:gd name="T31" fmla="*/ 16 h 30"/>
                  <a:gd name="T32" fmla="*/ 1 w 30"/>
                  <a:gd name="T33" fmla="*/ 10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0"/>
                    </a:lnTo>
                    <a:lnTo>
                      <a:pt x="30" y="16"/>
                    </a:lnTo>
                    <a:lnTo>
                      <a:pt x="30" y="20"/>
                    </a:lnTo>
                    <a:lnTo>
                      <a:pt x="27" y="25"/>
                    </a:lnTo>
                    <a:lnTo>
                      <a:pt x="24" y="28"/>
                    </a:lnTo>
                    <a:lnTo>
                      <a:pt x="20" y="29"/>
                    </a:lnTo>
                    <a:lnTo>
                      <a:pt x="15" y="30"/>
                    </a:lnTo>
                    <a:lnTo>
                      <a:pt x="11" y="29"/>
                    </a:lnTo>
                    <a:lnTo>
                      <a:pt x="6" y="28"/>
                    </a:lnTo>
                    <a:lnTo>
                      <a:pt x="3" y="25"/>
                    </a:lnTo>
                    <a:lnTo>
                      <a:pt x="1" y="20"/>
                    </a:lnTo>
                    <a:lnTo>
                      <a:pt x="0" y="16"/>
                    </a:lnTo>
                    <a:lnTo>
                      <a:pt x="1" y="10"/>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57" name="Freeform 417"/>
              <p:cNvSpPr>
                <a:spLocks/>
              </p:cNvSpPr>
              <p:nvPr/>
            </p:nvSpPr>
            <p:spPr bwMode="auto">
              <a:xfrm>
                <a:off x="10967999"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658" name="Freeform 418"/>
              <p:cNvSpPr>
                <a:spLocks/>
              </p:cNvSpPr>
              <p:nvPr/>
            </p:nvSpPr>
            <p:spPr bwMode="auto">
              <a:xfrm>
                <a:off x="10982285"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59" name="Freeform 419"/>
              <p:cNvSpPr>
                <a:spLocks/>
              </p:cNvSpPr>
              <p:nvPr/>
            </p:nvSpPr>
            <p:spPr bwMode="auto">
              <a:xfrm>
                <a:off x="10996571" y="5626666"/>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7"/>
                    </a:lnTo>
                    <a:lnTo>
                      <a:pt x="19" y="29"/>
                    </a:lnTo>
                    <a:lnTo>
                      <a:pt x="14" y="30"/>
                    </a:lnTo>
                    <a:lnTo>
                      <a:pt x="10" y="29"/>
                    </a:lnTo>
                    <a:lnTo>
                      <a:pt x="6" y="27"/>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1660" name="Freeform 420"/>
              <p:cNvSpPr>
                <a:spLocks/>
              </p:cNvSpPr>
              <p:nvPr/>
            </p:nvSpPr>
            <p:spPr bwMode="auto">
              <a:xfrm>
                <a:off x="11010857" y="5626666"/>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7"/>
                    </a:lnTo>
                    <a:lnTo>
                      <a:pt x="20"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661" name="Freeform 421"/>
              <p:cNvSpPr>
                <a:spLocks/>
              </p:cNvSpPr>
              <p:nvPr/>
            </p:nvSpPr>
            <p:spPr bwMode="auto">
              <a:xfrm>
                <a:off x="11023556"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662" name="Freeform 422"/>
              <p:cNvSpPr>
                <a:spLocks/>
              </p:cNvSpPr>
              <p:nvPr/>
            </p:nvSpPr>
            <p:spPr bwMode="auto">
              <a:xfrm>
                <a:off x="11037842"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663" name="Freeform 423"/>
              <p:cNvSpPr>
                <a:spLocks/>
              </p:cNvSpPr>
              <p:nvPr/>
            </p:nvSpPr>
            <p:spPr bwMode="auto">
              <a:xfrm>
                <a:off x="11052128"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64" name="Freeform 424"/>
              <p:cNvSpPr>
                <a:spLocks/>
              </p:cNvSpPr>
              <p:nvPr/>
            </p:nvSpPr>
            <p:spPr bwMode="auto">
              <a:xfrm>
                <a:off x="11066414" y="5626666"/>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665" name="Freeform 425"/>
              <p:cNvSpPr>
                <a:spLocks/>
              </p:cNvSpPr>
              <p:nvPr/>
            </p:nvSpPr>
            <p:spPr bwMode="auto">
              <a:xfrm>
                <a:off x="11079113"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666" name="Freeform 426"/>
              <p:cNvSpPr>
                <a:spLocks/>
              </p:cNvSpPr>
              <p:nvPr/>
            </p:nvSpPr>
            <p:spPr bwMode="auto">
              <a:xfrm>
                <a:off x="11093399"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667" name="Freeform 427"/>
              <p:cNvSpPr>
                <a:spLocks/>
              </p:cNvSpPr>
              <p:nvPr/>
            </p:nvSpPr>
            <p:spPr bwMode="auto">
              <a:xfrm>
                <a:off x="11107685" y="5626666"/>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7"/>
                    </a:lnTo>
                    <a:lnTo>
                      <a:pt x="20" y="29"/>
                    </a:lnTo>
                    <a:lnTo>
                      <a:pt x="16" y="30"/>
                    </a:lnTo>
                    <a:lnTo>
                      <a:pt x="11" y="29"/>
                    </a:lnTo>
                    <a:lnTo>
                      <a:pt x="7" y="27"/>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1668" name="Freeform 428"/>
              <p:cNvSpPr>
                <a:spLocks/>
              </p:cNvSpPr>
              <p:nvPr/>
            </p:nvSpPr>
            <p:spPr bwMode="auto">
              <a:xfrm>
                <a:off x="111219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69" name="Freeform 429"/>
              <p:cNvSpPr>
                <a:spLocks/>
              </p:cNvSpPr>
              <p:nvPr/>
            </p:nvSpPr>
            <p:spPr bwMode="auto">
              <a:xfrm>
                <a:off x="11136257"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670" name="Freeform 430"/>
              <p:cNvSpPr>
                <a:spLocks/>
              </p:cNvSpPr>
              <p:nvPr/>
            </p:nvSpPr>
            <p:spPr bwMode="auto">
              <a:xfrm>
                <a:off x="11148956"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671" name="Freeform 431"/>
              <p:cNvSpPr>
                <a:spLocks/>
              </p:cNvSpPr>
              <p:nvPr/>
            </p:nvSpPr>
            <p:spPr bwMode="auto">
              <a:xfrm>
                <a:off x="11163242" y="5626666"/>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672" name="Freeform 432"/>
              <p:cNvSpPr>
                <a:spLocks/>
              </p:cNvSpPr>
              <p:nvPr/>
            </p:nvSpPr>
            <p:spPr bwMode="auto">
              <a:xfrm>
                <a:off x="11177528" y="5626666"/>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7"/>
                    </a:lnTo>
                    <a:lnTo>
                      <a:pt x="19"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73" name="Freeform 433"/>
              <p:cNvSpPr>
                <a:spLocks/>
              </p:cNvSpPr>
              <p:nvPr/>
            </p:nvSpPr>
            <p:spPr bwMode="auto">
              <a:xfrm>
                <a:off x="11190227"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674" name="Freeform 434"/>
              <p:cNvSpPr>
                <a:spLocks/>
              </p:cNvSpPr>
              <p:nvPr/>
            </p:nvSpPr>
            <p:spPr bwMode="auto">
              <a:xfrm>
                <a:off x="112045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675" name="Freeform 435"/>
              <p:cNvSpPr>
                <a:spLocks/>
              </p:cNvSpPr>
              <p:nvPr/>
            </p:nvSpPr>
            <p:spPr bwMode="auto">
              <a:xfrm>
                <a:off x="11218799"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676" name="Freeform 436"/>
              <p:cNvSpPr>
                <a:spLocks/>
              </p:cNvSpPr>
              <p:nvPr/>
            </p:nvSpPr>
            <p:spPr bwMode="auto">
              <a:xfrm>
                <a:off x="11233085"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677" name="Freeform 437"/>
              <p:cNvSpPr>
                <a:spLocks/>
              </p:cNvSpPr>
              <p:nvPr/>
            </p:nvSpPr>
            <p:spPr bwMode="auto">
              <a:xfrm>
                <a:off x="11247371"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78" name="Freeform 438"/>
              <p:cNvSpPr>
                <a:spLocks/>
              </p:cNvSpPr>
              <p:nvPr/>
            </p:nvSpPr>
            <p:spPr bwMode="auto">
              <a:xfrm>
                <a:off x="11260070" y="5626666"/>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679" name="Freeform 439"/>
              <p:cNvSpPr>
                <a:spLocks/>
              </p:cNvSpPr>
              <p:nvPr/>
            </p:nvSpPr>
            <p:spPr bwMode="auto">
              <a:xfrm>
                <a:off x="11274356" y="5626666"/>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7"/>
                    </a:lnTo>
                    <a:lnTo>
                      <a:pt x="19"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680" name="Freeform 440"/>
              <p:cNvSpPr>
                <a:spLocks/>
              </p:cNvSpPr>
              <p:nvPr/>
            </p:nvSpPr>
            <p:spPr bwMode="auto">
              <a:xfrm>
                <a:off x="11288642" y="5626666"/>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7"/>
                    </a:lnTo>
                    <a:lnTo>
                      <a:pt x="20" y="29"/>
                    </a:lnTo>
                    <a:lnTo>
                      <a:pt x="15" y="30"/>
                    </a:lnTo>
                    <a:lnTo>
                      <a:pt x="10" y="29"/>
                    </a:lnTo>
                    <a:lnTo>
                      <a:pt x="7" y="27"/>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681" name="Freeform 441"/>
              <p:cNvSpPr>
                <a:spLocks/>
              </p:cNvSpPr>
              <p:nvPr/>
            </p:nvSpPr>
            <p:spPr bwMode="auto">
              <a:xfrm>
                <a:off x="113029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682" name="Freeform 442"/>
              <p:cNvSpPr>
                <a:spLocks/>
              </p:cNvSpPr>
              <p:nvPr/>
            </p:nvSpPr>
            <p:spPr bwMode="auto">
              <a:xfrm>
                <a:off x="113156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83" name="Freeform 443"/>
              <p:cNvSpPr>
                <a:spLocks/>
              </p:cNvSpPr>
              <p:nvPr/>
            </p:nvSpPr>
            <p:spPr bwMode="auto">
              <a:xfrm>
                <a:off x="11329913"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684" name="Freeform 444"/>
              <p:cNvSpPr>
                <a:spLocks/>
              </p:cNvSpPr>
              <p:nvPr/>
            </p:nvSpPr>
            <p:spPr bwMode="auto">
              <a:xfrm>
                <a:off x="11344199" y="5626666"/>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7"/>
                    </a:lnTo>
                    <a:lnTo>
                      <a:pt x="20" y="29"/>
                    </a:lnTo>
                    <a:lnTo>
                      <a:pt x="14" y="30"/>
                    </a:lnTo>
                    <a:lnTo>
                      <a:pt x="10" y="29"/>
                    </a:lnTo>
                    <a:lnTo>
                      <a:pt x="5" y="27"/>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685" name="Freeform 445"/>
              <p:cNvSpPr>
                <a:spLocks/>
              </p:cNvSpPr>
              <p:nvPr/>
            </p:nvSpPr>
            <p:spPr bwMode="auto">
              <a:xfrm>
                <a:off x="11358485" y="5626666"/>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7"/>
                    </a:lnTo>
                    <a:lnTo>
                      <a:pt x="20" y="29"/>
                    </a:lnTo>
                    <a:lnTo>
                      <a:pt x="16" y="30"/>
                    </a:lnTo>
                    <a:lnTo>
                      <a:pt x="10" y="29"/>
                    </a:lnTo>
                    <a:lnTo>
                      <a:pt x="7" y="27"/>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686" name="Freeform 446"/>
              <p:cNvSpPr>
                <a:spLocks/>
              </p:cNvSpPr>
              <p:nvPr/>
            </p:nvSpPr>
            <p:spPr bwMode="auto">
              <a:xfrm>
                <a:off x="11371184" y="5626666"/>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7"/>
                    </a:lnTo>
                    <a:lnTo>
                      <a:pt x="19" y="29"/>
                    </a:lnTo>
                    <a:lnTo>
                      <a:pt x="15" y="30"/>
                    </a:lnTo>
                    <a:lnTo>
                      <a:pt x="9" y="29"/>
                    </a:lnTo>
                    <a:lnTo>
                      <a:pt x="6" y="27"/>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1687" name="Freeform 447"/>
              <p:cNvSpPr>
                <a:spLocks/>
              </p:cNvSpPr>
              <p:nvPr/>
            </p:nvSpPr>
            <p:spPr bwMode="auto">
              <a:xfrm>
                <a:off x="11385470" y="5626666"/>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7"/>
                    </a:lnTo>
                    <a:lnTo>
                      <a:pt x="20" y="29"/>
                    </a:lnTo>
                    <a:lnTo>
                      <a:pt x="15" y="30"/>
                    </a:lnTo>
                    <a:lnTo>
                      <a:pt x="11" y="29"/>
                    </a:lnTo>
                    <a:lnTo>
                      <a:pt x="7" y="27"/>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688" name="Freeform 448"/>
              <p:cNvSpPr>
                <a:spLocks/>
              </p:cNvSpPr>
              <p:nvPr/>
            </p:nvSpPr>
            <p:spPr bwMode="auto">
              <a:xfrm>
                <a:off x="11399756" y="5626666"/>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7"/>
                    </a:lnTo>
                    <a:lnTo>
                      <a:pt x="19" y="29"/>
                    </a:lnTo>
                    <a:lnTo>
                      <a:pt x="15" y="30"/>
                    </a:lnTo>
                    <a:lnTo>
                      <a:pt x="10" y="29"/>
                    </a:lnTo>
                    <a:lnTo>
                      <a:pt x="6" y="27"/>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689" name="Freeform 449"/>
              <p:cNvSpPr>
                <a:spLocks/>
              </p:cNvSpPr>
              <p:nvPr/>
            </p:nvSpPr>
            <p:spPr bwMode="auto">
              <a:xfrm>
                <a:off x="11414042" y="5626666"/>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7"/>
                    </a:lnTo>
                    <a:lnTo>
                      <a:pt x="20" y="29"/>
                    </a:lnTo>
                    <a:lnTo>
                      <a:pt x="14" y="30"/>
                    </a:lnTo>
                    <a:lnTo>
                      <a:pt x="10" y="29"/>
                    </a:lnTo>
                    <a:lnTo>
                      <a:pt x="5" y="27"/>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690" name="Freeform 450"/>
              <p:cNvSpPr>
                <a:spLocks/>
              </p:cNvSpPr>
              <p:nvPr/>
            </p:nvSpPr>
            <p:spPr bwMode="auto">
              <a:xfrm>
                <a:off x="11428328" y="5626666"/>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7"/>
                    </a:lnTo>
                    <a:lnTo>
                      <a:pt x="20" y="29"/>
                    </a:lnTo>
                    <a:lnTo>
                      <a:pt x="16" y="30"/>
                    </a:lnTo>
                    <a:lnTo>
                      <a:pt x="10" y="29"/>
                    </a:lnTo>
                    <a:lnTo>
                      <a:pt x="7" y="27"/>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691" name="Freeform 451"/>
              <p:cNvSpPr>
                <a:spLocks/>
              </p:cNvSpPr>
              <p:nvPr/>
            </p:nvSpPr>
            <p:spPr bwMode="auto">
              <a:xfrm>
                <a:off x="11441027" y="5626666"/>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7"/>
                    </a:lnTo>
                    <a:lnTo>
                      <a:pt x="20" y="29"/>
                    </a:lnTo>
                    <a:lnTo>
                      <a:pt x="15" y="30"/>
                    </a:lnTo>
                    <a:lnTo>
                      <a:pt x="11" y="29"/>
                    </a:lnTo>
                    <a:lnTo>
                      <a:pt x="6" y="27"/>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692" name="Freeform 452"/>
              <p:cNvSpPr>
                <a:spLocks/>
              </p:cNvSpPr>
              <p:nvPr/>
            </p:nvSpPr>
            <p:spPr bwMode="auto">
              <a:xfrm>
                <a:off x="10967999"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693" name="Freeform 453"/>
              <p:cNvSpPr>
                <a:spLocks/>
              </p:cNvSpPr>
              <p:nvPr/>
            </p:nvSpPr>
            <p:spPr bwMode="auto">
              <a:xfrm>
                <a:off x="10982285"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94" name="Freeform 454"/>
              <p:cNvSpPr>
                <a:spLocks/>
              </p:cNvSpPr>
              <p:nvPr/>
            </p:nvSpPr>
            <p:spPr bwMode="auto">
              <a:xfrm>
                <a:off x="10996571" y="6061690"/>
                <a:ext cx="4762" cy="4763"/>
              </a:xfrm>
              <a:custGeom>
                <a:avLst/>
                <a:gdLst>
                  <a:gd name="T0" fmla="*/ 14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4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7"/>
                    </a:lnTo>
                    <a:lnTo>
                      <a:pt x="29" y="11"/>
                    </a:lnTo>
                    <a:lnTo>
                      <a:pt x="30" y="16"/>
                    </a:lnTo>
                    <a:lnTo>
                      <a:pt x="29" y="20"/>
                    </a:lnTo>
                    <a:lnTo>
                      <a:pt x="27" y="25"/>
                    </a:lnTo>
                    <a:lnTo>
                      <a:pt x="23" y="28"/>
                    </a:lnTo>
                    <a:lnTo>
                      <a:pt x="19" y="30"/>
                    </a:lnTo>
                    <a:lnTo>
                      <a:pt x="14" y="30"/>
                    </a:lnTo>
                    <a:lnTo>
                      <a:pt x="10" y="30"/>
                    </a:lnTo>
                    <a:lnTo>
                      <a:pt x="6" y="28"/>
                    </a:lnTo>
                    <a:lnTo>
                      <a:pt x="2" y="25"/>
                    </a:lnTo>
                    <a:lnTo>
                      <a:pt x="0" y="20"/>
                    </a:lnTo>
                    <a:lnTo>
                      <a:pt x="0" y="16"/>
                    </a:lnTo>
                    <a:lnTo>
                      <a:pt x="0" y="11"/>
                    </a:lnTo>
                    <a:lnTo>
                      <a:pt x="2" y="7"/>
                    </a:lnTo>
                    <a:lnTo>
                      <a:pt x="6" y="4"/>
                    </a:lnTo>
                    <a:lnTo>
                      <a:pt x="10" y="1"/>
                    </a:lnTo>
                    <a:lnTo>
                      <a:pt x="14" y="0"/>
                    </a:lnTo>
                    <a:close/>
                  </a:path>
                </a:pathLst>
              </a:custGeom>
              <a:solidFill>
                <a:schemeClr val="accent5"/>
              </a:solidFill>
              <a:ln>
                <a:noFill/>
              </a:ln>
            </p:spPr>
            <p:txBody>
              <a:bodyPr/>
              <a:lstStyle/>
              <a:p>
                <a:endParaRPr lang="de-DE" dirty="0"/>
              </a:p>
            </p:txBody>
          </p:sp>
          <p:sp>
            <p:nvSpPr>
              <p:cNvPr id="1695" name="Freeform 455"/>
              <p:cNvSpPr>
                <a:spLocks/>
              </p:cNvSpPr>
              <p:nvPr/>
            </p:nvSpPr>
            <p:spPr bwMode="auto">
              <a:xfrm>
                <a:off x="11010857" y="6061690"/>
                <a:ext cx="4762" cy="4763"/>
              </a:xfrm>
              <a:custGeom>
                <a:avLst/>
                <a:gdLst>
                  <a:gd name="T0" fmla="*/ 15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29" y="11"/>
                    </a:lnTo>
                    <a:lnTo>
                      <a:pt x="30" y="16"/>
                    </a:lnTo>
                    <a:lnTo>
                      <a:pt x="29" y="20"/>
                    </a:lnTo>
                    <a:lnTo>
                      <a:pt x="27" y="25"/>
                    </a:lnTo>
                    <a:lnTo>
                      <a:pt x="24" y="28"/>
                    </a:lnTo>
                    <a:lnTo>
                      <a:pt x="20"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696" name="Freeform 456"/>
              <p:cNvSpPr>
                <a:spLocks/>
              </p:cNvSpPr>
              <p:nvPr/>
            </p:nvSpPr>
            <p:spPr bwMode="auto">
              <a:xfrm>
                <a:off x="11023556"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697" name="Freeform 457"/>
              <p:cNvSpPr>
                <a:spLocks/>
              </p:cNvSpPr>
              <p:nvPr/>
            </p:nvSpPr>
            <p:spPr bwMode="auto">
              <a:xfrm>
                <a:off x="11037842"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698" name="Freeform 458"/>
              <p:cNvSpPr>
                <a:spLocks/>
              </p:cNvSpPr>
              <p:nvPr/>
            </p:nvSpPr>
            <p:spPr bwMode="auto">
              <a:xfrm>
                <a:off x="11052128"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699" name="Freeform 459"/>
              <p:cNvSpPr>
                <a:spLocks/>
              </p:cNvSpPr>
              <p:nvPr/>
            </p:nvSpPr>
            <p:spPr bwMode="auto">
              <a:xfrm>
                <a:off x="11066414" y="6061690"/>
                <a:ext cx="4762" cy="4763"/>
              </a:xfrm>
              <a:custGeom>
                <a:avLst/>
                <a:gdLst>
                  <a:gd name="T0" fmla="*/ 15 w 30"/>
                  <a:gd name="T1" fmla="*/ 0 h 30"/>
                  <a:gd name="T2" fmla="*/ 19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7"/>
                    </a:lnTo>
                    <a:lnTo>
                      <a:pt x="29" y="11"/>
                    </a:lnTo>
                    <a:lnTo>
                      <a:pt x="30"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700" name="Freeform 460"/>
              <p:cNvSpPr>
                <a:spLocks/>
              </p:cNvSpPr>
              <p:nvPr/>
            </p:nvSpPr>
            <p:spPr bwMode="auto">
              <a:xfrm>
                <a:off x="11079113"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701" name="Freeform 461"/>
              <p:cNvSpPr>
                <a:spLocks/>
              </p:cNvSpPr>
              <p:nvPr/>
            </p:nvSpPr>
            <p:spPr bwMode="auto">
              <a:xfrm>
                <a:off x="11093399"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702" name="Freeform 462"/>
              <p:cNvSpPr>
                <a:spLocks/>
              </p:cNvSpPr>
              <p:nvPr/>
            </p:nvSpPr>
            <p:spPr bwMode="auto">
              <a:xfrm>
                <a:off x="11107685" y="6061690"/>
                <a:ext cx="4762" cy="4763"/>
              </a:xfrm>
              <a:custGeom>
                <a:avLst/>
                <a:gdLst>
                  <a:gd name="T0" fmla="*/ 16 w 30"/>
                  <a:gd name="T1" fmla="*/ 0 h 30"/>
                  <a:gd name="T2" fmla="*/ 20 w 30"/>
                  <a:gd name="T3" fmla="*/ 1 h 30"/>
                  <a:gd name="T4" fmla="*/ 25 w 30"/>
                  <a:gd name="T5" fmla="*/ 4 h 30"/>
                  <a:gd name="T6" fmla="*/ 28 w 30"/>
                  <a:gd name="T7" fmla="*/ 7 h 30"/>
                  <a:gd name="T8" fmla="*/ 29 w 30"/>
                  <a:gd name="T9" fmla="*/ 11 h 30"/>
                  <a:gd name="T10" fmla="*/ 30 w 30"/>
                  <a:gd name="T11" fmla="*/ 16 h 30"/>
                  <a:gd name="T12" fmla="*/ 29 w 30"/>
                  <a:gd name="T13" fmla="*/ 20 h 30"/>
                  <a:gd name="T14" fmla="*/ 28 w 30"/>
                  <a:gd name="T15" fmla="*/ 25 h 30"/>
                  <a:gd name="T16" fmla="*/ 25 w 30"/>
                  <a:gd name="T17" fmla="*/ 28 h 30"/>
                  <a:gd name="T18" fmla="*/ 20 w 30"/>
                  <a:gd name="T19" fmla="*/ 30 h 30"/>
                  <a:gd name="T20" fmla="*/ 16 w 30"/>
                  <a:gd name="T21" fmla="*/ 30 h 30"/>
                  <a:gd name="T22" fmla="*/ 11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7"/>
                    </a:lnTo>
                    <a:lnTo>
                      <a:pt x="29" y="11"/>
                    </a:lnTo>
                    <a:lnTo>
                      <a:pt x="30" y="16"/>
                    </a:lnTo>
                    <a:lnTo>
                      <a:pt x="29" y="20"/>
                    </a:lnTo>
                    <a:lnTo>
                      <a:pt x="28" y="25"/>
                    </a:lnTo>
                    <a:lnTo>
                      <a:pt x="25" y="28"/>
                    </a:lnTo>
                    <a:lnTo>
                      <a:pt x="20" y="30"/>
                    </a:lnTo>
                    <a:lnTo>
                      <a:pt x="16" y="30"/>
                    </a:lnTo>
                    <a:lnTo>
                      <a:pt x="11" y="30"/>
                    </a:lnTo>
                    <a:lnTo>
                      <a:pt x="7" y="28"/>
                    </a:lnTo>
                    <a:lnTo>
                      <a:pt x="4" y="25"/>
                    </a:lnTo>
                    <a:lnTo>
                      <a:pt x="1" y="20"/>
                    </a:lnTo>
                    <a:lnTo>
                      <a:pt x="0" y="16"/>
                    </a:lnTo>
                    <a:lnTo>
                      <a:pt x="1" y="11"/>
                    </a:lnTo>
                    <a:lnTo>
                      <a:pt x="4" y="7"/>
                    </a:lnTo>
                    <a:lnTo>
                      <a:pt x="7" y="4"/>
                    </a:lnTo>
                    <a:lnTo>
                      <a:pt x="11" y="1"/>
                    </a:lnTo>
                    <a:lnTo>
                      <a:pt x="16" y="0"/>
                    </a:lnTo>
                    <a:close/>
                  </a:path>
                </a:pathLst>
              </a:custGeom>
              <a:solidFill>
                <a:schemeClr val="accent5"/>
              </a:solidFill>
              <a:ln>
                <a:noFill/>
              </a:ln>
            </p:spPr>
            <p:txBody>
              <a:bodyPr/>
              <a:lstStyle/>
              <a:p>
                <a:endParaRPr lang="de-DE" dirty="0"/>
              </a:p>
            </p:txBody>
          </p:sp>
          <p:sp>
            <p:nvSpPr>
              <p:cNvPr id="1703" name="Freeform 463"/>
              <p:cNvSpPr>
                <a:spLocks/>
              </p:cNvSpPr>
              <p:nvPr/>
            </p:nvSpPr>
            <p:spPr bwMode="auto">
              <a:xfrm>
                <a:off x="111219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704" name="Freeform 464"/>
              <p:cNvSpPr>
                <a:spLocks/>
              </p:cNvSpPr>
              <p:nvPr/>
            </p:nvSpPr>
            <p:spPr bwMode="auto">
              <a:xfrm>
                <a:off x="11136257"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705" name="Freeform 465"/>
              <p:cNvSpPr>
                <a:spLocks/>
              </p:cNvSpPr>
              <p:nvPr/>
            </p:nvSpPr>
            <p:spPr bwMode="auto">
              <a:xfrm>
                <a:off x="11148956"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706" name="Freeform 466"/>
              <p:cNvSpPr>
                <a:spLocks/>
              </p:cNvSpPr>
              <p:nvPr/>
            </p:nvSpPr>
            <p:spPr bwMode="auto">
              <a:xfrm>
                <a:off x="11163242" y="6061690"/>
                <a:ext cx="4762" cy="4763"/>
              </a:xfrm>
              <a:custGeom>
                <a:avLst/>
                <a:gdLst>
                  <a:gd name="T0" fmla="*/ 16 w 30"/>
                  <a:gd name="T1" fmla="*/ 0 h 30"/>
                  <a:gd name="T2" fmla="*/ 20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7"/>
                    </a:lnTo>
                    <a:lnTo>
                      <a:pt x="29" y="11"/>
                    </a:lnTo>
                    <a:lnTo>
                      <a:pt x="30" y="16"/>
                    </a:lnTo>
                    <a:lnTo>
                      <a:pt x="29" y="20"/>
                    </a:lnTo>
                    <a:lnTo>
                      <a:pt x="27" y="25"/>
                    </a:lnTo>
                    <a:lnTo>
                      <a:pt x="24"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707" name="Freeform 467"/>
              <p:cNvSpPr>
                <a:spLocks/>
              </p:cNvSpPr>
              <p:nvPr/>
            </p:nvSpPr>
            <p:spPr bwMode="auto">
              <a:xfrm>
                <a:off x="11177528" y="6061690"/>
                <a:ext cx="4762" cy="4763"/>
              </a:xfrm>
              <a:custGeom>
                <a:avLst/>
                <a:gdLst>
                  <a:gd name="T0" fmla="*/ 15 w 29"/>
                  <a:gd name="T1" fmla="*/ 0 h 30"/>
                  <a:gd name="T2" fmla="*/ 19 w 29"/>
                  <a:gd name="T3" fmla="*/ 1 h 30"/>
                  <a:gd name="T4" fmla="*/ 24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4 w 29"/>
                  <a:gd name="T17" fmla="*/ 28 h 30"/>
                  <a:gd name="T18" fmla="*/ 19 w 29"/>
                  <a:gd name="T19" fmla="*/ 30 h 30"/>
                  <a:gd name="T20" fmla="*/ 15 w 29"/>
                  <a:gd name="T21" fmla="*/ 30 h 30"/>
                  <a:gd name="T22" fmla="*/ 11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9" y="11"/>
                    </a:lnTo>
                    <a:lnTo>
                      <a:pt x="29" y="16"/>
                    </a:lnTo>
                    <a:lnTo>
                      <a:pt x="29" y="20"/>
                    </a:lnTo>
                    <a:lnTo>
                      <a:pt x="27" y="25"/>
                    </a:lnTo>
                    <a:lnTo>
                      <a:pt x="24" y="28"/>
                    </a:lnTo>
                    <a:lnTo>
                      <a:pt x="19"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708" name="Freeform 468"/>
              <p:cNvSpPr>
                <a:spLocks/>
              </p:cNvSpPr>
              <p:nvPr/>
            </p:nvSpPr>
            <p:spPr bwMode="auto">
              <a:xfrm>
                <a:off x="11190227"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709" name="Freeform 469"/>
              <p:cNvSpPr>
                <a:spLocks/>
              </p:cNvSpPr>
              <p:nvPr/>
            </p:nvSpPr>
            <p:spPr bwMode="auto">
              <a:xfrm>
                <a:off x="112045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710" name="Freeform 470"/>
              <p:cNvSpPr>
                <a:spLocks/>
              </p:cNvSpPr>
              <p:nvPr/>
            </p:nvSpPr>
            <p:spPr bwMode="auto">
              <a:xfrm>
                <a:off x="11218799"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3" y="25"/>
                    </a:lnTo>
                    <a:lnTo>
                      <a:pt x="1" y="20"/>
                    </a:lnTo>
                    <a:lnTo>
                      <a:pt x="0" y="16"/>
                    </a:lnTo>
                    <a:lnTo>
                      <a:pt x="1" y="11"/>
                    </a:lnTo>
                    <a:lnTo>
                      <a:pt x="3" y="7"/>
                    </a:lnTo>
                    <a:lnTo>
                      <a:pt x="5" y="4"/>
                    </a:lnTo>
                    <a:lnTo>
                      <a:pt x="10" y="1"/>
                    </a:lnTo>
                    <a:lnTo>
                      <a:pt x="14" y="0"/>
                    </a:lnTo>
                    <a:close/>
                  </a:path>
                </a:pathLst>
              </a:custGeom>
              <a:solidFill>
                <a:schemeClr val="accent5"/>
              </a:solidFill>
              <a:ln>
                <a:noFill/>
              </a:ln>
            </p:spPr>
            <p:txBody>
              <a:bodyPr/>
              <a:lstStyle/>
              <a:p>
                <a:endParaRPr lang="de-DE" dirty="0"/>
              </a:p>
            </p:txBody>
          </p:sp>
          <p:sp>
            <p:nvSpPr>
              <p:cNvPr id="1711" name="Freeform 471"/>
              <p:cNvSpPr>
                <a:spLocks/>
              </p:cNvSpPr>
              <p:nvPr/>
            </p:nvSpPr>
            <p:spPr bwMode="auto">
              <a:xfrm>
                <a:off x="11233085"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712" name="Freeform 472"/>
              <p:cNvSpPr>
                <a:spLocks/>
              </p:cNvSpPr>
              <p:nvPr/>
            </p:nvSpPr>
            <p:spPr bwMode="auto">
              <a:xfrm>
                <a:off x="11247371"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713" name="Freeform 473"/>
              <p:cNvSpPr>
                <a:spLocks/>
              </p:cNvSpPr>
              <p:nvPr/>
            </p:nvSpPr>
            <p:spPr bwMode="auto">
              <a:xfrm>
                <a:off x="11260070" y="6061690"/>
                <a:ext cx="4762" cy="4763"/>
              </a:xfrm>
              <a:custGeom>
                <a:avLst/>
                <a:gdLst>
                  <a:gd name="T0" fmla="*/ 15 w 29"/>
                  <a:gd name="T1" fmla="*/ 0 h 30"/>
                  <a:gd name="T2" fmla="*/ 19 w 29"/>
                  <a:gd name="T3" fmla="*/ 1 h 30"/>
                  <a:gd name="T4" fmla="*/ 23 w 29"/>
                  <a:gd name="T5" fmla="*/ 4 h 30"/>
                  <a:gd name="T6" fmla="*/ 27 w 29"/>
                  <a:gd name="T7" fmla="*/ 7 h 30"/>
                  <a:gd name="T8" fmla="*/ 29 w 29"/>
                  <a:gd name="T9" fmla="*/ 11 h 30"/>
                  <a:gd name="T10" fmla="*/ 29 w 29"/>
                  <a:gd name="T11" fmla="*/ 16 h 30"/>
                  <a:gd name="T12" fmla="*/ 29 w 29"/>
                  <a:gd name="T13" fmla="*/ 20 h 30"/>
                  <a:gd name="T14" fmla="*/ 27 w 29"/>
                  <a:gd name="T15" fmla="*/ 25 h 30"/>
                  <a:gd name="T16" fmla="*/ 23 w 29"/>
                  <a:gd name="T17" fmla="*/ 28 h 30"/>
                  <a:gd name="T18" fmla="*/ 19 w 29"/>
                  <a:gd name="T19" fmla="*/ 30 h 30"/>
                  <a:gd name="T20" fmla="*/ 15 w 29"/>
                  <a:gd name="T21" fmla="*/ 30 h 30"/>
                  <a:gd name="T22" fmla="*/ 10 w 29"/>
                  <a:gd name="T23" fmla="*/ 30 h 30"/>
                  <a:gd name="T24" fmla="*/ 6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7"/>
                    </a:lnTo>
                    <a:lnTo>
                      <a:pt x="29" y="11"/>
                    </a:lnTo>
                    <a:lnTo>
                      <a:pt x="29" y="16"/>
                    </a:lnTo>
                    <a:lnTo>
                      <a:pt x="29" y="20"/>
                    </a:lnTo>
                    <a:lnTo>
                      <a:pt x="27" y="25"/>
                    </a:lnTo>
                    <a:lnTo>
                      <a:pt x="23"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714" name="Freeform 474"/>
              <p:cNvSpPr>
                <a:spLocks/>
              </p:cNvSpPr>
              <p:nvPr/>
            </p:nvSpPr>
            <p:spPr bwMode="auto">
              <a:xfrm>
                <a:off x="11274356" y="6061690"/>
                <a:ext cx="4762" cy="4763"/>
              </a:xfrm>
              <a:custGeom>
                <a:avLst/>
                <a:gdLst>
                  <a:gd name="T0" fmla="*/ 14 w 29"/>
                  <a:gd name="T1" fmla="*/ 0 h 30"/>
                  <a:gd name="T2" fmla="*/ 19 w 29"/>
                  <a:gd name="T3" fmla="*/ 1 h 30"/>
                  <a:gd name="T4" fmla="*/ 23 w 29"/>
                  <a:gd name="T5" fmla="*/ 4 h 30"/>
                  <a:gd name="T6" fmla="*/ 26 w 29"/>
                  <a:gd name="T7" fmla="*/ 7 h 30"/>
                  <a:gd name="T8" fmla="*/ 28 w 29"/>
                  <a:gd name="T9" fmla="*/ 11 h 30"/>
                  <a:gd name="T10" fmla="*/ 29 w 29"/>
                  <a:gd name="T11" fmla="*/ 16 h 30"/>
                  <a:gd name="T12" fmla="*/ 28 w 29"/>
                  <a:gd name="T13" fmla="*/ 20 h 30"/>
                  <a:gd name="T14" fmla="*/ 26 w 29"/>
                  <a:gd name="T15" fmla="*/ 25 h 30"/>
                  <a:gd name="T16" fmla="*/ 23 w 29"/>
                  <a:gd name="T17" fmla="*/ 28 h 30"/>
                  <a:gd name="T18" fmla="*/ 19 w 29"/>
                  <a:gd name="T19" fmla="*/ 30 h 30"/>
                  <a:gd name="T20" fmla="*/ 14 w 29"/>
                  <a:gd name="T21" fmla="*/ 30 h 30"/>
                  <a:gd name="T22" fmla="*/ 10 w 29"/>
                  <a:gd name="T23" fmla="*/ 30 h 30"/>
                  <a:gd name="T24" fmla="*/ 5 w 29"/>
                  <a:gd name="T25" fmla="*/ 28 h 30"/>
                  <a:gd name="T26" fmla="*/ 2 w 29"/>
                  <a:gd name="T27" fmla="*/ 25 h 30"/>
                  <a:gd name="T28" fmla="*/ 0 w 29"/>
                  <a:gd name="T29" fmla="*/ 20 h 30"/>
                  <a:gd name="T30" fmla="*/ 0 w 29"/>
                  <a:gd name="T31" fmla="*/ 16 h 30"/>
                  <a:gd name="T32" fmla="*/ 0 w 29"/>
                  <a:gd name="T33" fmla="*/ 11 h 30"/>
                  <a:gd name="T34" fmla="*/ 2 w 29"/>
                  <a:gd name="T35" fmla="*/ 7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7"/>
                    </a:lnTo>
                    <a:lnTo>
                      <a:pt x="28" y="11"/>
                    </a:lnTo>
                    <a:lnTo>
                      <a:pt x="29" y="16"/>
                    </a:lnTo>
                    <a:lnTo>
                      <a:pt x="28" y="20"/>
                    </a:lnTo>
                    <a:lnTo>
                      <a:pt x="26" y="25"/>
                    </a:lnTo>
                    <a:lnTo>
                      <a:pt x="23" y="28"/>
                    </a:lnTo>
                    <a:lnTo>
                      <a:pt x="19"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715" name="Freeform 475"/>
              <p:cNvSpPr>
                <a:spLocks/>
              </p:cNvSpPr>
              <p:nvPr/>
            </p:nvSpPr>
            <p:spPr bwMode="auto">
              <a:xfrm>
                <a:off x="11288642" y="6061690"/>
                <a:ext cx="4762" cy="4763"/>
              </a:xfrm>
              <a:custGeom>
                <a:avLst/>
                <a:gdLst>
                  <a:gd name="T0" fmla="*/ 15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5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7"/>
                    </a:lnTo>
                    <a:lnTo>
                      <a:pt x="29" y="11"/>
                    </a:lnTo>
                    <a:lnTo>
                      <a:pt x="30" y="16"/>
                    </a:lnTo>
                    <a:lnTo>
                      <a:pt x="29" y="20"/>
                    </a:lnTo>
                    <a:lnTo>
                      <a:pt x="27" y="25"/>
                    </a:lnTo>
                    <a:lnTo>
                      <a:pt x="23" y="28"/>
                    </a:lnTo>
                    <a:lnTo>
                      <a:pt x="20" y="30"/>
                    </a:lnTo>
                    <a:lnTo>
                      <a:pt x="15" y="30"/>
                    </a:lnTo>
                    <a:lnTo>
                      <a:pt x="10" y="30"/>
                    </a:lnTo>
                    <a:lnTo>
                      <a:pt x="7" y="28"/>
                    </a:lnTo>
                    <a:lnTo>
                      <a:pt x="3" y="25"/>
                    </a:lnTo>
                    <a:lnTo>
                      <a:pt x="1" y="20"/>
                    </a:lnTo>
                    <a:lnTo>
                      <a:pt x="0" y="16"/>
                    </a:lnTo>
                    <a:lnTo>
                      <a:pt x="1" y="11"/>
                    </a:lnTo>
                    <a:lnTo>
                      <a:pt x="3" y="7"/>
                    </a:lnTo>
                    <a:lnTo>
                      <a:pt x="7" y="4"/>
                    </a:lnTo>
                    <a:lnTo>
                      <a:pt x="10" y="1"/>
                    </a:lnTo>
                    <a:lnTo>
                      <a:pt x="15" y="0"/>
                    </a:lnTo>
                    <a:close/>
                  </a:path>
                </a:pathLst>
              </a:custGeom>
              <a:solidFill>
                <a:schemeClr val="accent5"/>
              </a:solidFill>
              <a:ln>
                <a:noFill/>
              </a:ln>
            </p:spPr>
            <p:txBody>
              <a:bodyPr/>
              <a:lstStyle/>
              <a:p>
                <a:endParaRPr lang="de-DE" dirty="0"/>
              </a:p>
            </p:txBody>
          </p:sp>
          <p:sp>
            <p:nvSpPr>
              <p:cNvPr id="1716" name="Freeform 476"/>
              <p:cNvSpPr>
                <a:spLocks/>
              </p:cNvSpPr>
              <p:nvPr/>
            </p:nvSpPr>
            <p:spPr bwMode="auto">
              <a:xfrm>
                <a:off x="113029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717" name="Freeform 477"/>
              <p:cNvSpPr>
                <a:spLocks/>
              </p:cNvSpPr>
              <p:nvPr/>
            </p:nvSpPr>
            <p:spPr bwMode="auto">
              <a:xfrm>
                <a:off x="113156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718" name="Freeform 478"/>
              <p:cNvSpPr>
                <a:spLocks/>
              </p:cNvSpPr>
              <p:nvPr/>
            </p:nvSpPr>
            <p:spPr bwMode="auto">
              <a:xfrm>
                <a:off x="11329913"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2" y="25"/>
                    </a:lnTo>
                    <a:lnTo>
                      <a:pt x="0" y="20"/>
                    </a:lnTo>
                    <a:lnTo>
                      <a:pt x="0" y="16"/>
                    </a:lnTo>
                    <a:lnTo>
                      <a:pt x="0" y="11"/>
                    </a:lnTo>
                    <a:lnTo>
                      <a:pt x="2" y="7"/>
                    </a:lnTo>
                    <a:lnTo>
                      <a:pt x="6" y="4"/>
                    </a:lnTo>
                    <a:lnTo>
                      <a:pt x="10" y="1"/>
                    </a:lnTo>
                    <a:lnTo>
                      <a:pt x="15" y="0"/>
                    </a:lnTo>
                    <a:close/>
                  </a:path>
                </a:pathLst>
              </a:custGeom>
              <a:solidFill>
                <a:schemeClr val="accent5"/>
              </a:solidFill>
              <a:ln>
                <a:noFill/>
              </a:ln>
            </p:spPr>
            <p:txBody>
              <a:bodyPr/>
              <a:lstStyle/>
              <a:p>
                <a:endParaRPr lang="de-DE" dirty="0"/>
              </a:p>
            </p:txBody>
          </p:sp>
          <p:sp>
            <p:nvSpPr>
              <p:cNvPr id="1719" name="Freeform 479"/>
              <p:cNvSpPr>
                <a:spLocks/>
              </p:cNvSpPr>
              <p:nvPr/>
            </p:nvSpPr>
            <p:spPr bwMode="auto">
              <a:xfrm>
                <a:off x="11344199" y="6061690"/>
                <a:ext cx="4762" cy="4763"/>
              </a:xfrm>
              <a:custGeom>
                <a:avLst/>
                <a:gdLst>
                  <a:gd name="T0" fmla="*/ 14 w 30"/>
                  <a:gd name="T1" fmla="*/ 0 h 30"/>
                  <a:gd name="T2" fmla="*/ 20 w 30"/>
                  <a:gd name="T3" fmla="*/ 1 h 30"/>
                  <a:gd name="T4" fmla="*/ 23 w 30"/>
                  <a:gd name="T5" fmla="*/ 4 h 30"/>
                  <a:gd name="T6" fmla="*/ 26 w 30"/>
                  <a:gd name="T7" fmla="*/ 7 h 30"/>
                  <a:gd name="T8" fmla="*/ 28 w 30"/>
                  <a:gd name="T9" fmla="*/ 11 h 30"/>
                  <a:gd name="T10" fmla="*/ 30 w 30"/>
                  <a:gd name="T11" fmla="*/ 16 h 30"/>
                  <a:gd name="T12" fmla="*/ 28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0 w 30"/>
                  <a:gd name="T29" fmla="*/ 20 h 30"/>
                  <a:gd name="T30" fmla="*/ 0 w 30"/>
                  <a:gd name="T31" fmla="*/ 16 h 30"/>
                  <a:gd name="T32" fmla="*/ 0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8" y="11"/>
                    </a:lnTo>
                    <a:lnTo>
                      <a:pt x="30" y="16"/>
                    </a:lnTo>
                    <a:lnTo>
                      <a:pt x="28" y="20"/>
                    </a:lnTo>
                    <a:lnTo>
                      <a:pt x="26" y="25"/>
                    </a:lnTo>
                    <a:lnTo>
                      <a:pt x="23" y="28"/>
                    </a:lnTo>
                    <a:lnTo>
                      <a:pt x="20" y="30"/>
                    </a:lnTo>
                    <a:lnTo>
                      <a:pt x="14" y="30"/>
                    </a:lnTo>
                    <a:lnTo>
                      <a:pt x="10" y="30"/>
                    </a:lnTo>
                    <a:lnTo>
                      <a:pt x="5" y="28"/>
                    </a:lnTo>
                    <a:lnTo>
                      <a:pt x="2" y="25"/>
                    </a:lnTo>
                    <a:lnTo>
                      <a:pt x="0" y="20"/>
                    </a:lnTo>
                    <a:lnTo>
                      <a:pt x="0" y="16"/>
                    </a:lnTo>
                    <a:lnTo>
                      <a:pt x="0"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720" name="Freeform 480"/>
              <p:cNvSpPr>
                <a:spLocks/>
              </p:cNvSpPr>
              <p:nvPr/>
            </p:nvSpPr>
            <p:spPr bwMode="auto">
              <a:xfrm>
                <a:off x="11358485" y="6061690"/>
                <a:ext cx="4762" cy="4763"/>
              </a:xfrm>
              <a:custGeom>
                <a:avLst/>
                <a:gdLst>
                  <a:gd name="T0" fmla="*/ 16 w 30"/>
                  <a:gd name="T1" fmla="*/ 0 h 30"/>
                  <a:gd name="T2" fmla="*/ 20 w 30"/>
                  <a:gd name="T3" fmla="*/ 1 h 30"/>
                  <a:gd name="T4" fmla="*/ 23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3 w 30"/>
                  <a:gd name="T17" fmla="*/ 28 h 30"/>
                  <a:gd name="T18" fmla="*/ 20 w 30"/>
                  <a:gd name="T19" fmla="*/ 30 h 30"/>
                  <a:gd name="T20" fmla="*/ 16 w 30"/>
                  <a:gd name="T21" fmla="*/ 30 h 30"/>
                  <a:gd name="T22" fmla="*/ 10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7"/>
                    </a:lnTo>
                    <a:lnTo>
                      <a:pt x="29" y="11"/>
                    </a:lnTo>
                    <a:lnTo>
                      <a:pt x="30" y="16"/>
                    </a:lnTo>
                    <a:lnTo>
                      <a:pt x="29" y="20"/>
                    </a:lnTo>
                    <a:lnTo>
                      <a:pt x="27" y="25"/>
                    </a:lnTo>
                    <a:lnTo>
                      <a:pt x="23" y="28"/>
                    </a:lnTo>
                    <a:lnTo>
                      <a:pt x="20" y="30"/>
                    </a:lnTo>
                    <a:lnTo>
                      <a:pt x="16" y="30"/>
                    </a:lnTo>
                    <a:lnTo>
                      <a:pt x="10" y="30"/>
                    </a:lnTo>
                    <a:lnTo>
                      <a:pt x="7" y="28"/>
                    </a:lnTo>
                    <a:lnTo>
                      <a:pt x="3" y="25"/>
                    </a:lnTo>
                    <a:lnTo>
                      <a:pt x="1" y="20"/>
                    </a:lnTo>
                    <a:lnTo>
                      <a:pt x="0" y="16"/>
                    </a:lnTo>
                    <a:lnTo>
                      <a:pt x="1" y="11"/>
                    </a:lnTo>
                    <a:lnTo>
                      <a:pt x="3" y="7"/>
                    </a:lnTo>
                    <a:lnTo>
                      <a:pt x="7" y="4"/>
                    </a:lnTo>
                    <a:lnTo>
                      <a:pt x="10" y="1"/>
                    </a:lnTo>
                    <a:lnTo>
                      <a:pt x="16" y="0"/>
                    </a:lnTo>
                    <a:close/>
                  </a:path>
                </a:pathLst>
              </a:custGeom>
              <a:solidFill>
                <a:schemeClr val="accent5"/>
              </a:solidFill>
              <a:ln>
                <a:noFill/>
              </a:ln>
            </p:spPr>
            <p:txBody>
              <a:bodyPr/>
              <a:lstStyle/>
              <a:p>
                <a:endParaRPr lang="de-DE" dirty="0"/>
              </a:p>
            </p:txBody>
          </p:sp>
          <p:sp>
            <p:nvSpPr>
              <p:cNvPr id="1721" name="Freeform 481"/>
              <p:cNvSpPr>
                <a:spLocks/>
              </p:cNvSpPr>
              <p:nvPr/>
            </p:nvSpPr>
            <p:spPr bwMode="auto">
              <a:xfrm>
                <a:off x="11371184" y="6061690"/>
                <a:ext cx="4762" cy="4763"/>
              </a:xfrm>
              <a:custGeom>
                <a:avLst/>
                <a:gdLst>
                  <a:gd name="T0" fmla="*/ 15 w 29"/>
                  <a:gd name="T1" fmla="*/ 0 h 30"/>
                  <a:gd name="T2" fmla="*/ 19 w 29"/>
                  <a:gd name="T3" fmla="*/ 1 h 30"/>
                  <a:gd name="T4" fmla="*/ 24 w 29"/>
                  <a:gd name="T5" fmla="*/ 4 h 30"/>
                  <a:gd name="T6" fmla="*/ 27 w 29"/>
                  <a:gd name="T7" fmla="*/ 7 h 30"/>
                  <a:gd name="T8" fmla="*/ 28 w 29"/>
                  <a:gd name="T9" fmla="*/ 11 h 30"/>
                  <a:gd name="T10" fmla="*/ 29 w 29"/>
                  <a:gd name="T11" fmla="*/ 16 h 30"/>
                  <a:gd name="T12" fmla="*/ 28 w 29"/>
                  <a:gd name="T13" fmla="*/ 20 h 30"/>
                  <a:gd name="T14" fmla="*/ 27 w 29"/>
                  <a:gd name="T15" fmla="*/ 25 h 30"/>
                  <a:gd name="T16" fmla="*/ 24 w 29"/>
                  <a:gd name="T17" fmla="*/ 28 h 30"/>
                  <a:gd name="T18" fmla="*/ 19 w 29"/>
                  <a:gd name="T19" fmla="*/ 30 h 30"/>
                  <a:gd name="T20" fmla="*/ 15 w 29"/>
                  <a:gd name="T21" fmla="*/ 30 h 30"/>
                  <a:gd name="T22" fmla="*/ 9 w 29"/>
                  <a:gd name="T23" fmla="*/ 30 h 30"/>
                  <a:gd name="T24" fmla="*/ 6 w 29"/>
                  <a:gd name="T25" fmla="*/ 28 h 30"/>
                  <a:gd name="T26" fmla="*/ 3 w 29"/>
                  <a:gd name="T27" fmla="*/ 25 h 30"/>
                  <a:gd name="T28" fmla="*/ 1 w 29"/>
                  <a:gd name="T29" fmla="*/ 20 h 30"/>
                  <a:gd name="T30" fmla="*/ 0 w 29"/>
                  <a:gd name="T31" fmla="*/ 16 h 30"/>
                  <a:gd name="T32" fmla="*/ 1 w 29"/>
                  <a:gd name="T33" fmla="*/ 11 h 30"/>
                  <a:gd name="T34" fmla="*/ 3 w 29"/>
                  <a:gd name="T35" fmla="*/ 7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7"/>
                    </a:lnTo>
                    <a:lnTo>
                      <a:pt x="28" y="11"/>
                    </a:lnTo>
                    <a:lnTo>
                      <a:pt x="29" y="16"/>
                    </a:lnTo>
                    <a:lnTo>
                      <a:pt x="28" y="20"/>
                    </a:lnTo>
                    <a:lnTo>
                      <a:pt x="27" y="25"/>
                    </a:lnTo>
                    <a:lnTo>
                      <a:pt x="24" y="28"/>
                    </a:lnTo>
                    <a:lnTo>
                      <a:pt x="19" y="30"/>
                    </a:lnTo>
                    <a:lnTo>
                      <a:pt x="15" y="30"/>
                    </a:lnTo>
                    <a:lnTo>
                      <a:pt x="9" y="30"/>
                    </a:lnTo>
                    <a:lnTo>
                      <a:pt x="6" y="28"/>
                    </a:lnTo>
                    <a:lnTo>
                      <a:pt x="3" y="25"/>
                    </a:lnTo>
                    <a:lnTo>
                      <a:pt x="1" y="20"/>
                    </a:lnTo>
                    <a:lnTo>
                      <a:pt x="0" y="16"/>
                    </a:lnTo>
                    <a:lnTo>
                      <a:pt x="1" y="11"/>
                    </a:lnTo>
                    <a:lnTo>
                      <a:pt x="3" y="7"/>
                    </a:lnTo>
                    <a:lnTo>
                      <a:pt x="6" y="4"/>
                    </a:lnTo>
                    <a:lnTo>
                      <a:pt x="9" y="1"/>
                    </a:lnTo>
                    <a:lnTo>
                      <a:pt x="15" y="0"/>
                    </a:lnTo>
                    <a:close/>
                  </a:path>
                </a:pathLst>
              </a:custGeom>
              <a:solidFill>
                <a:schemeClr val="accent5"/>
              </a:solidFill>
              <a:ln>
                <a:noFill/>
              </a:ln>
            </p:spPr>
            <p:txBody>
              <a:bodyPr/>
              <a:lstStyle/>
              <a:p>
                <a:endParaRPr lang="de-DE" dirty="0"/>
              </a:p>
            </p:txBody>
          </p:sp>
          <p:sp>
            <p:nvSpPr>
              <p:cNvPr id="1722" name="Freeform 482"/>
              <p:cNvSpPr>
                <a:spLocks/>
              </p:cNvSpPr>
              <p:nvPr/>
            </p:nvSpPr>
            <p:spPr bwMode="auto">
              <a:xfrm>
                <a:off x="11385470" y="6061690"/>
                <a:ext cx="4762" cy="4763"/>
              </a:xfrm>
              <a:custGeom>
                <a:avLst/>
                <a:gdLst>
                  <a:gd name="T0" fmla="*/ 15 w 30"/>
                  <a:gd name="T1" fmla="*/ 0 h 30"/>
                  <a:gd name="T2" fmla="*/ 20 w 30"/>
                  <a:gd name="T3" fmla="*/ 1 h 30"/>
                  <a:gd name="T4" fmla="*/ 24 w 30"/>
                  <a:gd name="T5" fmla="*/ 4 h 30"/>
                  <a:gd name="T6" fmla="*/ 28 w 30"/>
                  <a:gd name="T7" fmla="*/ 7 h 30"/>
                  <a:gd name="T8" fmla="*/ 30 w 30"/>
                  <a:gd name="T9" fmla="*/ 11 h 30"/>
                  <a:gd name="T10" fmla="*/ 30 w 30"/>
                  <a:gd name="T11" fmla="*/ 16 h 30"/>
                  <a:gd name="T12" fmla="*/ 30 w 30"/>
                  <a:gd name="T13" fmla="*/ 20 h 30"/>
                  <a:gd name="T14" fmla="*/ 28 w 30"/>
                  <a:gd name="T15" fmla="*/ 25 h 30"/>
                  <a:gd name="T16" fmla="*/ 24 w 30"/>
                  <a:gd name="T17" fmla="*/ 28 h 30"/>
                  <a:gd name="T18" fmla="*/ 20 w 30"/>
                  <a:gd name="T19" fmla="*/ 30 h 30"/>
                  <a:gd name="T20" fmla="*/ 15 w 30"/>
                  <a:gd name="T21" fmla="*/ 30 h 30"/>
                  <a:gd name="T22" fmla="*/ 11 w 30"/>
                  <a:gd name="T23" fmla="*/ 30 h 30"/>
                  <a:gd name="T24" fmla="*/ 7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7"/>
                    </a:lnTo>
                    <a:lnTo>
                      <a:pt x="30" y="11"/>
                    </a:lnTo>
                    <a:lnTo>
                      <a:pt x="30" y="16"/>
                    </a:lnTo>
                    <a:lnTo>
                      <a:pt x="30" y="20"/>
                    </a:lnTo>
                    <a:lnTo>
                      <a:pt x="28" y="25"/>
                    </a:lnTo>
                    <a:lnTo>
                      <a:pt x="24" y="28"/>
                    </a:lnTo>
                    <a:lnTo>
                      <a:pt x="20" y="30"/>
                    </a:lnTo>
                    <a:lnTo>
                      <a:pt x="15" y="30"/>
                    </a:lnTo>
                    <a:lnTo>
                      <a:pt x="11" y="30"/>
                    </a:lnTo>
                    <a:lnTo>
                      <a:pt x="7" y="28"/>
                    </a:lnTo>
                    <a:lnTo>
                      <a:pt x="3" y="25"/>
                    </a:lnTo>
                    <a:lnTo>
                      <a:pt x="1" y="20"/>
                    </a:lnTo>
                    <a:lnTo>
                      <a:pt x="0" y="16"/>
                    </a:lnTo>
                    <a:lnTo>
                      <a:pt x="1" y="11"/>
                    </a:lnTo>
                    <a:lnTo>
                      <a:pt x="3" y="7"/>
                    </a:lnTo>
                    <a:lnTo>
                      <a:pt x="7" y="4"/>
                    </a:lnTo>
                    <a:lnTo>
                      <a:pt x="11" y="1"/>
                    </a:lnTo>
                    <a:lnTo>
                      <a:pt x="15" y="0"/>
                    </a:lnTo>
                    <a:close/>
                  </a:path>
                </a:pathLst>
              </a:custGeom>
              <a:solidFill>
                <a:schemeClr val="accent5"/>
              </a:solidFill>
              <a:ln>
                <a:noFill/>
              </a:ln>
            </p:spPr>
            <p:txBody>
              <a:bodyPr/>
              <a:lstStyle/>
              <a:p>
                <a:endParaRPr lang="de-DE" dirty="0"/>
              </a:p>
            </p:txBody>
          </p:sp>
          <p:sp>
            <p:nvSpPr>
              <p:cNvPr id="1723" name="Freeform 483"/>
              <p:cNvSpPr>
                <a:spLocks/>
              </p:cNvSpPr>
              <p:nvPr/>
            </p:nvSpPr>
            <p:spPr bwMode="auto">
              <a:xfrm>
                <a:off x="11399756" y="6061690"/>
                <a:ext cx="4762" cy="4763"/>
              </a:xfrm>
              <a:custGeom>
                <a:avLst/>
                <a:gdLst>
                  <a:gd name="T0" fmla="*/ 15 w 30"/>
                  <a:gd name="T1" fmla="*/ 0 h 30"/>
                  <a:gd name="T2" fmla="*/ 19 w 30"/>
                  <a:gd name="T3" fmla="*/ 1 h 30"/>
                  <a:gd name="T4" fmla="*/ 24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4 w 30"/>
                  <a:gd name="T17" fmla="*/ 28 h 30"/>
                  <a:gd name="T18" fmla="*/ 19 w 30"/>
                  <a:gd name="T19" fmla="*/ 30 h 30"/>
                  <a:gd name="T20" fmla="*/ 15 w 30"/>
                  <a:gd name="T21" fmla="*/ 30 h 30"/>
                  <a:gd name="T22" fmla="*/ 10 w 30"/>
                  <a:gd name="T23" fmla="*/ 30 h 30"/>
                  <a:gd name="T24" fmla="*/ 6 w 30"/>
                  <a:gd name="T25" fmla="*/ 28 h 30"/>
                  <a:gd name="T26" fmla="*/ 3 w 30"/>
                  <a:gd name="T27" fmla="*/ 25 h 30"/>
                  <a:gd name="T28" fmla="*/ 0 w 30"/>
                  <a:gd name="T29" fmla="*/ 20 h 30"/>
                  <a:gd name="T30" fmla="*/ 0 w 30"/>
                  <a:gd name="T31" fmla="*/ 16 h 30"/>
                  <a:gd name="T32" fmla="*/ 0 w 30"/>
                  <a:gd name="T33" fmla="*/ 11 h 30"/>
                  <a:gd name="T34" fmla="*/ 3 w 30"/>
                  <a:gd name="T35" fmla="*/ 7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7"/>
                    </a:lnTo>
                    <a:lnTo>
                      <a:pt x="29" y="11"/>
                    </a:lnTo>
                    <a:lnTo>
                      <a:pt x="30" y="16"/>
                    </a:lnTo>
                    <a:lnTo>
                      <a:pt x="29" y="20"/>
                    </a:lnTo>
                    <a:lnTo>
                      <a:pt x="27" y="25"/>
                    </a:lnTo>
                    <a:lnTo>
                      <a:pt x="24" y="28"/>
                    </a:lnTo>
                    <a:lnTo>
                      <a:pt x="19" y="30"/>
                    </a:lnTo>
                    <a:lnTo>
                      <a:pt x="15" y="30"/>
                    </a:lnTo>
                    <a:lnTo>
                      <a:pt x="10" y="30"/>
                    </a:lnTo>
                    <a:lnTo>
                      <a:pt x="6" y="28"/>
                    </a:lnTo>
                    <a:lnTo>
                      <a:pt x="3" y="25"/>
                    </a:lnTo>
                    <a:lnTo>
                      <a:pt x="0" y="20"/>
                    </a:lnTo>
                    <a:lnTo>
                      <a:pt x="0" y="16"/>
                    </a:lnTo>
                    <a:lnTo>
                      <a:pt x="0" y="11"/>
                    </a:lnTo>
                    <a:lnTo>
                      <a:pt x="3" y="7"/>
                    </a:lnTo>
                    <a:lnTo>
                      <a:pt x="6" y="4"/>
                    </a:lnTo>
                    <a:lnTo>
                      <a:pt x="10" y="1"/>
                    </a:lnTo>
                    <a:lnTo>
                      <a:pt x="15" y="0"/>
                    </a:lnTo>
                    <a:close/>
                  </a:path>
                </a:pathLst>
              </a:custGeom>
              <a:solidFill>
                <a:schemeClr val="accent5"/>
              </a:solidFill>
              <a:ln>
                <a:noFill/>
              </a:ln>
            </p:spPr>
            <p:txBody>
              <a:bodyPr/>
              <a:lstStyle/>
              <a:p>
                <a:endParaRPr lang="de-DE" dirty="0"/>
              </a:p>
            </p:txBody>
          </p:sp>
          <p:sp>
            <p:nvSpPr>
              <p:cNvPr id="1724" name="Freeform 484"/>
              <p:cNvSpPr>
                <a:spLocks/>
              </p:cNvSpPr>
              <p:nvPr/>
            </p:nvSpPr>
            <p:spPr bwMode="auto">
              <a:xfrm>
                <a:off x="11414042" y="6061690"/>
                <a:ext cx="4762" cy="4763"/>
              </a:xfrm>
              <a:custGeom>
                <a:avLst/>
                <a:gdLst>
                  <a:gd name="T0" fmla="*/ 14 w 30"/>
                  <a:gd name="T1" fmla="*/ 0 h 30"/>
                  <a:gd name="T2" fmla="*/ 20 w 30"/>
                  <a:gd name="T3" fmla="*/ 1 h 30"/>
                  <a:gd name="T4" fmla="*/ 23 w 30"/>
                  <a:gd name="T5" fmla="*/ 4 h 30"/>
                  <a:gd name="T6" fmla="*/ 26 w 30"/>
                  <a:gd name="T7" fmla="*/ 7 h 30"/>
                  <a:gd name="T8" fmla="*/ 29 w 30"/>
                  <a:gd name="T9" fmla="*/ 11 h 30"/>
                  <a:gd name="T10" fmla="*/ 30 w 30"/>
                  <a:gd name="T11" fmla="*/ 16 h 30"/>
                  <a:gd name="T12" fmla="*/ 29 w 30"/>
                  <a:gd name="T13" fmla="*/ 20 h 30"/>
                  <a:gd name="T14" fmla="*/ 26 w 30"/>
                  <a:gd name="T15" fmla="*/ 25 h 30"/>
                  <a:gd name="T16" fmla="*/ 23 w 30"/>
                  <a:gd name="T17" fmla="*/ 28 h 30"/>
                  <a:gd name="T18" fmla="*/ 20 w 30"/>
                  <a:gd name="T19" fmla="*/ 30 h 30"/>
                  <a:gd name="T20" fmla="*/ 14 w 30"/>
                  <a:gd name="T21" fmla="*/ 30 h 30"/>
                  <a:gd name="T22" fmla="*/ 10 w 30"/>
                  <a:gd name="T23" fmla="*/ 30 h 30"/>
                  <a:gd name="T24" fmla="*/ 5 w 30"/>
                  <a:gd name="T25" fmla="*/ 28 h 30"/>
                  <a:gd name="T26" fmla="*/ 2 w 30"/>
                  <a:gd name="T27" fmla="*/ 25 h 30"/>
                  <a:gd name="T28" fmla="*/ 1 w 30"/>
                  <a:gd name="T29" fmla="*/ 20 h 30"/>
                  <a:gd name="T30" fmla="*/ 0 w 30"/>
                  <a:gd name="T31" fmla="*/ 16 h 30"/>
                  <a:gd name="T32" fmla="*/ 1 w 30"/>
                  <a:gd name="T33" fmla="*/ 11 h 30"/>
                  <a:gd name="T34" fmla="*/ 2 w 30"/>
                  <a:gd name="T35" fmla="*/ 7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7"/>
                    </a:lnTo>
                    <a:lnTo>
                      <a:pt x="29" y="11"/>
                    </a:lnTo>
                    <a:lnTo>
                      <a:pt x="30" y="16"/>
                    </a:lnTo>
                    <a:lnTo>
                      <a:pt x="29" y="20"/>
                    </a:lnTo>
                    <a:lnTo>
                      <a:pt x="26" y="25"/>
                    </a:lnTo>
                    <a:lnTo>
                      <a:pt x="23" y="28"/>
                    </a:lnTo>
                    <a:lnTo>
                      <a:pt x="20" y="30"/>
                    </a:lnTo>
                    <a:lnTo>
                      <a:pt x="14" y="30"/>
                    </a:lnTo>
                    <a:lnTo>
                      <a:pt x="10" y="30"/>
                    </a:lnTo>
                    <a:lnTo>
                      <a:pt x="5" y="28"/>
                    </a:lnTo>
                    <a:lnTo>
                      <a:pt x="2" y="25"/>
                    </a:lnTo>
                    <a:lnTo>
                      <a:pt x="1" y="20"/>
                    </a:lnTo>
                    <a:lnTo>
                      <a:pt x="0" y="16"/>
                    </a:lnTo>
                    <a:lnTo>
                      <a:pt x="1" y="11"/>
                    </a:lnTo>
                    <a:lnTo>
                      <a:pt x="2" y="7"/>
                    </a:lnTo>
                    <a:lnTo>
                      <a:pt x="5" y="4"/>
                    </a:lnTo>
                    <a:lnTo>
                      <a:pt x="10" y="1"/>
                    </a:lnTo>
                    <a:lnTo>
                      <a:pt x="14" y="0"/>
                    </a:lnTo>
                    <a:close/>
                  </a:path>
                </a:pathLst>
              </a:custGeom>
              <a:solidFill>
                <a:schemeClr val="accent5"/>
              </a:solidFill>
              <a:ln>
                <a:noFill/>
              </a:ln>
            </p:spPr>
            <p:txBody>
              <a:bodyPr/>
              <a:lstStyle/>
              <a:p>
                <a:endParaRPr lang="de-DE" dirty="0"/>
              </a:p>
            </p:txBody>
          </p:sp>
          <p:sp>
            <p:nvSpPr>
              <p:cNvPr id="1725" name="Freeform 485"/>
              <p:cNvSpPr>
                <a:spLocks/>
              </p:cNvSpPr>
              <p:nvPr/>
            </p:nvSpPr>
            <p:spPr bwMode="auto">
              <a:xfrm>
                <a:off x="11428328" y="6061690"/>
                <a:ext cx="4762" cy="4763"/>
              </a:xfrm>
              <a:custGeom>
                <a:avLst/>
                <a:gdLst>
                  <a:gd name="T0" fmla="*/ 16 w 30"/>
                  <a:gd name="T1" fmla="*/ 0 h 30"/>
                  <a:gd name="T2" fmla="*/ 20 w 30"/>
                  <a:gd name="T3" fmla="*/ 1 h 30"/>
                  <a:gd name="T4" fmla="*/ 25 w 30"/>
                  <a:gd name="T5" fmla="*/ 4 h 30"/>
                  <a:gd name="T6" fmla="*/ 27 w 30"/>
                  <a:gd name="T7" fmla="*/ 7 h 30"/>
                  <a:gd name="T8" fmla="*/ 29 w 30"/>
                  <a:gd name="T9" fmla="*/ 11 h 30"/>
                  <a:gd name="T10" fmla="*/ 30 w 30"/>
                  <a:gd name="T11" fmla="*/ 16 h 30"/>
                  <a:gd name="T12" fmla="*/ 29 w 30"/>
                  <a:gd name="T13" fmla="*/ 20 h 30"/>
                  <a:gd name="T14" fmla="*/ 27 w 30"/>
                  <a:gd name="T15" fmla="*/ 25 h 30"/>
                  <a:gd name="T16" fmla="*/ 25 w 30"/>
                  <a:gd name="T17" fmla="*/ 28 h 30"/>
                  <a:gd name="T18" fmla="*/ 20 w 30"/>
                  <a:gd name="T19" fmla="*/ 30 h 30"/>
                  <a:gd name="T20" fmla="*/ 16 w 30"/>
                  <a:gd name="T21" fmla="*/ 30 h 30"/>
                  <a:gd name="T22" fmla="*/ 10 w 30"/>
                  <a:gd name="T23" fmla="*/ 30 h 30"/>
                  <a:gd name="T24" fmla="*/ 7 w 30"/>
                  <a:gd name="T25" fmla="*/ 28 h 30"/>
                  <a:gd name="T26" fmla="*/ 4 w 30"/>
                  <a:gd name="T27" fmla="*/ 25 h 30"/>
                  <a:gd name="T28" fmla="*/ 1 w 30"/>
                  <a:gd name="T29" fmla="*/ 20 h 30"/>
                  <a:gd name="T30" fmla="*/ 0 w 30"/>
                  <a:gd name="T31" fmla="*/ 16 h 30"/>
                  <a:gd name="T32" fmla="*/ 1 w 30"/>
                  <a:gd name="T33" fmla="*/ 11 h 30"/>
                  <a:gd name="T34" fmla="*/ 4 w 30"/>
                  <a:gd name="T35" fmla="*/ 7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7"/>
                    </a:lnTo>
                    <a:lnTo>
                      <a:pt x="29" y="11"/>
                    </a:lnTo>
                    <a:lnTo>
                      <a:pt x="30" y="16"/>
                    </a:lnTo>
                    <a:lnTo>
                      <a:pt x="29" y="20"/>
                    </a:lnTo>
                    <a:lnTo>
                      <a:pt x="27" y="25"/>
                    </a:lnTo>
                    <a:lnTo>
                      <a:pt x="25" y="28"/>
                    </a:lnTo>
                    <a:lnTo>
                      <a:pt x="20" y="30"/>
                    </a:lnTo>
                    <a:lnTo>
                      <a:pt x="16" y="30"/>
                    </a:lnTo>
                    <a:lnTo>
                      <a:pt x="10" y="30"/>
                    </a:lnTo>
                    <a:lnTo>
                      <a:pt x="7" y="28"/>
                    </a:lnTo>
                    <a:lnTo>
                      <a:pt x="4" y="25"/>
                    </a:lnTo>
                    <a:lnTo>
                      <a:pt x="1" y="20"/>
                    </a:lnTo>
                    <a:lnTo>
                      <a:pt x="0" y="16"/>
                    </a:lnTo>
                    <a:lnTo>
                      <a:pt x="1" y="11"/>
                    </a:lnTo>
                    <a:lnTo>
                      <a:pt x="4" y="7"/>
                    </a:lnTo>
                    <a:lnTo>
                      <a:pt x="7" y="4"/>
                    </a:lnTo>
                    <a:lnTo>
                      <a:pt x="10" y="1"/>
                    </a:lnTo>
                    <a:lnTo>
                      <a:pt x="16" y="0"/>
                    </a:lnTo>
                    <a:close/>
                  </a:path>
                </a:pathLst>
              </a:custGeom>
              <a:solidFill>
                <a:schemeClr val="accent5"/>
              </a:solidFill>
              <a:ln>
                <a:noFill/>
              </a:ln>
            </p:spPr>
            <p:txBody>
              <a:bodyPr/>
              <a:lstStyle/>
              <a:p>
                <a:endParaRPr lang="de-DE" dirty="0"/>
              </a:p>
            </p:txBody>
          </p:sp>
          <p:sp>
            <p:nvSpPr>
              <p:cNvPr id="1726" name="Freeform 486"/>
              <p:cNvSpPr>
                <a:spLocks/>
              </p:cNvSpPr>
              <p:nvPr/>
            </p:nvSpPr>
            <p:spPr bwMode="auto">
              <a:xfrm>
                <a:off x="11441027" y="6061690"/>
                <a:ext cx="4762" cy="4763"/>
              </a:xfrm>
              <a:custGeom>
                <a:avLst/>
                <a:gdLst>
                  <a:gd name="T0" fmla="*/ 15 w 30"/>
                  <a:gd name="T1" fmla="*/ 0 h 30"/>
                  <a:gd name="T2" fmla="*/ 20 w 30"/>
                  <a:gd name="T3" fmla="*/ 1 h 30"/>
                  <a:gd name="T4" fmla="*/ 24 w 30"/>
                  <a:gd name="T5" fmla="*/ 4 h 30"/>
                  <a:gd name="T6" fmla="*/ 27 w 30"/>
                  <a:gd name="T7" fmla="*/ 7 h 30"/>
                  <a:gd name="T8" fmla="*/ 30 w 30"/>
                  <a:gd name="T9" fmla="*/ 11 h 30"/>
                  <a:gd name="T10" fmla="*/ 30 w 30"/>
                  <a:gd name="T11" fmla="*/ 16 h 30"/>
                  <a:gd name="T12" fmla="*/ 30 w 30"/>
                  <a:gd name="T13" fmla="*/ 20 h 30"/>
                  <a:gd name="T14" fmla="*/ 27 w 30"/>
                  <a:gd name="T15" fmla="*/ 25 h 30"/>
                  <a:gd name="T16" fmla="*/ 24 w 30"/>
                  <a:gd name="T17" fmla="*/ 28 h 30"/>
                  <a:gd name="T18" fmla="*/ 20 w 30"/>
                  <a:gd name="T19" fmla="*/ 30 h 30"/>
                  <a:gd name="T20" fmla="*/ 15 w 30"/>
                  <a:gd name="T21" fmla="*/ 30 h 30"/>
                  <a:gd name="T22" fmla="*/ 11 w 30"/>
                  <a:gd name="T23" fmla="*/ 30 h 30"/>
                  <a:gd name="T24" fmla="*/ 6 w 30"/>
                  <a:gd name="T25" fmla="*/ 28 h 30"/>
                  <a:gd name="T26" fmla="*/ 3 w 30"/>
                  <a:gd name="T27" fmla="*/ 25 h 30"/>
                  <a:gd name="T28" fmla="*/ 1 w 30"/>
                  <a:gd name="T29" fmla="*/ 20 h 30"/>
                  <a:gd name="T30" fmla="*/ 0 w 30"/>
                  <a:gd name="T31" fmla="*/ 16 h 30"/>
                  <a:gd name="T32" fmla="*/ 1 w 30"/>
                  <a:gd name="T33" fmla="*/ 11 h 30"/>
                  <a:gd name="T34" fmla="*/ 3 w 30"/>
                  <a:gd name="T35" fmla="*/ 7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7"/>
                    </a:lnTo>
                    <a:lnTo>
                      <a:pt x="30" y="11"/>
                    </a:lnTo>
                    <a:lnTo>
                      <a:pt x="30" y="16"/>
                    </a:lnTo>
                    <a:lnTo>
                      <a:pt x="30" y="20"/>
                    </a:lnTo>
                    <a:lnTo>
                      <a:pt x="27" y="25"/>
                    </a:lnTo>
                    <a:lnTo>
                      <a:pt x="24" y="28"/>
                    </a:lnTo>
                    <a:lnTo>
                      <a:pt x="20" y="30"/>
                    </a:lnTo>
                    <a:lnTo>
                      <a:pt x="15" y="30"/>
                    </a:lnTo>
                    <a:lnTo>
                      <a:pt x="11" y="30"/>
                    </a:lnTo>
                    <a:lnTo>
                      <a:pt x="6" y="28"/>
                    </a:lnTo>
                    <a:lnTo>
                      <a:pt x="3" y="25"/>
                    </a:lnTo>
                    <a:lnTo>
                      <a:pt x="1" y="20"/>
                    </a:lnTo>
                    <a:lnTo>
                      <a:pt x="0" y="16"/>
                    </a:lnTo>
                    <a:lnTo>
                      <a:pt x="1" y="11"/>
                    </a:lnTo>
                    <a:lnTo>
                      <a:pt x="3" y="7"/>
                    </a:lnTo>
                    <a:lnTo>
                      <a:pt x="6" y="4"/>
                    </a:lnTo>
                    <a:lnTo>
                      <a:pt x="11" y="1"/>
                    </a:lnTo>
                    <a:lnTo>
                      <a:pt x="15" y="0"/>
                    </a:lnTo>
                    <a:close/>
                  </a:path>
                </a:pathLst>
              </a:custGeom>
              <a:solidFill>
                <a:schemeClr val="accent5"/>
              </a:solidFill>
              <a:ln>
                <a:noFill/>
              </a:ln>
            </p:spPr>
            <p:txBody>
              <a:bodyPr/>
              <a:lstStyle/>
              <a:p>
                <a:endParaRPr lang="de-DE" dirty="0"/>
              </a:p>
            </p:txBody>
          </p:sp>
          <p:sp>
            <p:nvSpPr>
              <p:cNvPr id="1727" name="Freeform 487"/>
              <p:cNvSpPr>
                <a:spLocks/>
              </p:cNvSpPr>
              <p:nvPr/>
            </p:nvSpPr>
            <p:spPr bwMode="auto">
              <a:xfrm>
                <a:off x="10967999"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728" name="Freeform 488"/>
              <p:cNvSpPr>
                <a:spLocks/>
              </p:cNvSpPr>
              <p:nvPr/>
            </p:nvSpPr>
            <p:spPr bwMode="auto">
              <a:xfrm>
                <a:off x="10982285"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29" name="Freeform 489"/>
              <p:cNvSpPr>
                <a:spLocks/>
              </p:cNvSpPr>
              <p:nvPr/>
            </p:nvSpPr>
            <p:spPr bwMode="auto">
              <a:xfrm>
                <a:off x="10996571" y="5736216"/>
                <a:ext cx="4762" cy="4763"/>
              </a:xfrm>
              <a:custGeom>
                <a:avLst/>
                <a:gdLst>
                  <a:gd name="T0" fmla="*/ 14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4"/>
                    </a:lnTo>
                    <a:lnTo>
                      <a:pt x="27" y="6"/>
                    </a:lnTo>
                    <a:lnTo>
                      <a:pt x="29" y="10"/>
                    </a:lnTo>
                    <a:lnTo>
                      <a:pt x="30" y="15"/>
                    </a:lnTo>
                    <a:lnTo>
                      <a:pt x="29" y="20"/>
                    </a:lnTo>
                    <a:lnTo>
                      <a:pt x="27" y="23"/>
                    </a:lnTo>
                    <a:lnTo>
                      <a:pt x="23" y="27"/>
                    </a:lnTo>
                    <a:lnTo>
                      <a:pt x="19" y="29"/>
                    </a:lnTo>
                    <a:lnTo>
                      <a:pt x="14" y="30"/>
                    </a:lnTo>
                    <a:lnTo>
                      <a:pt x="10" y="29"/>
                    </a:lnTo>
                    <a:lnTo>
                      <a:pt x="6" y="27"/>
                    </a:lnTo>
                    <a:lnTo>
                      <a:pt x="2" y="23"/>
                    </a:lnTo>
                    <a:lnTo>
                      <a:pt x="0" y="20"/>
                    </a:lnTo>
                    <a:lnTo>
                      <a:pt x="0" y="15"/>
                    </a:lnTo>
                    <a:lnTo>
                      <a:pt x="0" y="10"/>
                    </a:lnTo>
                    <a:lnTo>
                      <a:pt x="2" y="6"/>
                    </a:lnTo>
                    <a:lnTo>
                      <a:pt x="6" y="4"/>
                    </a:lnTo>
                    <a:lnTo>
                      <a:pt x="10" y="1"/>
                    </a:lnTo>
                    <a:lnTo>
                      <a:pt x="14" y="0"/>
                    </a:lnTo>
                    <a:close/>
                  </a:path>
                </a:pathLst>
              </a:custGeom>
              <a:solidFill>
                <a:schemeClr val="accent5"/>
              </a:solidFill>
              <a:ln>
                <a:noFill/>
              </a:ln>
            </p:spPr>
            <p:txBody>
              <a:bodyPr/>
              <a:lstStyle/>
              <a:p>
                <a:endParaRPr lang="de-DE" dirty="0"/>
              </a:p>
            </p:txBody>
          </p:sp>
          <p:sp>
            <p:nvSpPr>
              <p:cNvPr id="1730" name="Freeform 490"/>
              <p:cNvSpPr>
                <a:spLocks/>
              </p:cNvSpPr>
              <p:nvPr/>
            </p:nvSpPr>
            <p:spPr bwMode="auto">
              <a:xfrm>
                <a:off x="11010857" y="5736216"/>
                <a:ext cx="4762" cy="4763"/>
              </a:xfrm>
              <a:custGeom>
                <a:avLst/>
                <a:gdLst>
                  <a:gd name="T0" fmla="*/ 15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29" y="10"/>
                    </a:lnTo>
                    <a:lnTo>
                      <a:pt x="30" y="15"/>
                    </a:lnTo>
                    <a:lnTo>
                      <a:pt x="29" y="20"/>
                    </a:lnTo>
                    <a:lnTo>
                      <a:pt x="27" y="23"/>
                    </a:lnTo>
                    <a:lnTo>
                      <a:pt x="24" y="27"/>
                    </a:lnTo>
                    <a:lnTo>
                      <a:pt x="20"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731" name="Freeform 491"/>
              <p:cNvSpPr>
                <a:spLocks/>
              </p:cNvSpPr>
              <p:nvPr/>
            </p:nvSpPr>
            <p:spPr bwMode="auto">
              <a:xfrm>
                <a:off x="11023556"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1732" name="Freeform 492"/>
              <p:cNvSpPr>
                <a:spLocks/>
              </p:cNvSpPr>
              <p:nvPr/>
            </p:nvSpPr>
            <p:spPr bwMode="auto">
              <a:xfrm>
                <a:off x="11037842"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733" name="Freeform 493"/>
              <p:cNvSpPr>
                <a:spLocks/>
              </p:cNvSpPr>
              <p:nvPr/>
            </p:nvSpPr>
            <p:spPr bwMode="auto">
              <a:xfrm>
                <a:off x="11052128"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34" name="Freeform 494"/>
              <p:cNvSpPr>
                <a:spLocks/>
              </p:cNvSpPr>
              <p:nvPr/>
            </p:nvSpPr>
            <p:spPr bwMode="auto">
              <a:xfrm>
                <a:off x="11066414" y="5736216"/>
                <a:ext cx="4762" cy="4763"/>
              </a:xfrm>
              <a:custGeom>
                <a:avLst/>
                <a:gdLst>
                  <a:gd name="T0" fmla="*/ 15 w 30"/>
                  <a:gd name="T1" fmla="*/ 0 h 30"/>
                  <a:gd name="T2" fmla="*/ 19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4"/>
                    </a:lnTo>
                    <a:lnTo>
                      <a:pt x="27" y="6"/>
                    </a:lnTo>
                    <a:lnTo>
                      <a:pt x="29" y="10"/>
                    </a:lnTo>
                    <a:lnTo>
                      <a:pt x="30"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735" name="Freeform 495"/>
              <p:cNvSpPr>
                <a:spLocks/>
              </p:cNvSpPr>
              <p:nvPr/>
            </p:nvSpPr>
            <p:spPr bwMode="auto">
              <a:xfrm>
                <a:off x="11079113"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736" name="Freeform 496"/>
              <p:cNvSpPr>
                <a:spLocks/>
              </p:cNvSpPr>
              <p:nvPr/>
            </p:nvSpPr>
            <p:spPr bwMode="auto">
              <a:xfrm>
                <a:off x="11093399"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1737" name="Freeform 497"/>
              <p:cNvSpPr>
                <a:spLocks/>
              </p:cNvSpPr>
              <p:nvPr/>
            </p:nvSpPr>
            <p:spPr bwMode="auto">
              <a:xfrm>
                <a:off x="11107685" y="5736216"/>
                <a:ext cx="4762" cy="4763"/>
              </a:xfrm>
              <a:custGeom>
                <a:avLst/>
                <a:gdLst>
                  <a:gd name="T0" fmla="*/ 16 w 30"/>
                  <a:gd name="T1" fmla="*/ 0 h 30"/>
                  <a:gd name="T2" fmla="*/ 20 w 30"/>
                  <a:gd name="T3" fmla="*/ 1 h 30"/>
                  <a:gd name="T4" fmla="*/ 25 w 30"/>
                  <a:gd name="T5" fmla="*/ 4 h 30"/>
                  <a:gd name="T6" fmla="*/ 28 w 30"/>
                  <a:gd name="T7" fmla="*/ 6 h 30"/>
                  <a:gd name="T8" fmla="*/ 29 w 30"/>
                  <a:gd name="T9" fmla="*/ 10 h 30"/>
                  <a:gd name="T10" fmla="*/ 30 w 30"/>
                  <a:gd name="T11" fmla="*/ 15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8" y="6"/>
                    </a:lnTo>
                    <a:lnTo>
                      <a:pt x="29" y="10"/>
                    </a:lnTo>
                    <a:lnTo>
                      <a:pt x="30" y="15"/>
                    </a:lnTo>
                    <a:lnTo>
                      <a:pt x="29" y="20"/>
                    </a:lnTo>
                    <a:lnTo>
                      <a:pt x="28" y="23"/>
                    </a:lnTo>
                    <a:lnTo>
                      <a:pt x="25" y="27"/>
                    </a:lnTo>
                    <a:lnTo>
                      <a:pt x="20" y="29"/>
                    </a:lnTo>
                    <a:lnTo>
                      <a:pt x="16" y="30"/>
                    </a:lnTo>
                    <a:lnTo>
                      <a:pt x="11" y="29"/>
                    </a:lnTo>
                    <a:lnTo>
                      <a:pt x="7" y="27"/>
                    </a:lnTo>
                    <a:lnTo>
                      <a:pt x="4" y="23"/>
                    </a:lnTo>
                    <a:lnTo>
                      <a:pt x="1" y="20"/>
                    </a:lnTo>
                    <a:lnTo>
                      <a:pt x="0" y="15"/>
                    </a:lnTo>
                    <a:lnTo>
                      <a:pt x="1" y="10"/>
                    </a:lnTo>
                    <a:lnTo>
                      <a:pt x="4" y="6"/>
                    </a:lnTo>
                    <a:lnTo>
                      <a:pt x="7" y="4"/>
                    </a:lnTo>
                    <a:lnTo>
                      <a:pt x="11" y="1"/>
                    </a:lnTo>
                    <a:lnTo>
                      <a:pt x="16" y="0"/>
                    </a:lnTo>
                    <a:close/>
                  </a:path>
                </a:pathLst>
              </a:custGeom>
              <a:solidFill>
                <a:schemeClr val="accent5"/>
              </a:solidFill>
              <a:ln>
                <a:noFill/>
              </a:ln>
            </p:spPr>
            <p:txBody>
              <a:bodyPr/>
              <a:lstStyle/>
              <a:p>
                <a:endParaRPr lang="de-DE" dirty="0"/>
              </a:p>
            </p:txBody>
          </p:sp>
          <p:sp>
            <p:nvSpPr>
              <p:cNvPr id="1738" name="Freeform 498"/>
              <p:cNvSpPr>
                <a:spLocks/>
              </p:cNvSpPr>
              <p:nvPr/>
            </p:nvSpPr>
            <p:spPr bwMode="auto">
              <a:xfrm>
                <a:off x="111219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39" name="Freeform 499"/>
              <p:cNvSpPr>
                <a:spLocks/>
              </p:cNvSpPr>
              <p:nvPr/>
            </p:nvSpPr>
            <p:spPr bwMode="auto">
              <a:xfrm>
                <a:off x="11136257"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740" name="Freeform 500"/>
              <p:cNvSpPr>
                <a:spLocks/>
              </p:cNvSpPr>
              <p:nvPr/>
            </p:nvSpPr>
            <p:spPr bwMode="auto">
              <a:xfrm>
                <a:off x="11148956"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741" name="Freeform 501"/>
              <p:cNvSpPr>
                <a:spLocks/>
              </p:cNvSpPr>
              <p:nvPr/>
            </p:nvSpPr>
            <p:spPr bwMode="auto">
              <a:xfrm>
                <a:off x="11163242" y="5736216"/>
                <a:ext cx="4762" cy="4763"/>
              </a:xfrm>
              <a:custGeom>
                <a:avLst/>
                <a:gdLst>
                  <a:gd name="T0" fmla="*/ 16 w 30"/>
                  <a:gd name="T1" fmla="*/ 0 h 30"/>
                  <a:gd name="T2" fmla="*/ 20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4"/>
                    </a:lnTo>
                    <a:lnTo>
                      <a:pt x="27" y="6"/>
                    </a:lnTo>
                    <a:lnTo>
                      <a:pt x="29" y="10"/>
                    </a:lnTo>
                    <a:lnTo>
                      <a:pt x="30" y="15"/>
                    </a:lnTo>
                    <a:lnTo>
                      <a:pt x="29" y="20"/>
                    </a:lnTo>
                    <a:lnTo>
                      <a:pt x="27" y="23"/>
                    </a:lnTo>
                    <a:lnTo>
                      <a:pt x="24"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742" name="Freeform 502"/>
              <p:cNvSpPr>
                <a:spLocks/>
              </p:cNvSpPr>
              <p:nvPr/>
            </p:nvSpPr>
            <p:spPr bwMode="auto">
              <a:xfrm>
                <a:off x="11177528" y="5736216"/>
                <a:ext cx="4762" cy="4763"/>
              </a:xfrm>
              <a:custGeom>
                <a:avLst/>
                <a:gdLst>
                  <a:gd name="T0" fmla="*/ 15 w 29"/>
                  <a:gd name="T1" fmla="*/ 0 h 30"/>
                  <a:gd name="T2" fmla="*/ 19 w 29"/>
                  <a:gd name="T3" fmla="*/ 1 h 30"/>
                  <a:gd name="T4" fmla="*/ 24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9" y="10"/>
                    </a:lnTo>
                    <a:lnTo>
                      <a:pt x="29" y="15"/>
                    </a:lnTo>
                    <a:lnTo>
                      <a:pt x="29" y="20"/>
                    </a:lnTo>
                    <a:lnTo>
                      <a:pt x="27" y="23"/>
                    </a:lnTo>
                    <a:lnTo>
                      <a:pt x="24" y="27"/>
                    </a:lnTo>
                    <a:lnTo>
                      <a:pt x="19"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43" name="Freeform 503"/>
              <p:cNvSpPr>
                <a:spLocks/>
              </p:cNvSpPr>
              <p:nvPr/>
            </p:nvSpPr>
            <p:spPr bwMode="auto">
              <a:xfrm>
                <a:off x="11190227"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1744" name="Freeform 504"/>
              <p:cNvSpPr>
                <a:spLocks/>
              </p:cNvSpPr>
              <p:nvPr/>
            </p:nvSpPr>
            <p:spPr bwMode="auto">
              <a:xfrm>
                <a:off x="112045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745" name="Freeform 505"/>
              <p:cNvSpPr>
                <a:spLocks/>
              </p:cNvSpPr>
              <p:nvPr/>
            </p:nvSpPr>
            <p:spPr bwMode="auto">
              <a:xfrm>
                <a:off x="11218799"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3" y="23"/>
                    </a:lnTo>
                    <a:lnTo>
                      <a:pt x="1" y="20"/>
                    </a:lnTo>
                    <a:lnTo>
                      <a:pt x="0" y="15"/>
                    </a:lnTo>
                    <a:lnTo>
                      <a:pt x="1" y="10"/>
                    </a:lnTo>
                    <a:lnTo>
                      <a:pt x="3" y="6"/>
                    </a:lnTo>
                    <a:lnTo>
                      <a:pt x="5" y="4"/>
                    </a:lnTo>
                    <a:lnTo>
                      <a:pt x="10" y="1"/>
                    </a:lnTo>
                    <a:lnTo>
                      <a:pt x="14" y="0"/>
                    </a:lnTo>
                    <a:close/>
                  </a:path>
                </a:pathLst>
              </a:custGeom>
              <a:solidFill>
                <a:schemeClr val="accent5"/>
              </a:solidFill>
              <a:ln>
                <a:noFill/>
              </a:ln>
            </p:spPr>
            <p:txBody>
              <a:bodyPr/>
              <a:lstStyle/>
              <a:p>
                <a:endParaRPr lang="de-DE" dirty="0"/>
              </a:p>
            </p:txBody>
          </p:sp>
          <p:sp>
            <p:nvSpPr>
              <p:cNvPr id="1746" name="Freeform 506"/>
              <p:cNvSpPr>
                <a:spLocks/>
              </p:cNvSpPr>
              <p:nvPr/>
            </p:nvSpPr>
            <p:spPr bwMode="auto">
              <a:xfrm>
                <a:off x="11233085"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747" name="Freeform 507"/>
              <p:cNvSpPr>
                <a:spLocks/>
              </p:cNvSpPr>
              <p:nvPr/>
            </p:nvSpPr>
            <p:spPr bwMode="auto">
              <a:xfrm>
                <a:off x="11247371"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48" name="Freeform 508"/>
              <p:cNvSpPr>
                <a:spLocks/>
              </p:cNvSpPr>
              <p:nvPr/>
            </p:nvSpPr>
            <p:spPr bwMode="auto">
              <a:xfrm>
                <a:off x="11260070" y="5736216"/>
                <a:ext cx="4762" cy="4763"/>
              </a:xfrm>
              <a:custGeom>
                <a:avLst/>
                <a:gdLst>
                  <a:gd name="T0" fmla="*/ 15 w 29"/>
                  <a:gd name="T1" fmla="*/ 0 h 30"/>
                  <a:gd name="T2" fmla="*/ 19 w 29"/>
                  <a:gd name="T3" fmla="*/ 1 h 30"/>
                  <a:gd name="T4" fmla="*/ 23 w 29"/>
                  <a:gd name="T5" fmla="*/ 4 h 30"/>
                  <a:gd name="T6" fmla="*/ 27 w 29"/>
                  <a:gd name="T7" fmla="*/ 6 h 30"/>
                  <a:gd name="T8" fmla="*/ 29 w 29"/>
                  <a:gd name="T9" fmla="*/ 10 h 30"/>
                  <a:gd name="T10" fmla="*/ 29 w 29"/>
                  <a:gd name="T11" fmla="*/ 15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6 w 29"/>
                  <a:gd name="T37" fmla="*/ 4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4"/>
                    </a:lnTo>
                    <a:lnTo>
                      <a:pt x="27" y="6"/>
                    </a:lnTo>
                    <a:lnTo>
                      <a:pt x="29" y="10"/>
                    </a:lnTo>
                    <a:lnTo>
                      <a:pt x="29" y="15"/>
                    </a:lnTo>
                    <a:lnTo>
                      <a:pt x="29" y="20"/>
                    </a:lnTo>
                    <a:lnTo>
                      <a:pt x="27" y="23"/>
                    </a:lnTo>
                    <a:lnTo>
                      <a:pt x="23"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749" name="Freeform 509"/>
              <p:cNvSpPr>
                <a:spLocks/>
              </p:cNvSpPr>
              <p:nvPr/>
            </p:nvSpPr>
            <p:spPr bwMode="auto">
              <a:xfrm>
                <a:off x="11274356" y="5736216"/>
                <a:ext cx="4762" cy="4763"/>
              </a:xfrm>
              <a:custGeom>
                <a:avLst/>
                <a:gdLst>
                  <a:gd name="T0" fmla="*/ 14 w 29"/>
                  <a:gd name="T1" fmla="*/ 0 h 30"/>
                  <a:gd name="T2" fmla="*/ 19 w 29"/>
                  <a:gd name="T3" fmla="*/ 1 h 30"/>
                  <a:gd name="T4" fmla="*/ 23 w 29"/>
                  <a:gd name="T5" fmla="*/ 4 h 30"/>
                  <a:gd name="T6" fmla="*/ 26 w 29"/>
                  <a:gd name="T7" fmla="*/ 6 h 30"/>
                  <a:gd name="T8" fmla="*/ 28 w 29"/>
                  <a:gd name="T9" fmla="*/ 10 h 30"/>
                  <a:gd name="T10" fmla="*/ 29 w 29"/>
                  <a:gd name="T11" fmla="*/ 15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5 h 30"/>
                  <a:gd name="T32" fmla="*/ 0 w 29"/>
                  <a:gd name="T33" fmla="*/ 10 h 30"/>
                  <a:gd name="T34" fmla="*/ 2 w 29"/>
                  <a:gd name="T35" fmla="*/ 6 h 30"/>
                  <a:gd name="T36" fmla="*/ 5 w 29"/>
                  <a:gd name="T37" fmla="*/ 4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4"/>
                    </a:lnTo>
                    <a:lnTo>
                      <a:pt x="26" y="6"/>
                    </a:lnTo>
                    <a:lnTo>
                      <a:pt x="28" y="10"/>
                    </a:lnTo>
                    <a:lnTo>
                      <a:pt x="29" y="15"/>
                    </a:lnTo>
                    <a:lnTo>
                      <a:pt x="28" y="20"/>
                    </a:lnTo>
                    <a:lnTo>
                      <a:pt x="26" y="23"/>
                    </a:lnTo>
                    <a:lnTo>
                      <a:pt x="23" y="27"/>
                    </a:lnTo>
                    <a:lnTo>
                      <a:pt x="19"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750" name="Freeform 510"/>
              <p:cNvSpPr>
                <a:spLocks/>
              </p:cNvSpPr>
              <p:nvPr/>
            </p:nvSpPr>
            <p:spPr bwMode="auto">
              <a:xfrm>
                <a:off x="11288642" y="5736216"/>
                <a:ext cx="4762" cy="4763"/>
              </a:xfrm>
              <a:custGeom>
                <a:avLst/>
                <a:gdLst>
                  <a:gd name="T0" fmla="*/ 15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4"/>
                    </a:lnTo>
                    <a:lnTo>
                      <a:pt x="27" y="6"/>
                    </a:lnTo>
                    <a:lnTo>
                      <a:pt x="29" y="10"/>
                    </a:lnTo>
                    <a:lnTo>
                      <a:pt x="30" y="15"/>
                    </a:lnTo>
                    <a:lnTo>
                      <a:pt x="29" y="20"/>
                    </a:lnTo>
                    <a:lnTo>
                      <a:pt x="27" y="23"/>
                    </a:lnTo>
                    <a:lnTo>
                      <a:pt x="23" y="27"/>
                    </a:lnTo>
                    <a:lnTo>
                      <a:pt x="20" y="29"/>
                    </a:lnTo>
                    <a:lnTo>
                      <a:pt x="15" y="30"/>
                    </a:lnTo>
                    <a:lnTo>
                      <a:pt x="10" y="29"/>
                    </a:lnTo>
                    <a:lnTo>
                      <a:pt x="7" y="27"/>
                    </a:lnTo>
                    <a:lnTo>
                      <a:pt x="3" y="23"/>
                    </a:lnTo>
                    <a:lnTo>
                      <a:pt x="1" y="20"/>
                    </a:lnTo>
                    <a:lnTo>
                      <a:pt x="0" y="15"/>
                    </a:lnTo>
                    <a:lnTo>
                      <a:pt x="1" y="10"/>
                    </a:lnTo>
                    <a:lnTo>
                      <a:pt x="3" y="6"/>
                    </a:lnTo>
                    <a:lnTo>
                      <a:pt x="7" y="4"/>
                    </a:lnTo>
                    <a:lnTo>
                      <a:pt x="10" y="1"/>
                    </a:lnTo>
                    <a:lnTo>
                      <a:pt x="15" y="0"/>
                    </a:lnTo>
                    <a:close/>
                  </a:path>
                </a:pathLst>
              </a:custGeom>
              <a:solidFill>
                <a:schemeClr val="accent5"/>
              </a:solidFill>
              <a:ln>
                <a:noFill/>
              </a:ln>
            </p:spPr>
            <p:txBody>
              <a:bodyPr/>
              <a:lstStyle/>
              <a:p>
                <a:endParaRPr lang="de-DE" dirty="0"/>
              </a:p>
            </p:txBody>
          </p:sp>
          <p:sp>
            <p:nvSpPr>
              <p:cNvPr id="1751" name="Freeform 511"/>
              <p:cNvSpPr>
                <a:spLocks/>
              </p:cNvSpPr>
              <p:nvPr/>
            </p:nvSpPr>
            <p:spPr bwMode="auto">
              <a:xfrm>
                <a:off x="113029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752" name="Freeform 512"/>
              <p:cNvSpPr>
                <a:spLocks/>
              </p:cNvSpPr>
              <p:nvPr/>
            </p:nvSpPr>
            <p:spPr bwMode="auto">
              <a:xfrm>
                <a:off x="113156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53" name="Freeform 513"/>
              <p:cNvSpPr>
                <a:spLocks/>
              </p:cNvSpPr>
              <p:nvPr/>
            </p:nvSpPr>
            <p:spPr bwMode="auto">
              <a:xfrm>
                <a:off x="11329913"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2" y="23"/>
                    </a:lnTo>
                    <a:lnTo>
                      <a:pt x="0" y="20"/>
                    </a:lnTo>
                    <a:lnTo>
                      <a:pt x="0" y="15"/>
                    </a:lnTo>
                    <a:lnTo>
                      <a:pt x="0" y="10"/>
                    </a:lnTo>
                    <a:lnTo>
                      <a:pt x="2" y="6"/>
                    </a:lnTo>
                    <a:lnTo>
                      <a:pt x="6" y="4"/>
                    </a:lnTo>
                    <a:lnTo>
                      <a:pt x="10" y="1"/>
                    </a:lnTo>
                    <a:lnTo>
                      <a:pt x="15" y="0"/>
                    </a:lnTo>
                    <a:close/>
                  </a:path>
                </a:pathLst>
              </a:custGeom>
              <a:solidFill>
                <a:schemeClr val="accent5"/>
              </a:solidFill>
              <a:ln>
                <a:noFill/>
              </a:ln>
            </p:spPr>
            <p:txBody>
              <a:bodyPr/>
              <a:lstStyle/>
              <a:p>
                <a:endParaRPr lang="de-DE" dirty="0"/>
              </a:p>
            </p:txBody>
          </p:sp>
          <p:sp>
            <p:nvSpPr>
              <p:cNvPr id="1754" name="Freeform 514"/>
              <p:cNvSpPr>
                <a:spLocks/>
              </p:cNvSpPr>
              <p:nvPr/>
            </p:nvSpPr>
            <p:spPr bwMode="auto">
              <a:xfrm>
                <a:off x="11344199" y="5736216"/>
                <a:ext cx="4762" cy="4763"/>
              </a:xfrm>
              <a:custGeom>
                <a:avLst/>
                <a:gdLst>
                  <a:gd name="T0" fmla="*/ 14 w 30"/>
                  <a:gd name="T1" fmla="*/ 0 h 30"/>
                  <a:gd name="T2" fmla="*/ 20 w 30"/>
                  <a:gd name="T3" fmla="*/ 1 h 30"/>
                  <a:gd name="T4" fmla="*/ 23 w 30"/>
                  <a:gd name="T5" fmla="*/ 4 h 30"/>
                  <a:gd name="T6" fmla="*/ 26 w 30"/>
                  <a:gd name="T7" fmla="*/ 6 h 30"/>
                  <a:gd name="T8" fmla="*/ 28 w 30"/>
                  <a:gd name="T9" fmla="*/ 10 h 30"/>
                  <a:gd name="T10" fmla="*/ 30 w 30"/>
                  <a:gd name="T11" fmla="*/ 15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5 h 30"/>
                  <a:gd name="T32" fmla="*/ 0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8" y="10"/>
                    </a:lnTo>
                    <a:lnTo>
                      <a:pt x="30" y="15"/>
                    </a:lnTo>
                    <a:lnTo>
                      <a:pt x="28" y="20"/>
                    </a:lnTo>
                    <a:lnTo>
                      <a:pt x="26" y="23"/>
                    </a:lnTo>
                    <a:lnTo>
                      <a:pt x="23" y="27"/>
                    </a:lnTo>
                    <a:lnTo>
                      <a:pt x="20" y="29"/>
                    </a:lnTo>
                    <a:lnTo>
                      <a:pt x="14" y="30"/>
                    </a:lnTo>
                    <a:lnTo>
                      <a:pt x="10" y="29"/>
                    </a:lnTo>
                    <a:lnTo>
                      <a:pt x="5" y="27"/>
                    </a:lnTo>
                    <a:lnTo>
                      <a:pt x="2" y="23"/>
                    </a:lnTo>
                    <a:lnTo>
                      <a:pt x="0" y="20"/>
                    </a:lnTo>
                    <a:lnTo>
                      <a:pt x="0" y="15"/>
                    </a:lnTo>
                    <a:lnTo>
                      <a:pt x="0"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755" name="Freeform 515"/>
              <p:cNvSpPr>
                <a:spLocks/>
              </p:cNvSpPr>
              <p:nvPr/>
            </p:nvSpPr>
            <p:spPr bwMode="auto">
              <a:xfrm>
                <a:off x="11358485" y="5736216"/>
                <a:ext cx="4762" cy="4763"/>
              </a:xfrm>
              <a:custGeom>
                <a:avLst/>
                <a:gdLst>
                  <a:gd name="T0" fmla="*/ 16 w 30"/>
                  <a:gd name="T1" fmla="*/ 0 h 30"/>
                  <a:gd name="T2" fmla="*/ 20 w 30"/>
                  <a:gd name="T3" fmla="*/ 1 h 30"/>
                  <a:gd name="T4" fmla="*/ 23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4"/>
                    </a:lnTo>
                    <a:lnTo>
                      <a:pt x="27" y="6"/>
                    </a:lnTo>
                    <a:lnTo>
                      <a:pt x="29" y="10"/>
                    </a:lnTo>
                    <a:lnTo>
                      <a:pt x="30" y="15"/>
                    </a:lnTo>
                    <a:lnTo>
                      <a:pt x="29" y="20"/>
                    </a:lnTo>
                    <a:lnTo>
                      <a:pt x="27" y="23"/>
                    </a:lnTo>
                    <a:lnTo>
                      <a:pt x="23" y="27"/>
                    </a:lnTo>
                    <a:lnTo>
                      <a:pt x="20" y="29"/>
                    </a:lnTo>
                    <a:lnTo>
                      <a:pt x="16" y="30"/>
                    </a:lnTo>
                    <a:lnTo>
                      <a:pt x="10" y="29"/>
                    </a:lnTo>
                    <a:lnTo>
                      <a:pt x="7" y="27"/>
                    </a:lnTo>
                    <a:lnTo>
                      <a:pt x="3" y="23"/>
                    </a:lnTo>
                    <a:lnTo>
                      <a:pt x="1" y="20"/>
                    </a:lnTo>
                    <a:lnTo>
                      <a:pt x="0" y="15"/>
                    </a:lnTo>
                    <a:lnTo>
                      <a:pt x="1" y="10"/>
                    </a:lnTo>
                    <a:lnTo>
                      <a:pt x="3" y="6"/>
                    </a:lnTo>
                    <a:lnTo>
                      <a:pt x="7" y="4"/>
                    </a:lnTo>
                    <a:lnTo>
                      <a:pt x="10" y="1"/>
                    </a:lnTo>
                    <a:lnTo>
                      <a:pt x="16" y="0"/>
                    </a:lnTo>
                    <a:close/>
                  </a:path>
                </a:pathLst>
              </a:custGeom>
              <a:solidFill>
                <a:schemeClr val="accent5"/>
              </a:solidFill>
              <a:ln>
                <a:noFill/>
              </a:ln>
            </p:spPr>
            <p:txBody>
              <a:bodyPr/>
              <a:lstStyle/>
              <a:p>
                <a:endParaRPr lang="de-DE" dirty="0"/>
              </a:p>
            </p:txBody>
          </p:sp>
          <p:sp>
            <p:nvSpPr>
              <p:cNvPr id="1756" name="Freeform 516"/>
              <p:cNvSpPr>
                <a:spLocks/>
              </p:cNvSpPr>
              <p:nvPr/>
            </p:nvSpPr>
            <p:spPr bwMode="auto">
              <a:xfrm>
                <a:off x="11371184" y="5736216"/>
                <a:ext cx="4762" cy="4763"/>
              </a:xfrm>
              <a:custGeom>
                <a:avLst/>
                <a:gdLst>
                  <a:gd name="T0" fmla="*/ 15 w 29"/>
                  <a:gd name="T1" fmla="*/ 0 h 30"/>
                  <a:gd name="T2" fmla="*/ 19 w 29"/>
                  <a:gd name="T3" fmla="*/ 1 h 30"/>
                  <a:gd name="T4" fmla="*/ 24 w 29"/>
                  <a:gd name="T5" fmla="*/ 4 h 30"/>
                  <a:gd name="T6" fmla="*/ 27 w 29"/>
                  <a:gd name="T7" fmla="*/ 6 h 30"/>
                  <a:gd name="T8" fmla="*/ 28 w 29"/>
                  <a:gd name="T9" fmla="*/ 10 h 30"/>
                  <a:gd name="T10" fmla="*/ 29 w 29"/>
                  <a:gd name="T11" fmla="*/ 15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5 h 30"/>
                  <a:gd name="T32" fmla="*/ 1 w 29"/>
                  <a:gd name="T33" fmla="*/ 10 h 30"/>
                  <a:gd name="T34" fmla="*/ 3 w 29"/>
                  <a:gd name="T35" fmla="*/ 6 h 30"/>
                  <a:gd name="T36" fmla="*/ 6 w 29"/>
                  <a:gd name="T37" fmla="*/ 4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4"/>
                    </a:lnTo>
                    <a:lnTo>
                      <a:pt x="27" y="6"/>
                    </a:lnTo>
                    <a:lnTo>
                      <a:pt x="28" y="10"/>
                    </a:lnTo>
                    <a:lnTo>
                      <a:pt x="29" y="15"/>
                    </a:lnTo>
                    <a:lnTo>
                      <a:pt x="28" y="20"/>
                    </a:lnTo>
                    <a:lnTo>
                      <a:pt x="27" y="23"/>
                    </a:lnTo>
                    <a:lnTo>
                      <a:pt x="24" y="27"/>
                    </a:lnTo>
                    <a:lnTo>
                      <a:pt x="19" y="29"/>
                    </a:lnTo>
                    <a:lnTo>
                      <a:pt x="15" y="30"/>
                    </a:lnTo>
                    <a:lnTo>
                      <a:pt x="9" y="29"/>
                    </a:lnTo>
                    <a:lnTo>
                      <a:pt x="6" y="27"/>
                    </a:lnTo>
                    <a:lnTo>
                      <a:pt x="3" y="23"/>
                    </a:lnTo>
                    <a:lnTo>
                      <a:pt x="1" y="20"/>
                    </a:lnTo>
                    <a:lnTo>
                      <a:pt x="0" y="15"/>
                    </a:lnTo>
                    <a:lnTo>
                      <a:pt x="1" y="10"/>
                    </a:lnTo>
                    <a:lnTo>
                      <a:pt x="3" y="6"/>
                    </a:lnTo>
                    <a:lnTo>
                      <a:pt x="6" y="4"/>
                    </a:lnTo>
                    <a:lnTo>
                      <a:pt x="9" y="1"/>
                    </a:lnTo>
                    <a:lnTo>
                      <a:pt x="15" y="0"/>
                    </a:lnTo>
                    <a:close/>
                  </a:path>
                </a:pathLst>
              </a:custGeom>
              <a:solidFill>
                <a:schemeClr val="accent5"/>
              </a:solidFill>
              <a:ln>
                <a:noFill/>
              </a:ln>
            </p:spPr>
            <p:txBody>
              <a:bodyPr/>
              <a:lstStyle/>
              <a:p>
                <a:endParaRPr lang="de-DE" dirty="0"/>
              </a:p>
            </p:txBody>
          </p:sp>
          <p:sp>
            <p:nvSpPr>
              <p:cNvPr id="1757" name="Freeform 517"/>
              <p:cNvSpPr>
                <a:spLocks/>
              </p:cNvSpPr>
              <p:nvPr/>
            </p:nvSpPr>
            <p:spPr bwMode="auto">
              <a:xfrm>
                <a:off x="11385470" y="5736216"/>
                <a:ext cx="4762" cy="4763"/>
              </a:xfrm>
              <a:custGeom>
                <a:avLst/>
                <a:gdLst>
                  <a:gd name="T0" fmla="*/ 15 w 30"/>
                  <a:gd name="T1" fmla="*/ 0 h 30"/>
                  <a:gd name="T2" fmla="*/ 20 w 30"/>
                  <a:gd name="T3" fmla="*/ 1 h 30"/>
                  <a:gd name="T4" fmla="*/ 24 w 30"/>
                  <a:gd name="T5" fmla="*/ 4 h 30"/>
                  <a:gd name="T6" fmla="*/ 28 w 30"/>
                  <a:gd name="T7" fmla="*/ 6 h 30"/>
                  <a:gd name="T8" fmla="*/ 30 w 30"/>
                  <a:gd name="T9" fmla="*/ 10 h 30"/>
                  <a:gd name="T10" fmla="*/ 30 w 30"/>
                  <a:gd name="T11" fmla="*/ 15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7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8" y="6"/>
                    </a:lnTo>
                    <a:lnTo>
                      <a:pt x="30" y="10"/>
                    </a:lnTo>
                    <a:lnTo>
                      <a:pt x="30" y="15"/>
                    </a:lnTo>
                    <a:lnTo>
                      <a:pt x="30" y="20"/>
                    </a:lnTo>
                    <a:lnTo>
                      <a:pt x="28" y="23"/>
                    </a:lnTo>
                    <a:lnTo>
                      <a:pt x="24" y="27"/>
                    </a:lnTo>
                    <a:lnTo>
                      <a:pt x="20" y="29"/>
                    </a:lnTo>
                    <a:lnTo>
                      <a:pt x="15" y="30"/>
                    </a:lnTo>
                    <a:lnTo>
                      <a:pt x="11" y="29"/>
                    </a:lnTo>
                    <a:lnTo>
                      <a:pt x="7" y="27"/>
                    </a:lnTo>
                    <a:lnTo>
                      <a:pt x="3" y="23"/>
                    </a:lnTo>
                    <a:lnTo>
                      <a:pt x="1" y="20"/>
                    </a:lnTo>
                    <a:lnTo>
                      <a:pt x="0" y="15"/>
                    </a:lnTo>
                    <a:lnTo>
                      <a:pt x="1" y="10"/>
                    </a:lnTo>
                    <a:lnTo>
                      <a:pt x="3" y="6"/>
                    </a:lnTo>
                    <a:lnTo>
                      <a:pt x="7" y="4"/>
                    </a:lnTo>
                    <a:lnTo>
                      <a:pt x="11" y="1"/>
                    </a:lnTo>
                    <a:lnTo>
                      <a:pt x="15" y="0"/>
                    </a:lnTo>
                    <a:close/>
                  </a:path>
                </a:pathLst>
              </a:custGeom>
              <a:solidFill>
                <a:schemeClr val="accent5"/>
              </a:solidFill>
              <a:ln>
                <a:noFill/>
              </a:ln>
            </p:spPr>
            <p:txBody>
              <a:bodyPr/>
              <a:lstStyle/>
              <a:p>
                <a:endParaRPr lang="de-DE" dirty="0"/>
              </a:p>
            </p:txBody>
          </p:sp>
          <p:sp>
            <p:nvSpPr>
              <p:cNvPr id="1758" name="Freeform 518"/>
              <p:cNvSpPr>
                <a:spLocks/>
              </p:cNvSpPr>
              <p:nvPr/>
            </p:nvSpPr>
            <p:spPr bwMode="auto">
              <a:xfrm>
                <a:off x="11399756" y="5736216"/>
                <a:ext cx="4762" cy="4763"/>
              </a:xfrm>
              <a:custGeom>
                <a:avLst/>
                <a:gdLst>
                  <a:gd name="T0" fmla="*/ 15 w 30"/>
                  <a:gd name="T1" fmla="*/ 0 h 30"/>
                  <a:gd name="T2" fmla="*/ 19 w 30"/>
                  <a:gd name="T3" fmla="*/ 1 h 30"/>
                  <a:gd name="T4" fmla="*/ 24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5 h 30"/>
                  <a:gd name="T32" fmla="*/ 0 w 30"/>
                  <a:gd name="T33" fmla="*/ 10 h 30"/>
                  <a:gd name="T34" fmla="*/ 3 w 30"/>
                  <a:gd name="T35" fmla="*/ 6 h 30"/>
                  <a:gd name="T36" fmla="*/ 6 w 30"/>
                  <a:gd name="T37" fmla="*/ 4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4"/>
                    </a:lnTo>
                    <a:lnTo>
                      <a:pt x="27" y="6"/>
                    </a:lnTo>
                    <a:lnTo>
                      <a:pt x="29" y="10"/>
                    </a:lnTo>
                    <a:lnTo>
                      <a:pt x="30" y="15"/>
                    </a:lnTo>
                    <a:lnTo>
                      <a:pt x="29" y="20"/>
                    </a:lnTo>
                    <a:lnTo>
                      <a:pt x="27" y="23"/>
                    </a:lnTo>
                    <a:lnTo>
                      <a:pt x="24" y="27"/>
                    </a:lnTo>
                    <a:lnTo>
                      <a:pt x="19" y="29"/>
                    </a:lnTo>
                    <a:lnTo>
                      <a:pt x="15" y="30"/>
                    </a:lnTo>
                    <a:lnTo>
                      <a:pt x="10" y="29"/>
                    </a:lnTo>
                    <a:lnTo>
                      <a:pt x="6" y="27"/>
                    </a:lnTo>
                    <a:lnTo>
                      <a:pt x="3" y="23"/>
                    </a:lnTo>
                    <a:lnTo>
                      <a:pt x="0" y="20"/>
                    </a:lnTo>
                    <a:lnTo>
                      <a:pt x="0" y="15"/>
                    </a:lnTo>
                    <a:lnTo>
                      <a:pt x="0" y="10"/>
                    </a:lnTo>
                    <a:lnTo>
                      <a:pt x="3" y="6"/>
                    </a:lnTo>
                    <a:lnTo>
                      <a:pt x="6" y="4"/>
                    </a:lnTo>
                    <a:lnTo>
                      <a:pt x="10" y="1"/>
                    </a:lnTo>
                    <a:lnTo>
                      <a:pt x="15" y="0"/>
                    </a:lnTo>
                    <a:close/>
                  </a:path>
                </a:pathLst>
              </a:custGeom>
              <a:solidFill>
                <a:schemeClr val="accent5"/>
              </a:solidFill>
              <a:ln>
                <a:noFill/>
              </a:ln>
            </p:spPr>
            <p:txBody>
              <a:bodyPr/>
              <a:lstStyle/>
              <a:p>
                <a:endParaRPr lang="de-DE" dirty="0"/>
              </a:p>
            </p:txBody>
          </p:sp>
          <p:sp>
            <p:nvSpPr>
              <p:cNvPr id="1759" name="Freeform 519"/>
              <p:cNvSpPr>
                <a:spLocks/>
              </p:cNvSpPr>
              <p:nvPr/>
            </p:nvSpPr>
            <p:spPr bwMode="auto">
              <a:xfrm>
                <a:off x="11414042" y="5736216"/>
                <a:ext cx="4762" cy="4763"/>
              </a:xfrm>
              <a:custGeom>
                <a:avLst/>
                <a:gdLst>
                  <a:gd name="T0" fmla="*/ 14 w 30"/>
                  <a:gd name="T1" fmla="*/ 0 h 30"/>
                  <a:gd name="T2" fmla="*/ 20 w 30"/>
                  <a:gd name="T3" fmla="*/ 1 h 30"/>
                  <a:gd name="T4" fmla="*/ 23 w 30"/>
                  <a:gd name="T5" fmla="*/ 4 h 30"/>
                  <a:gd name="T6" fmla="*/ 26 w 30"/>
                  <a:gd name="T7" fmla="*/ 6 h 30"/>
                  <a:gd name="T8" fmla="*/ 29 w 30"/>
                  <a:gd name="T9" fmla="*/ 10 h 30"/>
                  <a:gd name="T10" fmla="*/ 30 w 30"/>
                  <a:gd name="T11" fmla="*/ 15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5 h 30"/>
                  <a:gd name="T32" fmla="*/ 1 w 30"/>
                  <a:gd name="T33" fmla="*/ 10 h 30"/>
                  <a:gd name="T34" fmla="*/ 2 w 30"/>
                  <a:gd name="T35" fmla="*/ 6 h 30"/>
                  <a:gd name="T36" fmla="*/ 5 w 30"/>
                  <a:gd name="T37" fmla="*/ 4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4"/>
                    </a:lnTo>
                    <a:lnTo>
                      <a:pt x="26" y="6"/>
                    </a:lnTo>
                    <a:lnTo>
                      <a:pt x="29" y="10"/>
                    </a:lnTo>
                    <a:lnTo>
                      <a:pt x="30" y="15"/>
                    </a:lnTo>
                    <a:lnTo>
                      <a:pt x="29" y="20"/>
                    </a:lnTo>
                    <a:lnTo>
                      <a:pt x="26" y="23"/>
                    </a:lnTo>
                    <a:lnTo>
                      <a:pt x="23" y="27"/>
                    </a:lnTo>
                    <a:lnTo>
                      <a:pt x="20" y="29"/>
                    </a:lnTo>
                    <a:lnTo>
                      <a:pt x="14" y="30"/>
                    </a:lnTo>
                    <a:lnTo>
                      <a:pt x="10" y="29"/>
                    </a:lnTo>
                    <a:lnTo>
                      <a:pt x="5" y="27"/>
                    </a:lnTo>
                    <a:lnTo>
                      <a:pt x="2" y="23"/>
                    </a:lnTo>
                    <a:lnTo>
                      <a:pt x="1" y="20"/>
                    </a:lnTo>
                    <a:lnTo>
                      <a:pt x="0" y="15"/>
                    </a:lnTo>
                    <a:lnTo>
                      <a:pt x="1" y="10"/>
                    </a:lnTo>
                    <a:lnTo>
                      <a:pt x="2" y="6"/>
                    </a:lnTo>
                    <a:lnTo>
                      <a:pt x="5" y="4"/>
                    </a:lnTo>
                    <a:lnTo>
                      <a:pt x="10" y="1"/>
                    </a:lnTo>
                    <a:lnTo>
                      <a:pt x="14" y="0"/>
                    </a:lnTo>
                    <a:close/>
                  </a:path>
                </a:pathLst>
              </a:custGeom>
              <a:solidFill>
                <a:schemeClr val="accent5"/>
              </a:solidFill>
              <a:ln>
                <a:noFill/>
              </a:ln>
            </p:spPr>
            <p:txBody>
              <a:bodyPr/>
              <a:lstStyle/>
              <a:p>
                <a:endParaRPr lang="de-DE" dirty="0"/>
              </a:p>
            </p:txBody>
          </p:sp>
          <p:sp>
            <p:nvSpPr>
              <p:cNvPr id="1760" name="Freeform 520"/>
              <p:cNvSpPr>
                <a:spLocks/>
              </p:cNvSpPr>
              <p:nvPr/>
            </p:nvSpPr>
            <p:spPr bwMode="auto">
              <a:xfrm>
                <a:off x="11428328" y="5736216"/>
                <a:ext cx="4762" cy="4763"/>
              </a:xfrm>
              <a:custGeom>
                <a:avLst/>
                <a:gdLst>
                  <a:gd name="T0" fmla="*/ 16 w 30"/>
                  <a:gd name="T1" fmla="*/ 0 h 30"/>
                  <a:gd name="T2" fmla="*/ 20 w 30"/>
                  <a:gd name="T3" fmla="*/ 1 h 30"/>
                  <a:gd name="T4" fmla="*/ 25 w 30"/>
                  <a:gd name="T5" fmla="*/ 4 h 30"/>
                  <a:gd name="T6" fmla="*/ 27 w 30"/>
                  <a:gd name="T7" fmla="*/ 6 h 30"/>
                  <a:gd name="T8" fmla="*/ 29 w 30"/>
                  <a:gd name="T9" fmla="*/ 10 h 30"/>
                  <a:gd name="T10" fmla="*/ 30 w 30"/>
                  <a:gd name="T11" fmla="*/ 15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5 h 30"/>
                  <a:gd name="T32" fmla="*/ 1 w 30"/>
                  <a:gd name="T33" fmla="*/ 10 h 30"/>
                  <a:gd name="T34" fmla="*/ 4 w 30"/>
                  <a:gd name="T35" fmla="*/ 6 h 30"/>
                  <a:gd name="T36" fmla="*/ 7 w 30"/>
                  <a:gd name="T37" fmla="*/ 4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4"/>
                    </a:lnTo>
                    <a:lnTo>
                      <a:pt x="27" y="6"/>
                    </a:lnTo>
                    <a:lnTo>
                      <a:pt x="29" y="10"/>
                    </a:lnTo>
                    <a:lnTo>
                      <a:pt x="30" y="15"/>
                    </a:lnTo>
                    <a:lnTo>
                      <a:pt x="29" y="20"/>
                    </a:lnTo>
                    <a:lnTo>
                      <a:pt x="27" y="23"/>
                    </a:lnTo>
                    <a:lnTo>
                      <a:pt x="25" y="27"/>
                    </a:lnTo>
                    <a:lnTo>
                      <a:pt x="20" y="29"/>
                    </a:lnTo>
                    <a:lnTo>
                      <a:pt x="16" y="30"/>
                    </a:lnTo>
                    <a:lnTo>
                      <a:pt x="10" y="29"/>
                    </a:lnTo>
                    <a:lnTo>
                      <a:pt x="7" y="27"/>
                    </a:lnTo>
                    <a:lnTo>
                      <a:pt x="4" y="23"/>
                    </a:lnTo>
                    <a:lnTo>
                      <a:pt x="1" y="20"/>
                    </a:lnTo>
                    <a:lnTo>
                      <a:pt x="0" y="15"/>
                    </a:lnTo>
                    <a:lnTo>
                      <a:pt x="1" y="10"/>
                    </a:lnTo>
                    <a:lnTo>
                      <a:pt x="4" y="6"/>
                    </a:lnTo>
                    <a:lnTo>
                      <a:pt x="7" y="4"/>
                    </a:lnTo>
                    <a:lnTo>
                      <a:pt x="10" y="1"/>
                    </a:lnTo>
                    <a:lnTo>
                      <a:pt x="16" y="0"/>
                    </a:lnTo>
                    <a:close/>
                  </a:path>
                </a:pathLst>
              </a:custGeom>
              <a:solidFill>
                <a:schemeClr val="accent5"/>
              </a:solidFill>
              <a:ln>
                <a:noFill/>
              </a:ln>
            </p:spPr>
            <p:txBody>
              <a:bodyPr/>
              <a:lstStyle/>
              <a:p>
                <a:endParaRPr lang="de-DE" dirty="0"/>
              </a:p>
            </p:txBody>
          </p:sp>
          <p:sp>
            <p:nvSpPr>
              <p:cNvPr id="1761" name="Freeform 521"/>
              <p:cNvSpPr>
                <a:spLocks/>
              </p:cNvSpPr>
              <p:nvPr/>
            </p:nvSpPr>
            <p:spPr bwMode="auto">
              <a:xfrm>
                <a:off x="11441027" y="5736216"/>
                <a:ext cx="4762" cy="4763"/>
              </a:xfrm>
              <a:custGeom>
                <a:avLst/>
                <a:gdLst>
                  <a:gd name="T0" fmla="*/ 15 w 30"/>
                  <a:gd name="T1" fmla="*/ 0 h 30"/>
                  <a:gd name="T2" fmla="*/ 20 w 30"/>
                  <a:gd name="T3" fmla="*/ 1 h 30"/>
                  <a:gd name="T4" fmla="*/ 24 w 30"/>
                  <a:gd name="T5" fmla="*/ 4 h 30"/>
                  <a:gd name="T6" fmla="*/ 27 w 30"/>
                  <a:gd name="T7" fmla="*/ 6 h 30"/>
                  <a:gd name="T8" fmla="*/ 30 w 30"/>
                  <a:gd name="T9" fmla="*/ 10 h 30"/>
                  <a:gd name="T10" fmla="*/ 30 w 30"/>
                  <a:gd name="T11" fmla="*/ 15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5 h 30"/>
                  <a:gd name="T32" fmla="*/ 1 w 30"/>
                  <a:gd name="T33" fmla="*/ 10 h 30"/>
                  <a:gd name="T34" fmla="*/ 3 w 30"/>
                  <a:gd name="T35" fmla="*/ 6 h 30"/>
                  <a:gd name="T36" fmla="*/ 6 w 30"/>
                  <a:gd name="T37" fmla="*/ 4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4"/>
                    </a:lnTo>
                    <a:lnTo>
                      <a:pt x="27" y="6"/>
                    </a:lnTo>
                    <a:lnTo>
                      <a:pt x="30" y="10"/>
                    </a:lnTo>
                    <a:lnTo>
                      <a:pt x="30" y="15"/>
                    </a:lnTo>
                    <a:lnTo>
                      <a:pt x="30" y="20"/>
                    </a:lnTo>
                    <a:lnTo>
                      <a:pt x="27" y="23"/>
                    </a:lnTo>
                    <a:lnTo>
                      <a:pt x="24" y="27"/>
                    </a:lnTo>
                    <a:lnTo>
                      <a:pt x="20" y="29"/>
                    </a:lnTo>
                    <a:lnTo>
                      <a:pt x="15" y="30"/>
                    </a:lnTo>
                    <a:lnTo>
                      <a:pt x="11" y="29"/>
                    </a:lnTo>
                    <a:lnTo>
                      <a:pt x="6" y="27"/>
                    </a:lnTo>
                    <a:lnTo>
                      <a:pt x="3" y="23"/>
                    </a:lnTo>
                    <a:lnTo>
                      <a:pt x="1" y="20"/>
                    </a:lnTo>
                    <a:lnTo>
                      <a:pt x="0" y="15"/>
                    </a:lnTo>
                    <a:lnTo>
                      <a:pt x="1" y="10"/>
                    </a:lnTo>
                    <a:lnTo>
                      <a:pt x="3" y="6"/>
                    </a:lnTo>
                    <a:lnTo>
                      <a:pt x="6" y="4"/>
                    </a:lnTo>
                    <a:lnTo>
                      <a:pt x="11" y="1"/>
                    </a:lnTo>
                    <a:lnTo>
                      <a:pt x="15" y="0"/>
                    </a:lnTo>
                    <a:close/>
                  </a:path>
                </a:pathLst>
              </a:custGeom>
              <a:solidFill>
                <a:schemeClr val="accent5"/>
              </a:solidFill>
              <a:ln>
                <a:noFill/>
              </a:ln>
            </p:spPr>
            <p:txBody>
              <a:bodyPr/>
              <a:lstStyle/>
              <a:p>
                <a:endParaRPr lang="de-DE" dirty="0"/>
              </a:p>
            </p:txBody>
          </p:sp>
          <p:sp>
            <p:nvSpPr>
              <p:cNvPr id="1762" name="Freeform 522"/>
              <p:cNvSpPr>
                <a:spLocks/>
              </p:cNvSpPr>
              <p:nvPr/>
            </p:nvSpPr>
            <p:spPr bwMode="auto">
              <a:xfrm>
                <a:off x="10967999"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763" name="Freeform 523"/>
              <p:cNvSpPr>
                <a:spLocks/>
              </p:cNvSpPr>
              <p:nvPr/>
            </p:nvSpPr>
            <p:spPr bwMode="auto">
              <a:xfrm>
                <a:off x="10982285"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64" name="Freeform 525"/>
              <p:cNvSpPr>
                <a:spLocks/>
              </p:cNvSpPr>
              <p:nvPr/>
            </p:nvSpPr>
            <p:spPr bwMode="auto">
              <a:xfrm>
                <a:off x="10996571" y="5790197"/>
                <a:ext cx="4762" cy="4763"/>
              </a:xfrm>
              <a:custGeom>
                <a:avLst/>
                <a:gdLst>
                  <a:gd name="T0" fmla="*/ 14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6"/>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6"/>
                    </a:lnTo>
                    <a:lnTo>
                      <a:pt x="6" y="2"/>
                    </a:lnTo>
                    <a:lnTo>
                      <a:pt x="10" y="0"/>
                    </a:lnTo>
                    <a:lnTo>
                      <a:pt x="14" y="0"/>
                    </a:lnTo>
                    <a:close/>
                  </a:path>
                </a:pathLst>
              </a:custGeom>
              <a:solidFill>
                <a:schemeClr val="accent5"/>
              </a:solidFill>
              <a:ln>
                <a:noFill/>
              </a:ln>
            </p:spPr>
            <p:txBody>
              <a:bodyPr/>
              <a:lstStyle/>
              <a:p>
                <a:endParaRPr lang="de-DE" dirty="0"/>
              </a:p>
            </p:txBody>
          </p:sp>
          <p:sp>
            <p:nvSpPr>
              <p:cNvPr id="1765" name="Freeform 526"/>
              <p:cNvSpPr>
                <a:spLocks/>
              </p:cNvSpPr>
              <p:nvPr/>
            </p:nvSpPr>
            <p:spPr bwMode="auto">
              <a:xfrm>
                <a:off x="11010857" y="5790197"/>
                <a:ext cx="4762" cy="4763"/>
              </a:xfrm>
              <a:custGeom>
                <a:avLst/>
                <a:gdLst>
                  <a:gd name="T0" fmla="*/ 15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766" name="Freeform 527"/>
              <p:cNvSpPr>
                <a:spLocks/>
              </p:cNvSpPr>
              <p:nvPr/>
            </p:nvSpPr>
            <p:spPr bwMode="auto">
              <a:xfrm>
                <a:off x="11023556"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767" name="Freeform 528"/>
              <p:cNvSpPr>
                <a:spLocks/>
              </p:cNvSpPr>
              <p:nvPr/>
            </p:nvSpPr>
            <p:spPr bwMode="auto">
              <a:xfrm>
                <a:off x="11037842"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768" name="Freeform 529"/>
              <p:cNvSpPr>
                <a:spLocks/>
              </p:cNvSpPr>
              <p:nvPr/>
            </p:nvSpPr>
            <p:spPr bwMode="auto">
              <a:xfrm>
                <a:off x="11052128"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69" name="Freeform 530"/>
              <p:cNvSpPr>
                <a:spLocks/>
              </p:cNvSpPr>
              <p:nvPr/>
            </p:nvSpPr>
            <p:spPr bwMode="auto">
              <a:xfrm>
                <a:off x="11066414" y="5790197"/>
                <a:ext cx="4762" cy="4763"/>
              </a:xfrm>
              <a:custGeom>
                <a:avLst/>
                <a:gdLst>
                  <a:gd name="T0" fmla="*/ 15 w 30"/>
                  <a:gd name="T1" fmla="*/ 0 h 30"/>
                  <a:gd name="T2" fmla="*/ 19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6"/>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770" name="Freeform 531"/>
              <p:cNvSpPr>
                <a:spLocks/>
              </p:cNvSpPr>
              <p:nvPr/>
            </p:nvSpPr>
            <p:spPr bwMode="auto">
              <a:xfrm>
                <a:off x="11079113"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771" name="Freeform 532"/>
              <p:cNvSpPr>
                <a:spLocks/>
              </p:cNvSpPr>
              <p:nvPr/>
            </p:nvSpPr>
            <p:spPr bwMode="auto">
              <a:xfrm>
                <a:off x="11093399"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772" name="Freeform 533"/>
              <p:cNvSpPr>
                <a:spLocks/>
              </p:cNvSpPr>
              <p:nvPr/>
            </p:nvSpPr>
            <p:spPr bwMode="auto">
              <a:xfrm>
                <a:off x="11107685" y="5790197"/>
                <a:ext cx="4762" cy="4763"/>
              </a:xfrm>
              <a:custGeom>
                <a:avLst/>
                <a:gdLst>
                  <a:gd name="T0" fmla="*/ 16 w 30"/>
                  <a:gd name="T1" fmla="*/ 0 h 30"/>
                  <a:gd name="T2" fmla="*/ 20 w 30"/>
                  <a:gd name="T3" fmla="*/ 0 h 30"/>
                  <a:gd name="T4" fmla="*/ 25 w 30"/>
                  <a:gd name="T5" fmla="*/ 2 h 30"/>
                  <a:gd name="T6" fmla="*/ 28 w 30"/>
                  <a:gd name="T7" fmla="*/ 6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6"/>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6"/>
                    </a:lnTo>
                    <a:lnTo>
                      <a:pt x="7" y="2"/>
                    </a:lnTo>
                    <a:lnTo>
                      <a:pt x="11" y="0"/>
                    </a:lnTo>
                    <a:lnTo>
                      <a:pt x="16" y="0"/>
                    </a:lnTo>
                    <a:close/>
                  </a:path>
                </a:pathLst>
              </a:custGeom>
              <a:solidFill>
                <a:schemeClr val="accent5"/>
              </a:solidFill>
              <a:ln>
                <a:noFill/>
              </a:ln>
            </p:spPr>
            <p:txBody>
              <a:bodyPr/>
              <a:lstStyle/>
              <a:p>
                <a:endParaRPr lang="de-DE" dirty="0"/>
              </a:p>
            </p:txBody>
          </p:sp>
          <p:sp>
            <p:nvSpPr>
              <p:cNvPr id="1773" name="Freeform 534"/>
              <p:cNvSpPr>
                <a:spLocks/>
              </p:cNvSpPr>
              <p:nvPr/>
            </p:nvSpPr>
            <p:spPr bwMode="auto">
              <a:xfrm>
                <a:off x="111219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74" name="Freeform 535"/>
              <p:cNvSpPr>
                <a:spLocks/>
              </p:cNvSpPr>
              <p:nvPr/>
            </p:nvSpPr>
            <p:spPr bwMode="auto">
              <a:xfrm>
                <a:off x="11136257"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775" name="Freeform 536"/>
              <p:cNvSpPr>
                <a:spLocks/>
              </p:cNvSpPr>
              <p:nvPr/>
            </p:nvSpPr>
            <p:spPr bwMode="auto">
              <a:xfrm>
                <a:off x="11148956"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776" name="Freeform 537"/>
              <p:cNvSpPr>
                <a:spLocks/>
              </p:cNvSpPr>
              <p:nvPr/>
            </p:nvSpPr>
            <p:spPr bwMode="auto">
              <a:xfrm>
                <a:off x="11163242" y="5790197"/>
                <a:ext cx="4762" cy="4763"/>
              </a:xfrm>
              <a:custGeom>
                <a:avLst/>
                <a:gdLst>
                  <a:gd name="T0" fmla="*/ 16 w 30"/>
                  <a:gd name="T1" fmla="*/ 0 h 30"/>
                  <a:gd name="T2" fmla="*/ 20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6"/>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777" name="Freeform 538"/>
              <p:cNvSpPr>
                <a:spLocks/>
              </p:cNvSpPr>
              <p:nvPr/>
            </p:nvSpPr>
            <p:spPr bwMode="auto">
              <a:xfrm>
                <a:off x="11177528" y="5790197"/>
                <a:ext cx="4762" cy="4763"/>
              </a:xfrm>
              <a:custGeom>
                <a:avLst/>
                <a:gdLst>
                  <a:gd name="T0" fmla="*/ 15 w 29"/>
                  <a:gd name="T1" fmla="*/ 0 h 30"/>
                  <a:gd name="T2" fmla="*/ 19 w 29"/>
                  <a:gd name="T3" fmla="*/ 0 h 30"/>
                  <a:gd name="T4" fmla="*/ 24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78" name="Freeform 539"/>
              <p:cNvSpPr>
                <a:spLocks/>
              </p:cNvSpPr>
              <p:nvPr/>
            </p:nvSpPr>
            <p:spPr bwMode="auto">
              <a:xfrm>
                <a:off x="11190227"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779" name="Freeform 540"/>
              <p:cNvSpPr>
                <a:spLocks/>
              </p:cNvSpPr>
              <p:nvPr/>
            </p:nvSpPr>
            <p:spPr bwMode="auto">
              <a:xfrm>
                <a:off x="112045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780" name="Freeform 541"/>
              <p:cNvSpPr>
                <a:spLocks/>
              </p:cNvSpPr>
              <p:nvPr/>
            </p:nvSpPr>
            <p:spPr bwMode="auto">
              <a:xfrm>
                <a:off x="11218799"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6"/>
                    </a:lnTo>
                    <a:lnTo>
                      <a:pt x="5" y="2"/>
                    </a:lnTo>
                    <a:lnTo>
                      <a:pt x="10" y="0"/>
                    </a:lnTo>
                    <a:lnTo>
                      <a:pt x="14" y="0"/>
                    </a:lnTo>
                    <a:close/>
                  </a:path>
                </a:pathLst>
              </a:custGeom>
              <a:solidFill>
                <a:schemeClr val="accent5"/>
              </a:solidFill>
              <a:ln>
                <a:noFill/>
              </a:ln>
            </p:spPr>
            <p:txBody>
              <a:bodyPr/>
              <a:lstStyle/>
              <a:p>
                <a:endParaRPr lang="de-DE" dirty="0"/>
              </a:p>
            </p:txBody>
          </p:sp>
          <p:sp>
            <p:nvSpPr>
              <p:cNvPr id="1781" name="Freeform 542"/>
              <p:cNvSpPr>
                <a:spLocks/>
              </p:cNvSpPr>
              <p:nvPr/>
            </p:nvSpPr>
            <p:spPr bwMode="auto">
              <a:xfrm>
                <a:off x="11233085"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782" name="Freeform 543"/>
              <p:cNvSpPr>
                <a:spLocks/>
              </p:cNvSpPr>
              <p:nvPr/>
            </p:nvSpPr>
            <p:spPr bwMode="auto">
              <a:xfrm>
                <a:off x="11247371"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83" name="Freeform 544"/>
              <p:cNvSpPr>
                <a:spLocks/>
              </p:cNvSpPr>
              <p:nvPr/>
            </p:nvSpPr>
            <p:spPr bwMode="auto">
              <a:xfrm>
                <a:off x="11260070" y="5790197"/>
                <a:ext cx="4762" cy="4763"/>
              </a:xfrm>
              <a:custGeom>
                <a:avLst/>
                <a:gdLst>
                  <a:gd name="T0" fmla="*/ 15 w 29"/>
                  <a:gd name="T1" fmla="*/ 0 h 30"/>
                  <a:gd name="T2" fmla="*/ 19 w 29"/>
                  <a:gd name="T3" fmla="*/ 0 h 30"/>
                  <a:gd name="T4" fmla="*/ 23 w 29"/>
                  <a:gd name="T5" fmla="*/ 2 h 30"/>
                  <a:gd name="T6" fmla="*/ 27 w 29"/>
                  <a:gd name="T7" fmla="*/ 6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6"/>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784" name="Freeform 545"/>
              <p:cNvSpPr>
                <a:spLocks/>
              </p:cNvSpPr>
              <p:nvPr/>
            </p:nvSpPr>
            <p:spPr bwMode="auto">
              <a:xfrm>
                <a:off x="11274356" y="5790197"/>
                <a:ext cx="4762" cy="4763"/>
              </a:xfrm>
              <a:custGeom>
                <a:avLst/>
                <a:gdLst>
                  <a:gd name="T0" fmla="*/ 14 w 29"/>
                  <a:gd name="T1" fmla="*/ 0 h 30"/>
                  <a:gd name="T2" fmla="*/ 19 w 29"/>
                  <a:gd name="T3" fmla="*/ 0 h 30"/>
                  <a:gd name="T4" fmla="*/ 23 w 29"/>
                  <a:gd name="T5" fmla="*/ 2 h 30"/>
                  <a:gd name="T6" fmla="*/ 26 w 29"/>
                  <a:gd name="T7" fmla="*/ 6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6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6"/>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785" name="Freeform 546"/>
              <p:cNvSpPr>
                <a:spLocks/>
              </p:cNvSpPr>
              <p:nvPr/>
            </p:nvSpPr>
            <p:spPr bwMode="auto">
              <a:xfrm>
                <a:off x="11288642" y="5790197"/>
                <a:ext cx="4762" cy="4763"/>
              </a:xfrm>
              <a:custGeom>
                <a:avLst/>
                <a:gdLst>
                  <a:gd name="T0" fmla="*/ 15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6"/>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6"/>
                    </a:lnTo>
                    <a:lnTo>
                      <a:pt x="7" y="2"/>
                    </a:lnTo>
                    <a:lnTo>
                      <a:pt x="10" y="0"/>
                    </a:lnTo>
                    <a:lnTo>
                      <a:pt x="15" y="0"/>
                    </a:lnTo>
                    <a:close/>
                  </a:path>
                </a:pathLst>
              </a:custGeom>
              <a:solidFill>
                <a:schemeClr val="accent5"/>
              </a:solidFill>
              <a:ln>
                <a:noFill/>
              </a:ln>
            </p:spPr>
            <p:txBody>
              <a:bodyPr/>
              <a:lstStyle/>
              <a:p>
                <a:endParaRPr lang="de-DE" dirty="0"/>
              </a:p>
            </p:txBody>
          </p:sp>
          <p:sp>
            <p:nvSpPr>
              <p:cNvPr id="1786" name="Freeform 547"/>
              <p:cNvSpPr>
                <a:spLocks/>
              </p:cNvSpPr>
              <p:nvPr/>
            </p:nvSpPr>
            <p:spPr bwMode="auto">
              <a:xfrm>
                <a:off x="113029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787" name="Freeform 548"/>
              <p:cNvSpPr>
                <a:spLocks/>
              </p:cNvSpPr>
              <p:nvPr/>
            </p:nvSpPr>
            <p:spPr bwMode="auto">
              <a:xfrm>
                <a:off x="113156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88" name="Freeform 549"/>
              <p:cNvSpPr>
                <a:spLocks/>
              </p:cNvSpPr>
              <p:nvPr/>
            </p:nvSpPr>
            <p:spPr bwMode="auto">
              <a:xfrm>
                <a:off x="11329913"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6"/>
                    </a:lnTo>
                    <a:lnTo>
                      <a:pt x="6" y="2"/>
                    </a:lnTo>
                    <a:lnTo>
                      <a:pt x="10" y="0"/>
                    </a:lnTo>
                    <a:lnTo>
                      <a:pt x="15" y="0"/>
                    </a:lnTo>
                    <a:close/>
                  </a:path>
                </a:pathLst>
              </a:custGeom>
              <a:solidFill>
                <a:schemeClr val="accent5"/>
              </a:solidFill>
              <a:ln>
                <a:noFill/>
              </a:ln>
            </p:spPr>
            <p:txBody>
              <a:bodyPr/>
              <a:lstStyle/>
              <a:p>
                <a:endParaRPr lang="de-DE" dirty="0"/>
              </a:p>
            </p:txBody>
          </p:sp>
          <p:sp>
            <p:nvSpPr>
              <p:cNvPr id="1789" name="Freeform 550"/>
              <p:cNvSpPr>
                <a:spLocks/>
              </p:cNvSpPr>
              <p:nvPr/>
            </p:nvSpPr>
            <p:spPr bwMode="auto">
              <a:xfrm>
                <a:off x="11344199" y="5790197"/>
                <a:ext cx="4762" cy="4763"/>
              </a:xfrm>
              <a:custGeom>
                <a:avLst/>
                <a:gdLst>
                  <a:gd name="T0" fmla="*/ 14 w 30"/>
                  <a:gd name="T1" fmla="*/ 0 h 30"/>
                  <a:gd name="T2" fmla="*/ 20 w 30"/>
                  <a:gd name="T3" fmla="*/ 0 h 30"/>
                  <a:gd name="T4" fmla="*/ 23 w 30"/>
                  <a:gd name="T5" fmla="*/ 2 h 30"/>
                  <a:gd name="T6" fmla="*/ 26 w 30"/>
                  <a:gd name="T7" fmla="*/ 6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790" name="Freeform 551"/>
              <p:cNvSpPr>
                <a:spLocks/>
              </p:cNvSpPr>
              <p:nvPr/>
            </p:nvSpPr>
            <p:spPr bwMode="auto">
              <a:xfrm>
                <a:off x="11358485" y="5790197"/>
                <a:ext cx="4762" cy="4763"/>
              </a:xfrm>
              <a:custGeom>
                <a:avLst/>
                <a:gdLst>
                  <a:gd name="T0" fmla="*/ 16 w 30"/>
                  <a:gd name="T1" fmla="*/ 0 h 30"/>
                  <a:gd name="T2" fmla="*/ 20 w 30"/>
                  <a:gd name="T3" fmla="*/ 0 h 30"/>
                  <a:gd name="T4" fmla="*/ 23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6"/>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6"/>
                    </a:lnTo>
                    <a:lnTo>
                      <a:pt x="7" y="2"/>
                    </a:lnTo>
                    <a:lnTo>
                      <a:pt x="10" y="0"/>
                    </a:lnTo>
                    <a:lnTo>
                      <a:pt x="16" y="0"/>
                    </a:lnTo>
                    <a:close/>
                  </a:path>
                </a:pathLst>
              </a:custGeom>
              <a:solidFill>
                <a:schemeClr val="accent5"/>
              </a:solidFill>
              <a:ln>
                <a:noFill/>
              </a:ln>
            </p:spPr>
            <p:txBody>
              <a:bodyPr/>
              <a:lstStyle/>
              <a:p>
                <a:endParaRPr lang="de-DE" dirty="0"/>
              </a:p>
            </p:txBody>
          </p:sp>
          <p:sp>
            <p:nvSpPr>
              <p:cNvPr id="1791" name="Freeform 552"/>
              <p:cNvSpPr>
                <a:spLocks/>
              </p:cNvSpPr>
              <p:nvPr/>
            </p:nvSpPr>
            <p:spPr bwMode="auto">
              <a:xfrm>
                <a:off x="11371184" y="5790197"/>
                <a:ext cx="4762" cy="4763"/>
              </a:xfrm>
              <a:custGeom>
                <a:avLst/>
                <a:gdLst>
                  <a:gd name="T0" fmla="*/ 15 w 29"/>
                  <a:gd name="T1" fmla="*/ 0 h 30"/>
                  <a:gd name="T2" fmla="*/ 19 w 29"/>
                  <a:gd name="T3" fmla="*/ 0 h 30"/>
                  <a:gd name="T4" fmla="*/ 24 w 29"/>
                  <a:gd name="T5" fmla="*/ 2 h 30"/>
                  <a:gd name="T6" fmla="*/ 27 w 29"/>
                  <a:gd name="T7" fmla="*/ 6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6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6"/>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6"/>
                    </a:lnTo>
                    <a:lnTo>
                      <a:pt x="6" y="2"/>
                    </a:lnTo>
                    <a:lnTo>
                      <a:pt x="9" y="0"/>
                    </a:lnTo>
                    <a:lnTo>
                      <a:pt x="15" y="0"/>
                    </a:lnTo>
                    <a:close/>
                  </a:path>
                </a:pathLst>
              </a:custGeom>
              <a:solidFill>
                <a:schemeClr val="accent5"/>
              </a:solidFill>
              <a:ln>
                <a:noFill/>
              </a:ln>
            </p:spPr>
            <p:txBody>
              <a:bodyPr/>
              <a:lstStyle/>
              <a:p>
                <a:endParaRPr lang="de-DE" dirty="0"/>
              </a:p>
            </p:txBody>
          </p:sp>
          <p:sp>
            <p:nvSpPr>
              <p:cNvPr id="1792" name="Freeform 553"/>
              <p:cNvSpPr>
                <a:spLocks/>
              </p:cNvSpPr>
              <p:nvPr/>
            </p:nvSpPr>
            <p:spPr bwMode="auto">
              <a:xfrm>
                <a:off x="11385470" y="5790197"/>
                <a:ext cx="4762" cy="4763"/>
              </a:xfrm>
              <a:custGeom>
                <a:avLst/>
                <a:gdLst>
                  <a:gd name="T0" fmla="*/ 15 w 30"/>
                  <a:gd name="T1" fmla="*/ 0 h 30"/>
                  <a:gd name="T2" fmla="*/ 20 w 30"/>
                  <a:gd name="T3" fmla="*/ 0 h 30"/>
                  <a:gd name="T4" fmla="*/ 24 w 30"/>
                  <a:gd name="T5" fmla="*/ 2 h 30"/>
                  <a:gd name="T6" fmla="*/ 28 w 30"/>
                  <a:gd name="T7" fmla="*/ 6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6"/>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6"/>
                    </a:lnTo>
                    <a:lnTo>
                      <a:pt x="7" y="2"/>
                    </a:lnTo>
                    <a:lnTo>
                      <a:pt x="11" y="0"/>
                    </a:lnTo>
                    <a:lnTo>
                      <a:pt x="15" y="0"/>
                    </a:lnTo>
                    <a:close/>
                  </a:path>
                </a:pathLst>
              </a:custGeom>
              <a:solidFill>
                <a:schemeClr val="accent5"/>
              </a:solidFill>
              <a:ln>
                <a:noFill/>
              </a:ln>
            </p:spPr>
            <p:txBody>
              <a:bodyPr/>
              <a:lstStyle/>
              <a:p>
                <a:endParaRPr lang="de-DE" dirty="0"/>
              </a:p>
            </p:txBody>
          </p:sp>
          <p:sp>
            <p:nvSpPr>
              <p:cNvPr id="1793" name="Freeform 554"/>
              <p:cNvSpPr>
                <a:spLocks/>
              </p:cNvSpPr>
              <p:nvPr/>
            </p:nvSpPr>
            <p:spPr bwMode="auto">
              <a:xfrm>
                <a:off x="11399756" y="5790197"/>
                <a:ext cx="4762" cy="4763"/>
              </a:xfrm>
              <a:custGeom>
                <a:avLst/>
                <a:gdLst>
                  <a:gd name="T0" fmla="*/ 15 w 30"/>
                  <a:gd name="T1" fmla="*/ 0 h 30"/>
                  <a:gd name="T2" fmla="*/ 19 w 30"/>
                  <a:gd name="T3" fmla="*/ 0 h 30"/>
                  <a:gd name="T4" fmla="*/ 24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6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6"/>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6"/>
                    </a:lnTo>
                    <a:lnTo>
                      <a:pt x="6" y="2"/>
                    </a:lnTo>
                    <a:lnTo>
                      <a:pt x="10" y="0"/>
                    </a:lnTo>
                    <a:lnTo>
                      <a:pt x="15" y="0"/>
                    </a:lnTo>
                    <a:close/>
                  </a:path>
                </a:pathLst>
              </a:custGeom>
              <a:solidFill>
                <a:schemeClr val="accent5"/>
              </a:solidFill>
              <a:ln>
                <a:noFill/>
              </a:ln>
            </p:spPr>
            <p:txBody>
              <a:bodyPr/>
              <a:lstStyle/>
              <a:p>
                <a:endParaRPr lang="de-DE" dirty="0"/>
              </a:p>
            </p:txBody>
          </p:sp>
          <p:sp>
            <p:nvSpPr>
              <p:cNvPr id="1794" name="Freeform 555"/>
              <p:cNvSpPr>
                <a:spLocks/>
              </p:cNvSpPr>
              <p:nvPr/>
            </p:nvSpPr>
            <p:spPr bwMode="auto">
              <a:xfrm>
                <a:off x="11414042" y="5790197"/>
                <a:ext cx="4762" cy="4763"/>
              </a:xfrm>
              <a:custGeom>
                <a:avLst/>
                <a:gdLst>
                  <a:gd name="T0" fmla="*/ 14 w 30"/>
                  <a:gd name="T1" fmla="*/ 0 h 30"/>
                  <a:gd name="T2" fmla="*/ 20 w 30"/>
                  <a:gd name="T3" fmla="*/ 0 h 30"/>
                  <a:gd name="T4" fmla="*/ 23 w 30"/>
                  <a:gd name="T5" fmla="*/ 2 h 30"/>
                  <a:gd name="T6" fmla="*/ 26 w 30"/>
                  <a:gd name="T7" fmla="*/ 6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6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6"/>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6"/>
                    </a:lnTo>
                    <a:lnTo>
                      <a:pt x="5" y="2"/>
                    </a:lnTo>
                    <a:lnTo>
                      <a:pt x="10" y="0"/>
                    </a:lnTo>
                    <a:lnTo>
                      <a:pt x="14" y="0"/>
                    </a:lnTo>
                    <a:close/>
                  </a:path>
                </a:pathLst>
              </a:custGeom>
              <a:solidFill>
                <a:schemeClr val="accent5"/>
              </a:solidFill>
              <a:ln>
                <a:noFill/>
              </a:ln>
            </p:spPr>
            <p:txBody>
              <a:bodyPr/>
              <a:lstStyle/>
              <a:p>
                <a:endParaRPr lang="de-DE" dirty="0"/>
              </a:p>
            </p:txBody>
          </p:sp>
          <p:sp>
            <p:nvSpPr>
              <p:cNvPr id="1795" name="Freeform 556"/>
              <p:cNvSpPr>
                <a:spLocks/>
              </p:cNvSpPr>
              <p:nvPr/>
            </p:nvSpPr>
            <p:spPr bwMode="auto">
              <a:xfrm>
                <a:off x="11428328" y="5790197"/>
                <a:ext cx="4762" cy="4763"/>
              </a:xfrm>
              <a:custGeom>
                <a:avLst/>
                <a:gdLst>
                  <a:gd name="T0" fmla="*/ 16 w 30"/>
                  <a:gd name="T1" fmla="*/ 0 h 30"/>
                  <a:gd name="T2" fmla="*/ 20 w 30"/>
                  <a:gd name="T3" fmla="*/ 0 h 30"/>
                  <a:gd name="T4" fmla="*/ 25 w 30"/>
                  <a:gd name="T5" fmla="*/ 2 h 30"/>
                  <a:gd name="T6" fmla="*/ 27 w 30"/>
                  <a:gd name="T7" fmla="*/ 6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6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6"/>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6"/>
                    </a:lnTo>
                    <a:lnTo>
                      <a:pt x="7" y="2"/>
                    </a:lnTo>
                    <a:lnTo>
                      <a:pt x="10" y="0"/>
                    </a:lnTo>
                    <a:lnTo>
                      <a:pt x="16" y="0"/>
                    </a:lnTo>
                    <a:close/>
                  </a:path>
                </a:pathLst>
              </a:custGeom>
              <a:solidFill>
                <a:schemeClr val="accent5"/>
              </a:solidFill>
              <a:ln>
                <a:noFill/>
              </a:ln>
            </p:spPr>
            <p:txBody>
              <a:bodyPr/>
              <a:lstStyle/>
              <a:p>
                <a:endParaRPr lang="de-DE" dirty="0"/>
              </a:p>
            </p:txBody>
          </p:sp>
          <p:sp>
            <p:nvSpPr>
              <p:cNvPr id="1796" name="Freeform 557"/>
              <p:cNvSpPr>
                <a:spLocks/>
              </p:cNvSpPr>
              <p:nvPr/>
            </p:nvSpPr>
            <p:spPr bwMode="auto">
              <a:xfrm>
                <a:off x="11441027" y="5790197"/>
                <a:ext cx="4762" cy="4763"/>
              </a:xfrm>
              <a:custGeom>
                <a:avLst/>
                <a:gdLst>
                  <a:gd name="T0" fmla="*/ 15 w 30"/>
                  <a:gd name="T1" fmla="*/ 0 h 30"/>
                  <a:gd name="T2" fmla="*/ 20 w 30"/>
                  <a:gd name="T3" fmla="*/ 0 h 30"/>
                  <a:gd name="T4" fmla="*/ 24 w 30"/>
                  <a:gd name="T5" fmla="*/ 2 h 30"/>
                  <a:gd name="T6" fmla="*/ 27 w 30"/>
                  <a:gd name="T7" fmla="*/ 6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6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6"/>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6"/>
                    </a:lnTo>
                    <a:lnTo>
                      <a:pt x="6" y="2"/>
                    </a:lnTo>
                    <a:lnTo>
                      <a:pt x="11" y="0"/>
                    </a:lnTo>
                    <a:lnTo>
                      <a:pt x="15" y="0"/>
                    </a:lnTo>
                    <a:close/>
                  </a:path>
                </a:pathLst>
              </a:custGeom>
              <a:solidFill>
                <a:schemeClr val="accent5"/>
              </a:solidFill>
              <a:ln>
                <a:noFill/>
              </a:ln>
            </p:spPr>
            <p:txBody>
              <a:bodyPr/>
              <a:lstStyle/>
              <a:p>
                <a:endParaRPr lang="de-DE" dirty="0"/>
              </a:p>
            </p:txBody>
          </p:sp>
          <p:sp>
            <p:nvSpPr>
              <p:cNvPr id="1797" name="Freeform 558"/>
              <p:cNvSpPr>
                <a:spLocks/>
              </p:cNvSpPr>
              <p:nvPr/>
            </p:nvSpPr>
            <p:spPr bwMode="auto">
              <a:xfrm>
                <a:off x="10967999"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798" name="Freeform 559"/>
              <p:cNvSpPr>
                <a:spLocks/>
              </p:cNvSpPr>
              <p:nvPr/>
            </p:nvSpPr>
            <p:spPr bwMode="auto">
              <a:xfrm>
                <a:off x="10982285"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799" name="Freeform 560"/>
              <p:cNvSpPr>
                <a:spLocks/>
              </p:cNvSpPr>
              <p:nvPr/>
            </p:nvSpPr>
            <p:spPr bwMode="auto">
              <a:xfrm>
                <a:off x="10996571" y="5845766"/>
                <a:ext cx="4762" cy="3175"/>
              </a:xfrm>
              <a:custGeom>
                <a:avLst/>
                <a:gdLst>
                  <a:gd name="T0" fmla="*/ 14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4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0"/>
                    </a:lnTo>
                    <a:lnTo>
                      <a:pt x="30" y="16"/>
                    </a:lnTo>
                    <a:lnTo>
                      <a:pt x="29" y="20"/>
                    </a:lnTo>
                    <a:lnTo>
                      <a:pt x="27" y="23"/>
                    </a:lnTo>
                    <a:lnTo>
                      <a:pt x="23" y="27"/>
                    </a:lnTo>
                    <a:lnTo>
                      <a:pt x="19" y="29"/>
                    </a:lnTo>
                    <a:lnTo>
                      <a:pt x="14" y="30"/>
                    </a:lnTo>
                    <a:lnTo>
                      <a:pt x="10" y="29"/>
                    </a:lnTo>
                    <a:lnTo>
                      <a:pt x="6" y="27"/>
                    </a:lnTo>
                    <a:lnTo>
                      <a:pt x="2" y="23"/>
                    </a:lnTo>
                    <a:lnTo>
                      <a:pt x="0" y="20"/>
                    </a:lnTo>
                    <a:lnTo>
                      <a:pt x="0" y="16"/>
                    </a:lnTo>
                    <a:lnTo>
                      <a:pt x="0" y="10"/>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1800" name="Freeform 561"/>
              <p:cNvSpPr>
                <a:spLocks/>
              </p:cNvSpPr>
              <p:nvPr/>
            </p:nvSpPr>
            <p:spPr bwMode="auto">
              <a:xfrm>
                <a:off x="11010857" y="5845766"/>
                <a:ext cx="4762" cy="3175"/>
              </a:xfrm>
              <a:custGeom>
                <a:avLst/>
                <a:gdLst>
                  <a:gd name="T0" fmla="*/ 15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0"/>
                    </a:lnTo>
                    <a:lnTo>
                      <a:pt x="30" y="16"/>
                    </a:lnTo>
                    <a:lnTo>
                      <a:pt x="29" y="20"/>
                    </a:lnTo>
                    <a:lnTo>
                      <a:pt x="27" y="23"/>
                    </a:lnTo>
                    <a:lnTo>
                      <a:pt x="24" y="27"/>
                    </a:lnTo>
                    <a:lnTo>
                      <a:pt x="20"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801" name="Freeform 562"/>
              <p:cNvSpPr>
                <a:spLocks/>
              </p:cNvSpPr>
              <p:nvPr/>
            </p:nvSpPr>
            <p:spPr bwMode="auto">
              <a:xfrm>
                <a:off x="11023556"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802" name="Freeform 563"/>
              <p:cNvSpPr>
                <a:spLocks/>
              </p:cNvSpPr>
              <p:nvPr/>
            </p:nvSpPr>
            <p:spPr bwMode="auto">
              <a:xfrm>
                <a:off x="11037842"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803" name="Freeform 564"/>
              <p:cNvSpPr>
                <a:spLocks/>
              </p:cNvSpPr>
              <p:nvPr/>
            </p:nvSpPr>
            <p:spPr bwMode="auto">
              <a:xfrm>
                <a:off x="11052128"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804" name="Freeform 565"/>
              <p:cNvSpPr>
                <a:spLocks/>
              </p:cNvSpPr>
              <p:nvPr/>
            </p:nvSpPr>
            <p:spPr bwMode="auto">
              <a:xfrm>
                <a:off x="11066414" y="5845766"/>
                <a:ext cx="4762" cy="3175"/>
              </a:xfrm>
              <a:custGeom>
                <a:avLst/>
                <a:gdLst>
                  <a:gd name="T0" fmla="*/ 15 w 30"/>
                  <a:gd name="T1" fmla="*/ 0 h 30"/>
                  <a:gd name="T2" fmla="*/ 19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0"/>
                    </a:lnTo>
                    <a:lnTo>
                      <a:pt x="30"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805" name="Freeform 566"/>
              <p:cNvSpPr>
                <a:spLocks/>
              </p:cNvSpPr>
              <p:nvPr/>
            </p:nvSpPr>
            <p:spPr bwMode="auto">
              <a:xfrm>
                <a:off x="11079113"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806" name="Freeform 567"/>
              <p:cNvSpPr>
                <a:spLocks/>
              </p:cNvSpPr>
              <p:nvPr/>
            </p:nvSpPr>
            <p:spPr bwMode="auto">
              <a:xfrm>
                <a:off x="11093399"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807" name="Freeform 568"/>
              <p:cNvSpPr>
                <a:spLocks/>
              </p:cNvSpPr>
              <p:nvPr/>
            </p:nvSpPr>
            <p:spPr bwMode="auto">
              <a:xfrm>
                <a:off x="11107685" y="5845766"/>
                <a:ext cx="4762" cy="3175"/>
              </a:xfrm>
              <a:custGeom>
                <a:avLst/>
                <a:gdLst>
                  <a:gd name="T0" fmla="*/ 16 w 30"/>
                  <a:gd name="T1" fmla="*/ 0 h 30"/>
                  <a:gd name="T2" fmla="*/ 20 w 30"/>
                  <a:gd name="T3" fmla="*/ 1 h 30"/>
                  <a:gd name="T4" fmla="*/ 25 w 30"/>
                  <a:gd name="T5" fmla="*/ 3 h 30"/>
                  <a:gd name="T6" fmla="*/ 28 w 30"/>
                  <a:gd name="T7" fmla="*/ 7 h 30"/>
                  <a:gd name="T8" fmla="*/ 29 w 30"/>
                  <a:gd name="T9" fmla="*/ 10 h 30"/>
                  <a:gd name="T10" fmla="*/ 30 w 30"/>
                  <a:gd name="T11" fmla="*/ 16 h 30"/>
                  <a:gd name="T12" fmla="*/ 29 w 30"/>
                  <a:gd name="T13" fmla="*/ 20 h 30"/>
                  <a:gd name="T14" fmla="*/ 28 w 30"/>
                  <a:gd name="T15" fmla="*/ 23 h 30"/>
                  <a:gd name="T16" fmla="*/ 25 w 30"/>
                  <a:gd name="T17" fmla="*/ 27 h 30"/>
                  <a:gd name="T18" fmla="*/ 20 w 30"/>
                  <a:gd name="T19" fmla="*/ 29 h 30"/>
                  <a:gd name="T20" fmla="*/ 16 w 30"/>
                  <a:gd name="T21" fmla="*/ 30 h 30"/>
                  <a:gd name="T22" fmla="*/ 11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0"/>
                    </a:lnTo>
                    <a:lnTo>
                      <a:pt x="30" y="16"/>
                    </a:lnTo>
                    <a:lnTo>
                      <a:pt x="29" y="20"/>
                    </a:lnTo>
                    <a:lnTo>
                      <a:pt x="28" y="23"/>
                    </a:lnTo>
                    <a:lnTo>
                      <a:pt x="25" y="27"/>
                    </a:lnTo>
                    <a:lnTo>
                      <a:pt x="20" y="29"/>
                    </a:lnTo>
                    <a:lnTo>
                      <a:pt x="16" y="30"/>
                    </a:lnTo>
                    <a:lnTo>
                      <a:pt x="11" y="29"/>
                    </a:lnTo>
                    <a:lnTo>
                      <a:pt x="7" y="27"/>
                    </a:lnTo>
                    <a:lnTo>
                      <a:pt x="4" y="23"/>
                    </a:lnTo>
                    <a:lnTo>
                      <a:pt x="1" y="20"/>
                    </a:lnTo>
                    <a:lnTo>
                      <a:pt x="0" y="16"/>
                    </a:lnTo>
                    <a:lnTo>
                      <a:pt x="1" y="10"/>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1808" name="Freeform 569"/>
              <p:cNvSpPr>
                <a:spLocks/>
              </p:cNvSpPr>
              <p:nvPr/>
            </p:nvSpPr>
            <p:spPr bwMode="auto">
              <a:xfrm>
                <a:off x="111219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809" name="Freeform 570"/>
              <p:cNvSpPr>
                <a:spLocks/>
              </p:cNvSpPr>
              <p:nvPr/>
            </p:nvSpPr>
            <p:spPr bwMode="auto">
              <a:xfrm>
                <a:off x="11136257"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810" name="Freeform 571"/>
              <p:cNvSpPr>
                <a:spLocks/>
              </p:cNvSpPr>
              <p:nvPr/>
            </p:nvSpPr>
            <p:spPr bwMode="auto">
              <a:xfrm>
                <a:off x="11148956"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811" name="Freeform 572"/>
              <p:cNvSpPr>
                <a:spLocks/>
              </p:cNvSpPr>
              <p:nvPr/>
            </p:nvSpPr>
            <p:spPr bwMode="auto">
              <a:xfrm>
                <a:off x="11163242" y="5845766"/>
                <a:ext cx="4762" cy="3175"/>
              </a:xfrm>
              <a:custGeom>
                <a:avLst/>
                <a:gdLst>
                  <a:gd name="T0" fmla="*/ 16 w 30"/>
                  <a:gd name="T1" fmla="*/ 0 h 30"/>
                  <a:gd name="T2" fmla="*/ 20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0"/>
                    </a:lnTo>
                    <a:lnTo>
                      <a:pt x="30" y="16"/>
                    </a:lnTo>
                    <a:lnTo>
                      <a:pt x="29" y="20"/>
                    </a:lnTo>
                    <a:lnTo>
                      <a:pt x="27" y="23"/>
                    </a:lnTo>
                    <a:lnTo>
                      <a:pt x="24"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812" name="Freeform 573"/>
              <p:cNvSpPr>
                <a:spLocks/>
              </p:cNvSpPr>
              <p:nvPr/>
            </p:nvSpPr>
            <p:spPr bwMode="auto">
              <a:xfrm>
                <a:off x="11177528" y="5845766"/>
                <a:ext cx="4762" cy="3175"/>
              </a:xfrm>
              <a:custGeom>
                <a:avLst/>
                <a:gdLst>
                  <a:gd name="T0" fmla="*/ 15 w 29"/>
                  <a:gd name="T1" fmla="*/ 0 h 30"/>
                  <a:gd name="T2" fmla="*/ 19 w 29"/>
                  <a:gd name="T3" fmla="*/ 1 h 30"/>
                  <a:gd name="T4" fmla="*/ 24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4 w 29"/>
                  <a:gd name="T17" fmla="*/ 27 h 30"/>
                  <a:gd name="T18" fmla="*/ 19 w 29"/>
                  <a:gd name="T19" fmla="*/ 29 h 30"/>
                  <a:gd name="T20" fmla="*/ 15 w 29"/>
                  <a:gd name="T21" fmla="*/ 30 h 30"/>
                  <a:gd name="T22" fmla="*/ 11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0"/>
                    </a:lnTo>
                    <a:lnTo>
                      <a:pt x="29" y="16"/>
                    </a:lnTo>
                    <a:lnTo>
                      <a:pt x="29" y="20"/>
                    </a:lnTo>
                    <a:lnTo>
                      <a:pt x="27" y="23"/>
                    </a:lnTo>
                    <a:lnTo>
                      <a:pt x="24" y="27"/>
                    </a:lnTo>
                    <a:lnTo>
                      <a:pt x="19"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813" name="Freeform 574"/>
              <p:cNvSpPr>
                <a:spLocks/>
              </p:cNvSpPr>
              <p:nvPr/>
            </p:nvSpPr>
            <p:spPr bwMode="auto">
              <a:xfrm>
                <a:off x="11190227"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814" name="Freeform 575"/>
              <p:cNvSpPr>
                <a:spLocks/>
              </p:cNvSpPr>
              <p:nvPr/>
            </p:nvSpPr>
            <p:spPr bwMode="auto">
              <a:xfrm>
                <a:off x="112045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815" name="Freeform 576"/>
              <p:cNvSpPr>
                <a:spLocks/>
              </p:cNvSpPr>
              <p:nvPr/>
            </p:nvSpPr>
            <p:spPr bwMode="auto">
              <a:xfrm>
                <a:off x="11218799"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3" y="23"/>
                    </a:lnTo>
                    <a:lnTo>
                      <a:pt x="1" y="20"/>
                    </a:lnTo>
                    <a:lnTo>
                      <a:pt x="0" y="16"/>
                    </a:lnTo>
                    <a:lnTo>
                      <a:pt x="1" y="10"/>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816" name="Freeform 577"/>
              <p:cNvSpPr>
                <a:spLocks/>
              </p:cNvSpPr>
              <p:nvPr/>
            </p:nvSpPr>
            <p:spPr bwMode="auto">
              <a:xfrm>
                <a:off x="11233085"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817" name="Freeform 578"/>
              <p:cNvSpPr>
                <a:spLocks/>
              </p:cNvSpPr>
              <p:nvPr/>
            </p:nvSpPr>
            <p:spPr bwMode="auto">
              <a:xfrm>
                <a:off x="11247371"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818" name="Freeform 579"/>
              <p:cNvSpPr>
                <a:spLocks/>
              </p:cNvSpPr>
              <p:nvPr/>
            </p:nvSpPr>
            <p:spPr bwMode="auto">
              <a:xfrm>
                <a:off x="11260070" y="5845766"/>
                <a:ext cx="4762" cy="3175"/>
              </a:xfrm>
              <a:custGeom>
                <a:avLst/>
                <a:gdLst>
                  <a:gd name="T0" fmla="*/ 15 w 29"/>
                  <a:gd name="T1" fmla="*/ 0 h 30"/>
                  <a:gd name="T2" fmla="*/ 19 w 29"/>
                  <a:gd name="T3" fmla="*/ 1 h 30"/>
                  <a:gd name="T4" fmla="*/ 23 w 29"/>
                  <a:gd name="T5" fmla="*/ 3 h 30"/>
                  <a:gd name="T6" fmla="*/ 27 w 29"/>
                  <a:gd name="T7" fmla="*/ 7 h 30"/>
                  <a:gd name="T8" fmla="*/ 29 w 29"/>
                  <a:gd name="T9" fmla="*/ 10 h 30"/>
                  <a:gd name="T10" fmla="*/ 29 w 29"/>
                  <a:gd name="T11" fmla="*/ 16 h 30"/>
                  <a:gd name="T12" fmla="*/ 29 w 29"/>
                  <a:gd name="T13" fmla="*/ 20 h 30"/>
                  <a:gd name="T14" fmla="*/ 27 w 29"/>
                  <a:gd name="T15" fmla="*/ 23 h 30"/>
                  <a:gd name="T16" fmla="*/ 23 w 29"/>
                  <a:gd name="T17" fmla="*/ 27 h 30"/>
                  <a:gd name="T18" fmla="*/ 19 w 29"/>
                  <a:gd name="T19" fmla="*/ 29 h 30"/>
                  <a:gd name="T20" fmla="*/ 15 w 29"/>
                  <a:gd name="T21" fmla="*/ 30 h 30"/>
                  <a:gd name="T22" fmla="*/ 10 w 29"/>
                  <a:gd name="T23" fmla="*/ 29 h 30"/>
                  <a:gd name="T24" fmla="*/ 6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0"/>
                    </a:lnTo>
                    <a:lnTo>
                      <a:pt x="29" y="16"/>
                    </a:lnTo>
                    <a:lnTo>
                      <a:pt x="29" y="20"/>
                    </a:lnTo>
                    <a:lnTo>
                      <a:pt x="27" y="23"/>
                    </a:lnTo>
                    <a:lnTo>
                      <a:pt x="23"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819" name="Freeform 580"/>
              <p:cNvSpPr>
                <a:spLocks/>
              </p:cNvSpPr>
              <p:nvPr/>
            </p:nvSpPr>
            <p:spPr bwMode="auto">
              <a:xfrm>
                <a:off x="11274356" y="5845766"/>
                <a:ext cx="4762" cy="3175"/>
              </a:xfrm>
              <a:custGeom>
                <a:avLst/>
                <a:gdLst>
                  <a:gd name="T0" fmla="*/ 14 w 29"/>
                  <a:gd name="T1" fmla="*/ 0 h 30"/>
                  <a:gd name="T2" fmla="*/ 19 w 29"/>
                  <a:gd name="T3" fmla="*/ 1 h 30"/>
                  <a:gd name="T4" fmla="*/ 23 w 29"/>
                  <a:gd name="T5" fmla="*/ 3 h 30"/>
                  <a:gd name="T6" fmla="*/ 26 w 29"/>
                  <a:gd name="T7" fmla="*/ 7 h 30"/>
                  <a:gd name="T8" fmla="*/ 28 w 29"/>
                  <a:gd name="T9" fmla="*/ 10 h 30"/>
                  <a:gd name="T10" fmla="*/ 29 w 29"/>
                  <a:gd name="T11" fmla="*/ 16 h 30"/>
                  <a:gd name="T12" fmla="*/ 28 w 29"/>
                  <a:gd name="T13" fmla="*/ 20 h 30"/>
                  <a:gd name="T14" fmla="*/ 26 w 29"/>
                  <a:gd name="T15" fmla="*/ 23 h 30"/>
                  <a:gd name="T16" fmla="*/ 23 w 29"/>
                  <a:gd name="T17" fmla="*/ 27 h 30"/>
                  <a:gd name="T18" fmla="*/ 19 w 29"/>
                  <a:gd name="T19" fmla="*/ 29 h 30"/>
                  <a:gd name="T20" fmla="*/ 14 w 29"/>
                  <a:gd name="T21" fmla="*/ 30 h 30"/>
                  <a:gd name="T22" fmla="*/ 10 w 29"/>
                  <a:gd name="T23" fmla="*/ 29 h 30"/>
                  <a:gd name="T24" fmla="*/ 5 w 29"/>
                  <a:gd name="T25" fmla="*/ 27 h 30"/>
                  <a:gd name="T26" fmla="*/ 2 w 29"/>
                  <a:gd name="T27" fmla="*/ 23 h 30"/>
                  <a:gd name="T28" fmla="*/ 0 w 29"/>
                  <a:gd name="T29" fmla="*/ 20 h 30"/>
                  <a:gd name="T30" fmla="*/ 0 w 29"/>
                  <a:gd name="T31" fmla="*/ 16 h 30"/>
                  <a:gd name="T32" fmla="*/ 0 w 29"/>
                  <a:gd name="T33" fmla="*/ 10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0"/>
                    </a:lnTo>
                    <a:lnTo>
                      <a:pt x="29" y="16"/>
                    </a:lnTo>
                    <a:lnTo>
                      <a:pt x="28" y="20"/>
                    </a:lnTo>
                    <a:lnTo>
                      <a:pt x="26" y="23"/>
                    </a:lnTo>
                    <a:lnTo>
                      <a:pt x="23" y="27"/>
                    </a:lnTo>
                    <a:lnTo>
                      <a:pt x="19"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820" name="Freeform 581"/>
              <p:cNvSpPr>
                <a:spLocks/>
              </p:cNvSpPr>
              <p:nvPr/>
            </p:nvSpPr>
            <p:spPr bwMode="auto">
              <a:xfrm>
                <a:off x="11288642" y="5845766"/>
                <a:ext cx="4762" cy="3175"/>
              </a:xfrm>
              <a:custGeom>
                <a:avLst/>
                <a:gdLst>
                  <a:gd name="T0" fmla="*/ 15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5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0"/>
                    </a:lnTo>
                    <a:lnTo>
                      <a:pt x="30" y="16"/>
                    </a:lnTo>
                    <a:lnTo>
                      <a:pt x="29" y="20"/>
                    </a:lnTo>
                    <a:lnTo>
                      <a:pt x="27" y="23"/>
                    </a:lnTo>
                    <a:lnTo>
                      <a:pt x="23" y="27"/>
                    </a:lnTo>
                    <a:lnTo>
                      <a:pt x="20" y="29"/>
                    </a:lnTo>
                    <a:lnTo>
                      <a:pt x="15" y="30"/>
                    </a:lnTo>
                    <a:lnTo>
                      <a:pt x="10" y="29"/>
                    </a:lnTo>
                    <a:lnTo>
                      <a:pt x="7" y="27"/>
                    </a:lnTo>
                    <a:lnTo>
                      <a:pt x="3" y="23"/>
                    </a:lnTo>
                    <a:lnTo>
                      <a:pt x="1" y="20"/>
                    </a:lnTo>
                    <a:lnTo>
                      <a:pt x="0" y="16"/>
                    </a:lnTo>
                    <a:lnTo>
                      <a:pt x="1" y="10"/>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821" name="Freeform 582"/>
              <p:cNvSpPr>
                <a:spLocks/>
              </p:cNvSpPr>
              <p:nvPr/>
            </p:nvSpPr>
            <p:spPr bwMode="auto">
              <a:xfrm>
                <a:off x="113029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822" name="Freeform 583"/>
              <p:cNvSpPr>
                <a:spLocks/>
              </p:cNvSpPr>
              <p:nvPr/>
            </p:nvSpPr>
            <p:spPr bwMode="auto">
              <a:xfrm>
                <a:off x="113156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823" name="Freeform 584"/>
              <p:cNvSpPr>
                <a:spLocks/>
              </p:cNvSpPr>
              <p:nvPr/>
            </p:nvSpPr>
            <p:spPr bwMode="auto">
              <a:xfrm>
                <a:off x="11329913"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2" y="23"/>
                    </a:lnTo>
                    <a:lnTo>
                      <a:pt x="0" y="20"/>
                    </a:lnTo>
                    <a:lnTo>
                      <a:pt x="0" y="16"/>
                    </a:lnTo>
                    <a:lnTo>
                      <a:pt x="0" y="10"/>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824" name="Freeform 585"/>
              <p:cNvSpPr>
                <a:spLocks/>
              </p:cNvSpPr>
              <p:nvPr/>
            </p:nvSpPr>
            <p:spPr bwMode="auto">
              <a:xfrm>
                <a:off x="11344199" y="5845766"/>
                <a:ext cx="4762" cy="3175"/>
              </a:xfrm>
              <a:custGeom>
                <a:avLst/>
                <a:gdLst>
                  <a:gd name="T0" fmla="*/ 14 w 30"/>
                  <a:gd name="T1" fmla="*/ 0 h 30"/>
                  <a:gd name="T2" fmla="*/ 20 w 30"/>
                  <a:gd name="T3" fmla="*/ 1 h 30"/>
                  <a:gd name="T4" fmla="*/ 23 w 30"/>
                  <a:gd name="T5" fmla="*/ 3 h 30"/>
                  <a:gd name="T6" fmla="*/ 26 w 30"/>
                  <a:gd name="T7" fmla="*/ 7 h 30"/>
                  <a:gd name="T8" fmla="*/ 28 w 30"/>
                  <a:gd name="T9" fmla="*/ 10 h 30"/>
                  <a:gd name="T10" fmla="*/ 30 w 30"/>
                  <a:gd name="T11" fmla="*/ 16 h 30"/>
                  <a:gd name="T12" fmla="*/ 28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0 w 30"/>
                  <a:gd name="T29" fmla="*/ 20 h 30"/>
                  <a:gd name="T30" fmla="*/ 0 w 30"/>
                  <a:gd name="T31" fmla="*/ 16 h 30"/>
                  <a:gd name="T32" fmla="*/ 0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0"/>
                    </a:lnTo>
                    <a:lnTo>
                      <a:pt x="30" y="16"/>
                    </a:lnTo>
                    <a:lnTo>
                      <a:pt x="28" y="20"/>
                    </a:lnTo>
                    <a:lnTo>
                      <a:pt x="26" y="23"/>
                    </a:lnTo>
                    <a:lnTo>
                      <a:pt x="23" y="27"/>
                    </a:lnTo>
                    <a:lnTo>
                      <a:pt x="20" y="29"/>
                    </a:lnTo>
                    <a:lnTo>
                      <a:pt x="14" y="30"/>
                    </a:lnTo>
                    <a:lnTo>
                      <a:pt x="10" y="29"/>
                    </a:lnTo>
                    <a:lnTo>
                      <a:pt x="5" y="27"/>
                    </a:lnTo>
                    <a:lnTo>
                      <a:pt x="2" y="23"/>
                    </a:lnTo>
                    <a:lnTo>
                      <a:pt x="0" y="20"/>
                    </a:lnTo>
                    <a:lnTo>
                      <a:pt x="0" y="16"/>
                    </a:lnTo>
                    <a:lnTo>
                      <a:pt x="0"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825" name="Freeform 586"/>
              <p:cNvSpPr>
                <a:spLocks/>
              </p:cNvSpPr>
              <p:nvPr/>
            </p:nvSpPr>
            <p:spPr bwMode="auto">
              <a:xfrm>
                <a:off x="11358485" y="5845766"/>
                <a:ext cx="4762" cy="3175"/>
              </a:xfrm>
              <a:custGeom>
                <a:avLst/>
                <a:gdLst>
                  <a:gd name="T0" fmla="*/ 16 w 30"/>
                  <a:gd name="T1" fmla="*/ 0 h 30"/>
                  <a:gd name="T2" fmla="*/ 20 w 30"/>
                  <a:gd name="T3" fmla="*/ 1 h 30"/>
                  <a:gd name="T4" fmla="*/ 23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3 w 30"/>
                  <a:gd name="T17" fmla="*/ 27 h 30"/>
                  <a:gd name="T18" fmla="*/ 20 w 30"/>
                  <a:gd name="T19" fmla="*/ 29 h 30"/>
                  <a:gd name="T20" fmla="*/ 16 w 30"/>
                  <a:gd name="T21" fmla="*/ 30 h 30"/>
                  <a:gd name="T22" fmla="*/ 10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0"/>
                    </a:lnTo>
                    <a:lnTo>
                      <a:pt x="30" y="16"/>
                    </a:lnTo>
                    <a:lnTo>
                      <a:pt x="29" y="20"/>
                    </a:lnTo>
                    <a:lnTo>
                      <a:pt x="27" y="23"/>
                    </a:lnTo>
                    <a:lnTo>
                      <a:pt x="23" y="27"/>
                    </a:lnTo>
                    <a:lnTo>
                      <a:pt x="20" y="29"/>
                    </a:lnTo>
                    <a:lnTo>
                      <a:pt x="16" y="30"/>
                    </a:lnTo>
                    <a:lnTo>
                      <a:pt x="10" y="29"/>
                    </a:lnTo>
                    <a:lnTo>
                      <a:pt x="7" y="27"/>
                    </a:lnTo>
                    <a:lnTo>
                      <a:pt x="3" y="23"/>
                    </a:lnTo>
                    <a:lnTo>
                      <a:pt x="1" y="20"/>
                    </a:lnTo>
                    <a:lnTo>
                      <a:pt x="0" y="16"/>
                    </a:lnTo>
                    <a:lnTo>
                      <a:pt x="1" y="10"/>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826" name="Freeform 587"/>
              <p:cNvSpPr>
                <a:spLocks/>
              </p:cNvSpPr>
              <p:nvPr/>
            </p:nvSpPr>
            <p:spPr bwMode="auto">
              <a:xfrm>
                <a:off x="11371184" y="5845766"/>
                <a:ext cx="4762" cy="3175"/>
              </a:xfrm>
              <a:custGeom>
                <a:avLst/>
                <a:gdLst>
                  <a:gd name="T0" fmla="*/ 15 w 29"/>
                  <a:gd name="T1" fmla="*/ 0 h 30"/>
                  <a:gd name="T2" fmla="*/ 19 w 29"/>
                  <a:gd name="T3" fmla="*/ 1 h 30"/>
                  <a:gd name="T4" fmla="*/ 24 w 29"/>
                  <a:gd name="T5" fmla="*/ 3 h 30"/>
                  <a:gd name="T6" fmla="*/ 27 w 29"/>
                  <a:gd name="T7" fmla="*/ 7 h 30"/>
                  <a:gd name="T8" fmla="*/ 28 w 29"/>
                  <a:gd name="T9" fmla="*/ 10 h 30"/>
                  <a:gd name="T10" fmla="*/ 29 w 29"/>
                  <a:gd name="T11" fmla="*/ 16 h 30"/>
                  <a:gd name="T12" fmla="*/ 28 w 29"/>
                  <a:gd name="T13" fmla="*/ 20 h 30"/>
                  <a:gd name="T14" fmla="*/ 27 w 29"/>
                  <a:gd name="T15" fmla="*/ 23 h 30"/>
                  <a:gd name="T16" fmla="*/ 24 w 29"/>
                  <a:gd name="T17" fmla="*/ 27 h 30"/>
                  <a:gd name="T18" fmla="*/ 19 w 29"/>
                  <a:gd name="T19" fmla="*/ 29 h 30"/>
                  <a:gd name="T20" fmla="*/ 15 w 29"/>
                  <a:gd name="T21" fmla="*/ 30 h 30"/>
                  <a:gd name="T22" fmla="*/ 9 w 29"/>
                  <a:gd name="T23" fmla="*/ 29 h 30"/>
                  <a:gd name="T24" fmla="*/ 6 w 29"/>
                  <a:gd name="T25" fmla="*/ 27 h 30"/>
                  <a:gd name="T26" fmla="*/ 3 w 29"/>
                  <a:gd name="T27" fmla="*/ 23 h 30"/>
                  <a:gd name="T28" fmla="*/ 1 w 29"/>
                  <a:gd name="T29" fmla="*/ 20 h 30"/>
                  <a:gd name="T30" fmla="*/ 0 w 29"/>
                  <a:gd name="T31" fmla="*/ 16 h 30"/>
                  <a:gd name="T32" fmla="*/ 1 w 29"/>
                  <a:gd name="T33" fmla="*/ 10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0"/>
                    </a:lnTo>
                    <a:lnTo>
                      <a:pt x="29" y="16"/>
                    </a:lnTo>
                    <a:lnTo>
                      <a:pt x="28" y="20"/>
                    </a:lnTo>
                    <a:lnTo>
                      <a:pt x="27" y="23"/>
                    </a:lnTo>
                    <a:lnTo>
                      <a:pt x="24" y="27"/>
                    </a:lnTo>
                    <a:lnTo>
                      <a:pt x="19" y="29"/>
                    </a:lnTo>
                    <a:lnTo>
                      <a:pt x="15" y="30"/>
                    </a:lnTo>
                    <a:lnTo>
                      <a:pt x="9" y="29"/>
                    </a:lnTo>
                    <a:lnTo>
                      <a:pt x="6" y="27"/>
                    </a:lnTo>
                    <a:lnTo>
                      <a:pt x="3" y="23"/>
                    </a:lnTo>
                    <a:lnTo>
                      <a:pt x="1" y="20"/>
                    </a:lnTo>
                    <a:lnTo>
                      <a:pt x="0" y="16"/>
                    </a:lnTo>
                    <a:lnTo>
                      <a:pt x="1" y="10"/>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1827" name="Freeform 588"/>
              <p:cNvSpPr>
                <a:spLocks/>
              </p:cNvSpPr>
              <p:nvPr/>
            </p:nvSpPr>
            <p:spPr bwMode="auto">
              <a:xfrm>
                <a:off x="11385470" y="5845766"/>
                <a:ext cx="4762" cy="3175"/>
              </a:xfrm>
              <a:custGeom>
                <a:avLst/>
                <a:gdLst>
                  <a:gd name="T0" fmla="*/ 15 w 30"/>
                  <a:gd name="T1" fmla="*/ 0 h 30"/>
                  <a:gd name="T2" fmla="*/ 20 w 30"/>
                  <a:gd name="T3" fmla="*/ 1 h 30"/>
                  <a:gd name="T4" fmla="*/ 24 w 30"/>
                  <a:gd name="T5" fmla="*/ 3 h 30"/>
                  <a:gd name="T6" fmla="*/ 28 w 30"/>
                  <a:gd name="T7" fmla="*/ 7 h 30"/>
                  <a:gd name="T8" fmla="*/ 30 w 30"/>
                  <a:gd name="T9" fmla="*/ 10 h 30"/>
                  <a:gd name="T10" fmla="*/ 30 w 30"/>
                  <a:gd name="T11" fmla="*/ 16 h 30"/>
                  <a:gd name="T12" fmla="*/ 30 w 30"/>
                  <a:gd name="T13" fmla="*/ 20 h 30"/>
                  <a:gd name="T14" fmla="*/ 28 w 30"/>
                  <a:gd name="T15" fmla="*/ 23 h 30"/>
                  <a:gd name="T16" fmla="*/ 24 w 30"/>
                  <a:gd name="T17" fmla="*/ 27 h 30"/>
                  <a:gd name="T18" fmla="*/ 20 w 30"/>
                  <a:gd name="T19" fmla="*/ 29 h 30"/>
                  <a:gd name="T20" fmla="*/ 15 w 30"/>
                  <a:gd name="T21" fmla="*/ 30 h 30"/>
                  <a:gd name="T22" fmla="*/ 11 w 30"/>
                  <a:gd name="T23" fmla="*/ 29 h 30"/>
                  <a:gd name="T24" fmla="*/ 7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0"/>
                    </a:lnTo>
                    <a:lnTo>
                      <a:pt x="30" y="16"/>
                    </a:lnTo>
                    <a:lnTo>
                      <a:pt x="30" y="20"/>
                    </a:lnTo>
                    <a:lnTo>
                      <a:pt x="28" y="23"/>
                    </a:lnTo>
                    <a:lnTo>
                      <a:pt x="24" y="27"/>
                    </a:lnTo>
                    <a:lnTo>
                      <a:pt x="20" y="29"/>
                    </a:lnTo>
                    <a:lnTo>
                      <a:pt x="15" y="30"/>
                    </a:lnTo>
                    <a:lnTo>
                      <a:pt x="11" y="29"/>
                    </a:lnTo>
                    <a:lnTo>
                      <a:pt x="7" y="27"/>
                    </a:lnTo>
                    <a:lnTo>
                      <a:pt x="3" y="23"/>
                    </a:lnTo>
                    <a:lnTo>
                      <a:pt x="1" y="20"/>
                    </a:lnTo>
                    <a:lnTo>
                      <a:pt x="0" y="16"/>
                    </a:lnTo>
                    <a:lnTo>
                      <a:pt x="1" y="10"/>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828" name="Freeform 589"/>
              <p:cNvSpPr>
                <a:spLocks/>
              </p:cNvSpPr>
              <p:nvPr/>
            </p:nvSpPr>
            <p:spPr bwMode="auto">
              <a:xfrm>
                <a:off x="11399756" y="5845766"/>
                <a:ext cx="4762" cy="3175"/>
              </a:xfrm>
              <a:custGeom>
                <a:avLst/>
                <a:gdLst>
                  <a:gd name="T0" fmla="*/ 15 w 30"/>
                  <a:gd name="T1" fmla="*/ 0 h 30"/>
                  <a:gd name="T2" fmla="*/ 19 w 30"/>
                  <a:gd name="T3" fmla="*/ 1 h 30"/>
                  <a:gd name="T4" fmla="*/ 24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4 w 30"/>
                  <a:gd name="T17" fmla="*/ 27 h 30"/>
                  <a:gd name="T18" fmla="*/ 19 w 30"/>
                  <a:gd name="T19" fmla="*/ 29 h 30"/>
                  <a:gd name="T20" fmla="*/ 15 w 30"/>
                  <a:gd name="T21" fmla="*/ 30 h 30"/>
                  <a:gd name="T22" fmla="*/ 10 w 30"/>
                  <a:gd name="T23" fmla="*/ 29 h 30"/>
                  <a:gd name="T24" fmla="*/ 6 w 30"/>
                  <a:gd name="T25" fmla="*/ 27 h 30"/>
                  <a:gd name="T26" fmla="*/ 3 w 30"/>
                  <a:gd name="T27" fmla="*/ 23 h 30"/>
                  <a:gd name="T28" fmla="*/ 0 w 30"/>
                  <a:gd name="T29" fmla="*/ 20 h 30"/>
                  <a:gd name="T30" fmla="*/ 0 w 30"/>
                  <a:gd name="T31" fmla="*/ 16 h 30"/>
                  <a:gd name="T32" fmla="*/ 0 w 30"/>
                  <a:gd name="T33" fmla="*/ 10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0"/>
                    </a:lnTo>
                    <a:lnTo>
                      <a:pt x="30" y="16"/>
                    </a:lnTo>
                    <a:lnTo>
                      <a:pt x="29" y="20"/>
                    </a:lnTo>
                    <a:lnTo>
                      <a:pt x="27" y="23"/>
                    </a:lnTo>
                    <a:lnTo>
                      <a:pt x="24" y="27"/>
                    </a:lnTo>
                    <a:lnTo>
                      <a:pt x="19" y="29"/>
                    </a:lnTo>
                    <a:lnTo>
                      <a:pt x="15" y="30"/>
                    </a:lnTo>
                    <a:lnTo>
                      <a:pt x="10" y="29"/>
                    </a:lnTo>
                    <a:lnTo>
                      <a:pt x="6" y="27"/>
                    </a:lnTo>
                    <a:lnTo>
                      <a:pt x="3" y="23"/>
                    </a:lnTo>
                    <a:lnTo>
                      <a:pt x="0" y="20"/>
                    </a:lnTo>
                    <a:lnTo>
                      <a:pt x="0" y="16"/>
                    </a:lnTo>
                    <a:lnTo>
                      <a:pt x="0" y="10"/>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829" name="Freeform 590"/>
              <p:cNvSpPr>
                <a:spLocks/>
              </p:cNvSpPr>
              <p:nvPr/>
            </p:nvSpPr>
            <p:spPr bwMode="auto">
              <a:xfrm>
                <a:off x="11414042" y="5845766"/>
                <a:ext cx="4762" cy="3175"/>
              </a:xfrm>
              <a:custGeom>
                <a:avLst/>
                <a:gdLst>
                  <a:gd name="T0" fmla="*/ 14 w 30"/>
                  <a:gd name="T1" fmla="*/ 0 h 30"/>
                  <a:gd name="T2" fmla="*/ 20 w 30"/>
                  <a:gd name="T3" fmla="*/ 1 h 30"/>
                  <a:gd name="T4" fmla="*/ 23 w 30"/>
                  <a:gd name="T5" fmla="*/ 3 h 30"/>
                  <a:gd name="T6" fmla="*/ 26 w 30"/>
                  <a:gd name="T7" fmla="*/ 7 h 30"/>
                  <a:gd name="T8" fmla="*/ 29 w 30"/>
                  <a:gd name="T9" fmla="*/ 10 h 30"/>
                  <a:gd name="T10" fmla="*/ 30 w 30"/>
                  <a:gd name="T11" fmla="*/ 16 h 30"/>
                  <a:gd name="T12" fmla="*/ 29 w 30"/>
                  <a:gd name="T13" fmla="*/ 20 h 30"/>
                  <a:gd name="T14" fmla="*/ 26 w 30"/>
                  <a:gd name="T15" fmla="*/ 23 h 30"/>
                  <a:gd name="T16" fmla="*/ 23 w 30"/>
                  <a:gd name="T17" fmla="*/ 27 h 30"/>
                  <a:gd name="T18" fmla="*/ 20 w 30"/>
                  <a:gd name="T19" fmla="*/ 29 h 30"/>
                  <a:gd name="T20" fmla="*/ 14 w 30"/>
                  <a:gd name="T21" fmla="*/ 30 h 30"/>
                  <a:gd name="T22" fmla="*/ 10 w 30"/>
                  <a:gd name="T23" fmla="*/ 29 h 30"/>
                  <a:gd name="T24" fmla="*/ 5 w 30"/>
                  <a:gd name="T25" fmla="*/ 27 h 30"/>
                  <a:gd name="T26" fmla="*/ 2 w 30"/>
                  <a:gd name="T27" fmla="*/ 23 h 30"/>
                  <a:gd name="T28" fmla="*/ 1 w 30"/>
                  <a:gd name="T29" fmla="*/ 20 h 30"/>
                  <a:gd name="T30" fmla="*/ 0 w 30"/>
                  <a:gd name="T31" fmla="*/ 16 h 30"/>
                  <a:gd name="T32" fmla="*/ 1 w 30"/>
                  <a:gd name="T33" fmla="*/ 10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0"/>
                    </a:lnTo>
                    <a:lnTo>
                      <a:pt x="30" y="16"/>
                    </a:lnTo>
                    <a:lnTo>
                      <a:pt x="29" y="20"/>
                    </a:lnTo>
                    <a:lnTo>
                      <a:pt x="26" y="23"/>
                    </a:lnTo>
                    <a:lnTo>
                      <a:pt x="23" y="27"/>
                    </a:lnTo>
                    <a:lnTo>
                      <a:pt x="20" y="29"/>
                    </a:lnTo>
                    <a:lnTo>
                      <a:pt x="14" y="30"/>
                    </a:lnTo>
                    <a:lnTo>
                      <a:pt x="10" y="29"/>
                    </a:lnTo>
                    <a:lnTo>
                      <a:pt x="5" y="27"/>
                    </a:lnTo>
                    <a:lnTo>
                      <a:pt x="2" y="23"/>
                    </a:lnTo>
                    <a:lnTo>
                      <a:pt x="1" y="20"/>
                    </a:lnTo>
                    <a:lnTo>
                      <a:pt x="0" y="16"/>
                    </a:lnTo>
                    <a:lnTo>
                      <a:pt x="1" y="10"/>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830" name="Freeform 591"/>
              <p:cNvSpPr>
                <a:spLocks/>
              </p:cNvSpPr>
              <p:nvPr/>
            </p:nvSpPr>
            <p:spPr bwMode="auto">
              <a:xfrm>
                <a:off x="11428328" y="5845766"/>
                <a:ext cx="4762" cy="3175"/>
              </a:xfrm>
              <a:custGeom>
                <a:avLst/>
                <a:gdLst>
                  <a:gd name="T0" fmla="*/ 16 w 30"/>
                  <a:gd name="T1" fmla="*/ 0 h 30"/>
                  <a:gd name="T2" fmla="*/ 20 w 30"/>
                  <a:gd name="T3" fmla="*/ 1 h 30"/>
                  <a:gd name="T4" fmla="*/ 25 w 30"/>
                  <a:gd name="T5" fmla="*/ 3 h 30"/>
                  <a:gd name="T6" fmla="*/ 27 w 30"/>
                  <a:gd name="T7" fmla="*/ 7 h 30"/>
                  <a:gd name="T8" fmla="*/ 29 w 30"/>
                  <a:gd name="T9" fmla="*/ 10 h 30"/>
                  <a:gd name="T10" fmla="*/ 30 w 30"/>
                  <a:gd name="T11" fmla="*/ 16 h 30"/>
                  <a:gd name="T12" fmla="*/ 29 w 30"/>
                  <a:gd name="T13" fmla="*/ 20 h 30"/>
                  <a:gd name="T14" fmla="*/ 27 w 30"/>
                  <a:gd name="T15" fmla="*/ 23 h 30"/>
                  <a:gd name="T16" fmla="*/ 25 w 30"/>
                  <a:gd name="T17" fmla="*/ 27 h 30"/>
                  <a:gd name="T18" fmla="*/ 20 w 30"/>
                  <a:gd name="T19" fmla="*/ 29 h 30"/>
                  <a:gd name="T20" fmla="*/ 16 w 30"/>
                  <a:gd name="T21" fmla="*/ 30 h 30"/>
                  <a:gd name="T22" fmla="*/ 10 w 30"/>
                  <a:gd name="T23" fmla="*/ 29 h 30"/>
                  <a:gd name="T24" fmla="*/ 7 w 30"/>
                  <a:gd name="T25" fmla="*/ 27 h 30"/>
                  <a:gd name="T26" fmla="*/ 4 w 30"/>
                  <a:gd name="T27" fmla="*/ 23 h 30"/>
                  <a:gd name="T28" fmla="*/ 1 w 30"/>
                  <a:gd name="T29" fmla="*/ 20 h 30"/>
                  <a:gd name="T30" fmla="*/ 0 w 30"/>
                  <a:gd name="T31" fmla="*/ 16 h 30"/>
                  <a:gd name="T32" fmla="*/ 1 w 30"/>
                  <a:gd name="T33" fmla="*/ 10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0"/>
                    </a:lnTo>
                    <a:lnTo>
                      <a:pt x="30" y="16"/>
                    </a:lnTo>
                    <a:lnTo>
                      <a:pt x="29" y="20"/>
                    </a:lnTo>
                    <a:lnTo>
                      <a:pt x="27" y="23"/>
                    </a:lnTo>
                    <a:lnTo>
                      <a:pt x="25" y="27"/>
                    </a:lnTo>
                    <a:lnTo>
                      <a:pt x="20" y="29"/>
                    </a:lnTo>
                    <a:lnTo>
                      <a:pt x="16" y="30"/>
                    </a:lnTo>
                    <a:lnTo>
                      <a:pt x="10" y="29"/>
                    </a:lnTo>
                    <a:lnTo>
                      <a:pt x="7" y="27"/>
                    </a:lnTo>
                    <a:lnTo>
                      <a:pt x="4" y="23"/>
                    </a:lnTo>
                    <a:lnTo>
                      <a:pt x="1" y="20"/>
                    </a:lnTo>
                    <a:lnTo>
                      <a:pt x="0" y="16"/>
                    </a:lnTo>
                    <a:lnTo>
                      <a:pt x="1" y="10"/>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831" name="Freeform 592"/>
              <p:cNvSpPr>
                <a:spLocks/>
              </p:cNvSpPr>
              <p:nvPr/>
            </p:nvSpPr>
            <p:spPr bwMode="auto">
              <a:xfrm>
                <a:off x="11441027" y="5845766"/>
                <a:ext cx="4762" cy="3175"/>
              </a:xfrm>
              <a:custGeom>
                <a:avLst/>
                <a:gdLst>
                  <a:gd name="T0" fmla="*/ 15 w 30"/>
                  <a:gd name="T1" fmla="*/ 0 h 30"/>
                  <a:gd name="T2" fmla="*/ 20 w 30"/>
                  <a:gd name="T3" fmla="*/ 1 h 30"/>
                  <a:gd name="T4" fmla="*/ 24 w 30"/>
                  <a:gd name="T5" fmla="*/ 3 h 30"/>
                  <a:gd name="T6" fmla="*/ 27 w 30"/>
                  <a:gd name="T7" fmla="*/ 7 h 30"/>
                  <a:gd name="T8" fmla="*/ 30 w 30"/>
                  <a:gd name="T9" fmla="*/ 10 h 30"/>
                  <a:gd name="T10" fmla="*/ 30 w 30"/>
                  <a:gd name="T11" fmla="*/ 16 h 30"/>
                  <a:gd name="T12" fmla="*/ 30 w 30"/>
                  <a:gd name="T13" fmla="*/ 20 h 30"/>
                  <a:gd name="T14" fmla="*/ 27 w 30"/>
                  <a:gd name="T15" fmla="*/ 23 h 30"/>
                  <a:gd name="T16" fmla="*/ 24 w 30"/>
                  <a:gd name="T17" fmla="*/ 27 h 30"/>
                  <a:gd name="T18" fmla="*/ 20 w 30"/>
                  <a:gd name="T19" fmla="*/ 29 h 30"/>
                  <a:gd name="T20" fmla="*/ 15 w 30"/>
                  <a:gd name="T21" fmla="*/ 30 h 30"/>
                  <a:gd name="T22" fmla="*/ 11 w 30"/>
                  <a:gd name="T23" fmla="*/ 29 h 30"/>
                  <a:gd name="T24" fmla="*/ 6 w 30"/>
                  <a:gd name="T25" fmla="*/ 27 h 30"/>
                  <a:gd name="T26" fmla="*/ 3 w 30"/>
                  <a:gd name="T27" fmla="*/ 23 h 30"/>
                  <a:gd name="T28" fmla="*/ 1 w 30"/>
                  <a:gd name="T29" fmla="*/ 20 h 30"/>
                  <a:gd name="T30" fmla="*/ 0 w 30"/>
                  <a:gd name="T31" fmla="*/ 16 h 30"/>
                  <a:gd name="T32" fmla="*/ 1 w 30"/>
                  <a:gd name="T33" fmla="*/ 10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0"/>
                    </a:lnTo>
                    <a:lnTo>
                      <a:pt x="30" y="16"/>
                    </a:lnTo>
                    <a:lnTo>
                      <a:pt x="30" y="20"/>
                    </a:lnTo>
                    <a:lnTo>
                      <a:pt x="27" y="23"/>
                    </a:lnTo>
                    <a:lnTo>
                      <a:pt x="24" y="27"/>
                    </a:lnTo>
                    <a:lnTo>
                      <a:pt x="20" y="29"/>
                    </a:lnTo>
                    <a:lnTo>
                      <a:pt x="15" y="30"/>
                    </a:lnTo>
                    <a:lnTo>
                      <a:pt x="11" y="29"/>
                    </a:lnTo>
                    <a:lnTo>
                      <a:pt x="6" y="27"/>
                    </a:lnTo>
                    <a:lnTo>
                      <a:pt x="3" y="23"/>
                    </a:lnTo>
                    <a:lnTo>
                      <a:pt x="1" y="20"/>
                    </a:lnTo>
                    <a:lnTo>
                      <a:pt x="0" y="16"/>
                    </a:lnTo>
                    <a:lnTo>
                      <a:pt x="1" y="10"/>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832" name="Freeform 593"/>
              <p:cNvSpPr>
                <a:spLocks/>
              </p:cNvSpPr>
              <p:nvPr/>
            </p:nvSpPr>
            <p:spPr bwMode="auto">
              <a:xfrm>
                <a:off x="10967999"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833" name="Freeform 594"/>
              <p:cNvSpPr>
                <a:spLocks/>
              </p:cNvSpPr>
              <p:nvPr/>
            </p:nvSpPr>
            <p:spPr bwMode="auto">
              <a:xfrm>
                <a:off x="10982285"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34" name="Freeform 595"/>
              <p:cNvSpPr>
                <a:spLocks/>
              </p:cNvSpPr>
              <p:nvPr/>
            </p:nvSpPr>
            <p:spPr bwMode="auto">
              <a:xfrm>
                <a:off x="10996571" y="5899747"/>
                <a:ext cx="4762" cy="4763"/>
              </a:xfrm>
              <a:custGeom>
                <a:avLst/>
                <a:gdLst>
                  <a:gd name="T0" fmla="*/ 14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5"/>
                    </a:lnTo>
                    <a:lnTo>
                      <a:pt x="29" y="10"/>
                    </a:lnTo>
                    <a:lnTo>
                      <a:pt x="30" y="14"/>
                    </a:lnTo>
                    <a:lnTo>
                      <a:pt x="29" y="20"/>
                    </a:lnTo>
                    <a:lnTo>
                      <a:pt x="27" y="23"/>
                    </a:lnTo>
                    <a:lnTo>
                      <a:pt x="23" y="26"/>
                    </a:lnTo>
                    <a:lnTo>
                      <a:pt x="19" y="29"/>
                    </a:lnTo>
                    <a:lnTo>
                      <a:pt x="14" y="30"/>
                    </a:lnTo>
                    <a:lnTo>
                      <a:pt x="10" y="29"/>
                    </a:lnTo>
                    <a:lnTo>
                      <a:pt x="6" y="26"/>
                    </a:lnTo>
                    <a:lnTo>
                      <a:pt x="2" y="23"/>
                    </a:lnTo>
                    <a:lnTo>
                      <a:pt x="0" y="20"/>
                    </a:lnTo>
                    <a:lnTo>
                      <a:pt x="0" y="14"/>
                    </a:lnTo>
                    <a:lnTo>
                      <a:pt x="0" y="10"/>
                    </a:lnTo>
                    <a:lnTo>
                      <a:pt x="2" y="5"/>
                    </a:lnTo>
                    <a:lnTo>
                      <a:pt x="6" y="3"/>
                    </a:lnTo>
                    <a:lnTo>
                      <a:pt x="10" y="1"/>
                    </a:lnTo>
                    <a:lnTo>
                      <a:pt x="14" y="0"/>
                    </a:lnTo>
                    <a:close/>
                  </a:path>
                </a:pathLst>
              </a:custGeom>
              <a:solidFill>
                <a:schemeClr val="accent5"/>
              </a:solidFill>
              <a:ln>
                <a:noFill/>
              </a:ln>
            </p:spPr>
            <p:txBody>
              <a:bodyPr/>
              <a:lstStyle/>
              <a:p>
                <a:endParaRPr lang="de-DE" dirty="0"/>
              </a:p>
            </p:txBody>
          </p:sp>
          <p:sp>
            <p:nvSpPr>
              <p:cNvPr id="1835" name="Freeform 596"/>
              <p:cNvSpPr>
                <a:spLocks/>
              </p:cNvSpPr>
              <p:nvPr/>
            </p:nvSpPr>
            <p:spPr bwMode="auto">
              <a:xfrm>
                <a:off x="11010857" y="5899747"/>
                <a:ext cx="4762" cy="4763"/>
              </a:xfrm>
              <a:custGeom>
                <a:avLst/>
                <a:gdLst>
                  <a:gd name="T0" fmla="*/ 15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29" y="10"/>
                    </a:lnTo>
                    <a:lnTo>
                      <a:pt x="30" y="14"/>
                    </a:lnTo>
                    <a:lnTo>
                      <a:pt x="29" y="20"/>
                    </a:lnTo>
                    <a:lnTo>
                      <a:pt x="27" y="23"/>
                    </a:lnTo>
                    <a:lnTo>
                      <a:pt x="24" y="26"/>
                    </a:lnTo>
                    <a:lnTo>
                      <a:pt x="20"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836" name="Freeform 597"/>
              <p:cNvSpPr>
                <a:spLocks/>
              </p:cNvSpPr>
              <p:nvPr/>
            </p:nvSpPr>
            <p:spPr bwMode="auto">
              <a:xfrm>
                <a:off x="11023556"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1837" name="Freeform 598"/>
              <p:cNvSpPr>
                <a:spLocks/>
              </p:cNvSpPr>
              <p:nvPr/>
            </p:nvSpPr>
            <p:spPr bwMode="auto">
              <a:xfrm>
                <a:off x="11037842"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838" name="Freeform 599"/>
              <p:cNvSpPr>
                <a:spLocks/>
              </p:cNvSpPr>
              <p:nvPr/>
            </p:nvSpPr>
            <p:spPr bwMode="auto">
              <a:xfrm>
                <a:off x="11052128"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39" name="Freeform 600"/>
              <p:cNvSpPr>
                <a:spLocks/>
              </p:cNvSpPr>
              <p:nvPr/>
            </p:nvSpPr>
            <p:spPr bwMode="auto">
              <a:xfrm>
                <a:off x="11066414" y="5899747"/>
                <a:ext cx="4762" cy="4763"/>
              </a:xfrm>
              <a:custGeom>
                <a:avLst/>
                <a:gdLst>
                  <a:gd name="T0" fmla="*/ 15 w 30"/>
                  <a:gd name="T1" fmla="*/ 0 h 30"/>
                  <a:gd name="T2" fmla="*/ 19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5"/>
                    </a:lnTo>
                    <a:lnTo>
                      <a:pt x="29" y="10"/>
                    </a:lnTo>
                    <a:lnTo>
                      <a:pt x="30"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840" name="Freeform 601"/>
              <p:cNvSpPr>
                <a:spLocks/>
              </p:cNvSpPr>
              <p:nvPr/>
            </p:nvSpPr>
            <p:spPr bwMode="auto">
              <a:xfrm>
                <a:off x="11079113"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841" name="Freeform 602"/>
              <p:cNvSpPr>
                <a:spLocks/>
              </p:cNvSpPr>
              <p:nvPr/>
            </p:nvSpPr>
            <p:spPr bwMode="auto">
              <a:xfrm>
                <a:off x="11093399"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1842" name="Freeform 603"/>
              <p:cNvSpPr>
                <a:spLocks/>
              </p:cNvSpPr>
              <p:nvPr/>
            </p:nvSpPr>
            <p:spPr bwMode="auto">
              <a:xfrm>
                <a:off x="11107685" y="5899747"/>
                <a:ext cx="4762" cy="4763"/>
              </a:xfrm>
              <a:custGeom>
                <a:avLst/>
                <a:gdLst>
                  <a:gd name="T0" fmla="*/ 16 w 30"/>
                  <a:gd name="T1" fmla="*/ 0 h 30"/>
                  <a:gd name="T2" fmla="*/ 20 w 30"/>
                  <a:gd name="T3" fmla="*/ 1 h 30"/>
                  <a:gd name="T4" fmla="*/ 25 w 30"/>
                  <a:gd name="T5" fmla="*/ 3 h 30"/>
                  <a:gd name="T6" fmla="*/ 28 w 30"/>
                  <a:gd name="T7" fmla="*/ 5 h 30"/>
                  <a:gd name="T8" fmla="*/ 29 w 30"/>
                  <a:gd name="T9" fmla="*/ 10 h 30"/>
                  <a:gd name="T10" fmla="*/ 30 w 30"/>
                  <a:gd name="T11" fmla="*/ 14 h 30"/>
                  <a:gd name="T12" fmla="*/ 29 w 30"/>
                  <a:gd name="T13" fmla="*/ 20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5"/>
                    </a:lnTo>
                    <a:lnTo>
                      <a:pt x="29" y="10"/>
                    </a:lnTo>
                    <a:lnTo>
                      <a:pt x="30" y="14"/>
                    </a:lnTo>
                    <a:lnTo>
                      <a:pt x="29" y="20"/>
                    </a:lnTo>
                    <a:lnTo>
                      <a:pt x="28" y="23"/>
                    </a:lnTo>
                    <a:lnTo>
                      <a:pt x="25" y="26"/>
                    </a:lnTo>
                    <a:lnTo>
                      <a:pt x="20" y="29"/>
                    </a:lnTo>
                    <a:lnTo>
                      <a:pt x="16" y="30"/>
                    </a:lnTo>
                    <a:lnTo>
                      <a:pt x="11" y="29"/>
                    </a:lnTo>
                    <a:lnTo>
                      <a:pt x="7" y="26"/>
                    </a:lnTo>
                    <a:lnTo>
                      <a:pt x="4" y="23"/>
                    </a:lnTo>
                    <a:lnTo>
                      <a:pt x="1" y="20"/>
                    </a:lnTo>
                    <a:lnTo>
                      <a:pt x="0" y="14"/>
                    </a:lnTo>
                    <a:lnTo>
                      <a:pt x="1" y="10"/>
                    </a:lnTo>
                    <a:lnTo>
                      <a:pt x="4" y="5"/>
                    </a:lnTo>
                    <a:lnTo>
                      <a:pt x="7" y="3"/>
                    </a:lnTo>
                    <a:lnTo>
                      <a:pt x="11" y="1"/>
                    </a:lnTo>
                    <a:lnTo>
                      <a:pt x="16" y="0"/>
                    </a:lnTo>
                    <a:close/>
                  </a:path>
                </a:pathLst>
              </a:custGeom>
              <a:solidFill>
                <a:schemeClr val="accent5"/>
              </a:solidFill>
              <a:ln>
                <a:noFill/>
              </a:ln>
            </p:spPr>
            <p:txBody>
              <a:bodyPr/>
              <a:lstStyle/>
              <a:p>
                <a:endParaRPr lang="de-DE" dirty="0"/>
              </a:p>
            </p:txBody>
          </p:sp>
          <p:sp>
            <p:nvSpPr>
              <p:cNvPr id="1843" name="Freeform 604"/>
              <p:cNvSpPr>
                <a:spLocks/>
              </p:cNvSpPr>
              <p:nvPr/>
            </p:nvSpPr>
            <p:spPr bwMode="auto">
              <a:xfrm>
                <a:off x="111219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44" name="Freeform 605"/>
              <p:cNvSpPr>
                <a:spLocks/>
              </p:cNvSpPr>
              <p:nvPr/>
            </p:nvSpPr>
            <p:spPr bwMode="auto">
              <a:xfrm>
                <a:off x="11136257"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845" name="Freeform 606"/>
              <p:cNvSpPr>
                <a:spLocks/>
              </p:cNvSpPr>
              <p:nvPr/>
            </p:nvSpPr>
            <p:spPr bwMode="auto">
              <a:xfrm>
                <a:off x="11148956"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846" name="Freeform 607"/>
              <p:cNvSpPr>
                <a:spLocks/>
              </p:cNvSpPr>
              <p:nvPr/>
            </p:nvSpPr>
            <p:spPr bwMode="auto">
              <a:xfrm>
                <a:off x="11163242" y="5899747"/>
                <a:ext cx="4762" cy="4763"/>
              </a:xfrm>
              <a:custGeom>
                <a:avLst/>
                <a:gdLst>
                  <a:gd name="T0" fmla="*/ 16 w 30"/>
                  <a:gd name="T1" fmla="*/ 0 h 30"/>
                  <a:gd name="T2" fmla="*/ 20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5"/>
                    </a:lnTo>
                    <a:lnTo>
                      <a:pt x="29" y="10"/>
                    </a:lnTo>
                    <a:lnTo>
                      <a:pt x="30" y="14"/>
                    </a:lnTo>
                    <a:lnTo>
                      <a:pt x="29" y="20"/>
                    </a:lnTo>
                    <a:lnTo>
                      <a:pt x="27" y="23"/>
                    </a:lnTo>
                    <a:lnTo>
                      <a:pt x="24"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847" name="Freeform 608"/>
              <p:cNvSpPr>
                <a:spLocks/>
              </p:cNvSpPr>
              <p:nvPr/>
            </p:nvSpPr>
            <p:spPr bwMode="auto">
              <a:xfrm>
                <a:off x="11177528" y="5899747"/>
                <a:ext cx="4762" cy="4763"/>
              </a:xfrm>
              <a:custGeom>
                <a:avLst/>
                <a:gdLst>
                  <a:gd name="T0" fmla="*/ 15 w 29"/>
                  <a:gd name="T1" fmla="*/ 0 h 30"/>
                  <a:gd name="T2" fmla="*/ 19 w 29"/>
                  <a:gd name="T3" fmla="*/ 1 h 30"/>
                  <a:gd name="T4" fmla="*/ 24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9" y="10"/>
                    </a:lnTo>
                    <a:lnTo>
                      <a:pt x="29" y="14"/>
                    </a:lnTo>
                    <a:lnTo>
                      <a:pt x="29" y="20"/>
                    </a:lnTo>
                    <a:lnTo>
                      <a:pt x="27" y="23"/>
                    </a:lnTo>
                    <a:lnTo>
                      <a:pt x="24" y="26"/>
                    </a:lnTo>
                    <a:lnTo>
                      <a:pt x="19"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48" name="Freeform 609"/>
              <p:cNvSpPr>
                <a:spLocks/>
              </p:cNvSpPr>
              <p:nvPr/>
            </p:nvSpPr>
            <p:spPr bwMode="auto">
              <a:xfrm>
                <a:off x="11190227"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1849" name="Freeform 610"/>
              <p:cNvSpPr>
                <a:spLocks/>
              </p:cNvSpPr>
              <p:nvPr/>
            </p:nvSpPr>
            <p:spPr bwMode="auto">
              <a:xfrm>
                <a:off x="112045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850" name="Freeform 611"/>
              <p:cNvSpPr>
                <a:spLocks/>
              </p:cNvSpPr>
              <p:nvPr/>
            </p:nvSpPr>
            <p:spPr bwMode="auto">
              <a:xfrm>
                <a:off x="11218799"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3" y="23"/>
                    </a:lnTo>
                    <a:lnTo>
                      <a:pt x="1" y="20"/>
                    </a:lnTo>
                    <a:lnTo>
                      <a:pt x="0" y="14"/>
                    </a:lnTo>
                    <a:lnTo>
                      <a:pt x="1" y="10"/>
                    </a:lnTo>
                    <a:lnTo>
                      <a:pt x="3" y="5"/>
                    </a:lnTo>
                    <a:lnTo>
                      <a:pt x="5" y="3"/>
                    </a:lnTo>
                    <a:lnTo>
                      <a:pt x="10" y="1"/>
                    </a:lnTo>
                    <a:lnTo>
                      <a:pt x="14" y="0"/>
                    </a:lnTo>
                    <a:close/>
                  </a:path>
                </a:pathLst>
              </a:custGeom>
              <a:solidFill>
                <a:schemeClr val="accent5"/>
              </a:solidFill>
              <a:ln>
                <a:noFill/>
              </a:ln>
            </p:spPr>
            <p:txBody>
              <a:bodyPr/>
              <a:lstStyle/>
              <a:p>
                <a:endParaRPr lang="de-DE" dirty="0"/>
              </a:p>
            </p:txBody>
          </p:sp>
          <p:sp>
            <p:nvSpPr>
              <p:cNvPr id="1851" name="Freeform 612"/>
              <p:cNvSpPr>
                <a:spLocks/>
              </p:cNvSpPr>
              <p:nvPr/>
            </p:nvSpPr>
            <p:spPr bwMode="auto">
              <a:xfrm>
                <a:off x="11233085"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852" name="Freeform 613"/>
              <p:cNvSpPr>
                <a:spLocks/>
              </p:cNvSpPr>
              <p:nvPr/>
            </p:nvSpPr>
            <p:spPr bwMode="auto">
              <a:xfrm>
                <a:off x="11247371"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53" name="Freeform 614"/>
              <p:cNvSpPr>
                <a:spLocks/>
              </p:cNvSpPr>
              <p:nvPr/>
            </p:nvSpPr>
            <p:spPr bwMode="auto">
              <a:xfrm>
                <a:off x="11260070" y="5899747"/>
                <a:ext cx="4762" cy="4763"/>
              </a:xfrm>
              <a:custGeom>
                <a:avLst/>
                <a:gdLst>
                  <a:gd name="T0" fmla="*/ 15 w 29"/>
                  <a:gd name="T1" fmla="*/ 0 h 30"/>
                  <a:gd name="T2" fmla="*/ 19 w 29"/>
                  <a:gd name="T3" fmla="*/ 1 h 30"/>
                  <a:gd name="T4" fmla="*/ 23 w 29"/>
                  <a:gd name="T5" fmla="*/ 3 h 30"/>
                  <a:gd name="T6" fmla="*/ 27 w 29"/>
                  <a:gd name="T7" fmla="*/ 5 h 30"/>
                  <a:gd name="T8" fmla="*/ 29 w 29"/>
                  <a:gd name="T9" fmla="*/ 10 h 30"/>
                  <a:gd name="T10" fmla="*/ 29 w 29"/>
                  <a:gd name="T11" fmla="*/ 14 h 30"/>
                  <a:gd name="T12" fmla="*/ 29 w 29"/>
                  <a:gd name="T13" fmla="*/ 20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5"/>
                    </a:lnTo>
                    <a:lnTo>
                      <a:pt x="29" y="10"/>
                    </a:lnTo>
                    <a:lnTo>
                      <a:pt x="29" y="14"/>
                    </a:lnTo>
                    <a:lnTo>
                      <a:pt x="29" y="20"/>
                    </a:lnTo>
                    <a:lnTo>
                      <a:pt x="27" y="23"/>
                    </a:lnTo>
                    <a:lnTo>
                      <a:pt x="23"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854" name="Freeform 615"/>
              <p:cNvSpPr>
                <a:spLocks/>
              </p:cNvSpPr>
              <p:nvPr/>
            </p:nvSpPr>
            <p:spPr bwMode="auto">
              <a:xfrm>
                <a:off x="11274356" y="5899747"/>
                <a:ext cx="4762" cy="4763"/>
              </a:xfrm>
              <a:custGeom>
                <a:avLst/>
                <a:gdLst>
                  <a:gd name="T0" fmla="*/ 14 w 29"/>
                  <a:gd name="T1" fmla="*/ 0 h 30"/>
                  <a:gd name="T2" fmla="*/ 19 w 29"/>
                  <a:gd name="T3" fmla="*/ 1 h 30"/>
                  <a:gd name="T4" fmla="*/ 23 w 29"/>
                  <a:gd name="T5" fmla="*/ 3 h 30"/>
                  <a:gd name="T6" fmla="*/ 26 w 29"/>
                  <a:gd name="T7" fmla="*/ 5 h 30"/>
                  <a:gd name="T8" fmla="*/ 28 w 29"/>
                  <a:gd name="T9" fmla="*/ 10 h 30"/>
                  <a:gd name="T10" fmla="*/ 29 w 29"/>
                  <a:gd name="T11" fmla="*/ 14 h 30"/>
                  <a:gd name="T12" fmla="*/ 28 w 29"/>
                  <a:gd name="T13" fmla="*/ 20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20 h 30"/>
                  <a:gd name="T30" fmla="*/ 0 w 29"/>
                  <a:gd name="T31" fmla="*/ 14 h 30"/>
                  <a:gd name="T32" fmla="*/ 0 w 29"/>
                  <a:gd name="T33" fmla="*/ 10 h 30"/>
                  <a:gd name="T34" fmla="*/ 2 w 29"/>
                  <a:gd name="T35" fmla="*/ 5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5"/>
                    </a:lnTo>
                    <a:lnTo>
                      <a:pt x="28" y="10"/>
                    </a:lnTo>
                    <a:lnTo>
                      <a:pt x="29" y="14"/>
                    </a:lnTo>
                    <a:lnTo>
                      <a:pt x="28" y="20"/>
                    </a:lnTo>
                    <a:lnTo>
                      <a:pt x="26" y="23"/>
                    </a:lnTo>
                    <a:lnTo>
                      <a:pt x="23" y="26"/>
                    </a:lnTo>
                    <a:lnTo>
                      <a:pt x="19"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855" name="Freeform 616"/>
              <p:cNvSpPr>
                <a:spLocks/>
              </p:cNvSpPr>
              <p:nvPr/>
            </p:nvSpPr>
            <p:spPr bwMode="auto">
              <a:xfrm>
                <a:off x="11288642" y="5899747"/>
                <a:ext cx="4762" cy="4763"/>
              </a:xfrm>
              <a:custGeom>
                <a:avLst/>
                <a:gdLst>
                  <a:gd name="T0" fmla="*/ 15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5"/>
                    </a:lnTo>
                    <a:lnTo>
                      <a:pt x="29" y="10"/>
                    </a:lnTo>
                    <a:lnTo>
                      <a:pt x="30" y="14"/>
                    </a:lnTo>
                    <a:lnTo>
                      <a:pt x="29" y="20"/>
                    </a:lnTo>
                    <a:lnTo>
                      <a:pt x="27" y="23"/>
                    </a:lnTo>
                    <a:lnTo>
                      <a:pt x="23" y="26"/>
                    </a:lnTo>
                    <a:lnTo>
                      <a:pt x="20" y="29"/>
                    </a:lnTo>
                    <a:lnTo>
                      <a:pt x="15" y="30"/>
                    </a:lnTo>
                    <a:lnTo>
                      <a:pt x="10" y="29"/>
                    </a:lnTo>
                    <a:lnTo>
                      <a:pt x="7" y="26"/>
                    </a:lnTo>
                    <a:lnTo>
                      <a:pt x="3" y="23"/>
                    </a:lnTo>
                    <a:lnTo>
                      <a:pt x="1" y="20"/>
                    </a:lnTo>
                    <a:lnTo>
                      <a:pt x="0" y="14"/>
                    </a:lnTo>
                    <a:lnTo>
                      <a:pt x="1" y="10"/>
                    </a:lnTo>
                    <a:lnTo>
                      <a:pt x="3" y="5"/>
                    </a:lnTo>
                    <a:lnTo>
                      <a:pt x="7" y="3"/>
                    </a:lnTo>
                    <a:lnTo>
                      <a:pt x="10" y="1"/>
                    </a:lnTo>
                    <a:lnTo>
                      <a:pt x="15" y="0"/>
                    </a:lnTo>
                    <a:close/>
                  </a:path>
                </a:pathLst>
              </a:custGeom>
              <a:solidFill>
                <a:schemeClr val="accent5"/>
              </a:solidFill>
              <a:ln>
                <a:noFill/>
              </a:ln>
            </p:spPr>
            <p:txBody>
              <a:bodyPr/>
              <a:lstStyle/>
              <a:p>
                <a:endParaRPr lang="de-DE" dirty="0"/>
              </a:p>
            </p:txBody>
          </p:sp>
          <p:sp>
            <p:nvSpPr>
              <p:cNvPr id="1856" name="Freeform 617"/>
              <p:cNvSpPr>
                <a:spLocks/>
              </p:cNvSpPr>
              <p:nvPr/>
            </p:nvSpPr>
            <p:spPr bwMode="auto">
              <a:xfrm>
                <a:off x="113029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857" name="Freeform 618"/>
              <p:cNvSpPr>
                <a:spLocks/>
              </p:cNvSpPr>
              <p:nvPr/>
            </p:nvSpPr>
            <p:spPr bwMode="auto">
              <a:xfrm>
                <a:off x="113156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58" name="Freeform 619"/>
              <p:cNvSpPr>
                <a:spLocks/>
              </p:cNvSpPr>
              <p:nvPr/>
            </p:nvSpPr>
            <p:spPr bwMode="auto">
              <a:xfrm>
                <a:off x="11329913"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2" y="23"/>
                    </a:lnTo>
                    <a:lnTo>
                      <a:pt x="0" y="20"/>
                    </a:lnTo>
                    <a:lnTo>
                      <a:pt x="0" y="14"/>
                    </a:lnTo>
                    <a:lnTo>
                      <a:pt x="0" y="10"/>
                    </a:lnTo>
                    <a:lnTo>
                      <a:pt x="2" y="5"/>
                    </a:lnTo>
                    <a:lnTo>
                      <a:pt x="6" y="3"/>
                    </a:lnTo>
                    <a:lnTo>
                      <a:pt x="10" y="1"/>
                    </a:lnTo>
                    <a:lnTo>
                      <a:pt x="15" y="0"/>
                    </a:lnTo>
                    <a:close/>
                  </a:path>
                </a:pathLst>
              </a:custGeom>
              <a:solidFill>
                <a:schemeClr val="accent5"/>
              </a:solidFill>
              <a:ln>
                <a:noFill/>
              </a:ln>
            </p:spPr>
            <p:txBody>
              <a:bodyPr/>
              <a:lstStyle/>
              <a:p>
                <a:endParaRPr lang="de-DE" dirty="0"/>
              </a:p>
            </p:txBody>
          </p:sp>
          <p:sp>
            <p:nvSpPr>
              <p:cNvPr id="1859" name="Freeform 620"/>
              <p:cNvSpPr>
                <a:spLocks/>
              </p:cNvSpPr>
              <p:nvPr/>
            </p:nvSpPr>
            <p:spPr bwMode="auto">
              <a:xfrm>
                <a:off x="11344199" y="5899747"/>
                <a:ext cx="4762" cy="4763"/>
              </a:xfrm>
              <a:custGeom>
                <a:avLst/>
                <a:gdLst>
                  <a:gd name="T0" fmla="*/ 14 w 30"/>
                  <a:gd name="T1" fmla="*/ 0 h 30"/>
                  <a:gd name="T2" fmla="*/ 20 w 30"/>
                  <a:gd name="T3" fmla="*/ 1 h 30"/>
                  <a:gd name="T4" fmla="*/ 23 w 30"/>
                  <a:gd name="T5" fmla="*/ 3 h 30"/>
                  <a:gd name="T6" fmla="*/ 26 w 30"/>
                  <a:gd name="T7" fmla="*/ 5 h 30"/>
                  <a:gd name="T8" fmla="*/ 28 w 30"/>
                  <a:gd name="T9" fmla="*/ 10 h 30"/>
                  <a:gd name="T10" fmla="*/ 30 w 30"/>
                  <a:gd name="T11" fmla="*/ 14 h 30"/>
                  <a:gd name="T12" fmla="*/ 28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20 h 30"/>
                  <a:gd name="T30" fmla="*/ 0 w 30"/>
                  <a:gd name="T31" fmla="*/ 14 h 30"/>
                  <a:gd name="T32" fmla="*/ 0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8" y="10"/>
                    </a:lnTo>
                    <a:lnTo>
                      <a:pt x="30" y="14"/>
                    </a:lnTo>
                    <a:lnTo>
                      <a:pt x="28" y="20"/>
                    </a:lnTo>
                    <a:lnTo>
                      <a:pt x="26" y="23"/>
                    </a:lnTo>
                    <a:lnTo>
                      <a:pt x="23" y="26"/>
                    </a:lnTo>
                    <a:lnTo>
                      <a:pt x="20" y="29"/>
                    </a:lnTo>
                    <a:lnTo>
                      <a:pt x="14" y="30"/>
                    </a:lnTo>
                    <a:lnTo>
                      <a:pt x="10" y="29"/>
                    </a:lnTo>
                    <a:lnTo>
                      <a:pt x="5" y="26"/>
                    </a:lnTo>
                    <a:lnTo>
                      <a:pt x="2" y="23"/>
                    </a:lnTo>
                    <a:lnTo>
                      <a:pt x="0" y="20"/>
                    </a:lnTo>
                    <a:lnTo>
                      <a:pt x="0" y="14"/>
                    </a:lnTo>
                    <a:lnTo>
                      <a:pt x="0"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860" name="Freeform 621"/>
              <p:cNvSpPr>
                <a:spLocks/>
              </p:cNvSpPr>
              <p:nvPr/>
            </p:nvSpPr>
            <p:spPr bwMode="auto">
              <a:xfrm>
                <a:off x="11358485" y="5899747"/>
                <a:ext cx="4762" cy="4763"/>
              </a:xfrm>
              <a:custGeom>
                <a:avLst/>
                <a:gdLst>
                  <a:gd name="T0" fmla="*/ 16 w 30"/>
                  <a:gd name="T1" fmla="*/ 0 h 30"/>
                  <a:gd name="T2" fmla="*/ 20 w 30"/>
                  <a:gd name="T3" fmla="*/ 1 h 30"/>
                  <a:gd name="T4" fmla="*/ 23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5"/>
                    </a:lnTo>
                    <a:lnTo>
                      <a:pt x="29" y="10"/>
                    </a:lnTo>
                    <a:lnTo>
                      <a:pt x="30" y="14"/>
                    </a:lnTo>
                    <a:lnTo>
                      <a:pt x="29" y="20"/>
                    </a:lnTo>
                    <a:lnTo>
                      <a:pt x="27" y="23"/>
                    </a:lnTo>
                    <a:lnTo>
                      <a:pt x="23" y="26"/>
                    </a:lnTo>
                    <a:lnTo>
                      <a:pt x="20" y="29"/>
                    </a:lnTo>
                    <a:lnTo>
                      <a:pt x="16" y="30"/>
                    </a:lnTo>
                    <a:lnTo>
                      <a:pt x="10" y="29"/>
                    </a:lnTo>
                    <a:lnTo>
                      <a:pt x="7" y="26"/>
                    </a:lnTo>
                    <a:lnTo>
                      <a:pt x="3" y="23"/>
                    </a:lnTo>
                    <a:lnTo>
                      <a:pt x="1" y="20"/>
                    </a:lnTo>
                    <a:lnTo>
                      <a:pt x="0" y="14"/>
                    </a:lnTo>
                    <a:lnTo>
                      <a:pt x="1" y="10"/>
                    </a:lnTo>
                    <a:lnTo>
                      <a:pt x="3" y="5"/>
                    </a:lnTo>
                    <a:lnTo>
                      <a:pt x="7" y="3"/>
                    </a:lnTo>
                    <a:lnTo>
                      <a:pt x="10" y="1"/>
                    </a:lnTo>
                    <a:lnTo>
                      <a:pt x="16" y="0"/>
                    </a:lnTo>
                    <a:close/>
                  </a:path>
                </a:pathLst>
              </a:custGeom>
              <a:solidFill>
                <a:schemeClr val="accent5"/>
              </a:solidFill>
              <a:ln>
                <a:noFill/>
              </a:ln>
            </p:spPr>
            <p:txBody>
              <a:bodyPr/>
              <a:lstStyle/>
              <a:p>
                <a:endParaRPr lang="de-DE" dirty="0"/>
              </a:p>
            </p:txBody>
          </p:sp>
          <p:sp>
            <p:nvSpPr>
              <p:cNvPr id="1861" name="Freeform 622"/>
              <p:cNvSpPr>
                <a:spLocks/>
              </p:cNvSpPr>
              <p:nvPr/>
            </p:nvSpPr>
            <p:spPr bwMode="auto">
              <a:xfrm>
                <a:off x="11371184" y="5899747"/>
                <a:ext cx="4762" cy="4763"/>
              </a:xfrm>
              <a:custGeom>
                <a:avLst/>
                <a:gdLst>
                  <a:gd name="T0" fmla="*/ 15 w 29"/>
                  <a:gd name="T1" fmla="*/ 0 h 30"/>
                  <a:gd name="T2" fmla="*/ 19 w 29"/>
                  <a:gd name="T3" fmla="*/ 1 h 30"/>
                  <a:gd name="T4" fmla="*/ 24 w 29"/>
                  <a:gd name="T5" fmla="*/ 3 h 30"/>
                  <a:gd name="T6" fmla="*/ 27 w 29"/>
                  <a:gd name="T7" fmla="*/ 5 h 30"/>
                  <a:gd name="T8" fmla="*/ 28 w 29"/>
                  <a:gd name="T9" fmla="*/ 10 h 30"/>
                  <a:gd name="T10" fmla="*/ 29 w 29"/>
                  <a:gd name="T11" fmla="*/ 14 h 30"/>
                  <a:gd name="T12" fmla="*/ 28 w 29"/>
                  <a:gd name="T13" fmla="*/ 20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20 h 30"/>
                  <a:gd name="T30" fmla="*/ 0 w 29"/>
                  <a:gd name="T31" fmla="*/ 14 h 30"/>
                  <a:gd name="T32" fmla="*/ 1 w 29"/>
                  <a:gd name="T33" fmla="*/ 10 h 30"/>
                  <a:gd name="T34" fmla="*/ 3 w 29"/>
                  <a:gd name="T35" fmla="*/ 5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5"/>
                    </a:lnTo>
                    <a:lnTo>
                      <a:pt x="28" y="10"/>
                    </a:lnTo>
                    <a:lnTo>
                      <a:pt x="29" y="14"/>
                    </a:lnTo>
                    <a:lnTo>
                      <a:pt x="28" y="20"/>
                    </a:lnTo>
                    <a:lnTo>
                      <a:pt x="27" y="23"/>
                    </a:lnTo>
                    <a:lnTo>
                      <a:pt x="24" y="26"/>
                    </a:lnTo>
                    <a:lnTo>
                      <a:pt x="19" y="29"/>
                    </a:lnTo>
                    <a:lnTo>
                      <a:pt x="15" y="30"/>
                    </a:lnTo>
                    <a:lnTo>
                      <a:pt x="9" y="29"/>
                    </a:lnTo>
                    <a:lnTo>
                      <a:pt x="6" y="26"/>
                    </a:lnTo>
                    <a:lnTo>
                      <a:pt x="3" y="23"/>
                    </a:lnTo>
                    <a:lnTo>
                      <a:pt x="1" y="20"/>
                    </a:lnTo>
                    <a:lnTo>
                      <a:pt x="0" y="14"/>
                    </a:lnTo>
                    <a:lnTo>
                      <a:pt x="1" y="10"/>
                    </a:lnTo>
                    <a:lnTo>
                      <a:pt x="3" y="5"/>
                    </a:lnTo>
                    <a:lnTo>
                      <a:pt x="6" y="3"/>
                    </a:lnTo>
                    <a:lnTo>
                      <a:pt x="9" y="1"/>
                    </a:lnTo>
                    <a:lnTo>
                      <a:pt x="15" y="0"/>
                    </a:lnTo>
                    <a:close/>
                  </a:path>
                </a:pathLst>
              </a:custGeom>
              <a:solidFill>
                <a:schemeClr val="accent5"/>
              </a:solidFill>
              <a:ln>
                <a:noFill/>
              </a:ln>
            </p:spPr>
            <p:txBody>
              <a:bodyPr/>
              <a:lstStyle/>
              <a:p>
                <a:endParaRPr lang="de-DE" dirty="0"/>
              </a:p>
            </p:txBody>
          </p:sp>
          <p:sp>
            <p:nvSpPr>
              <p:cNvPr id="1862" name="Freeform 623"/>
              <p:cNvSpPr>
                <a:spLocks/>
              </p:cNvSpPr>
              <p:nvPr/>
            </p:nvSpPr>
            <p:spPr bwMode="auto">
              <a:xfrm>
                <a:off x="11385470" y="5899747"/>
                <a:ext cx="4762" cy="4763"/>
              </a:xfrm>
              <a:custGeom>
                <a:avLst/>
                <a:gdLst>
                  <a:gd name="T0" fmla="*/ 15 w 30"/>
                  <a:gd name="T1" fmla="*/ 0 h 30"/>
                  <a:gd name="T2" fmla="*/ 20 w 30"/>
                  <a:gd name="T3" fmla="*/ 1 h 30"/>
                  <a:gd name="T4" fmla="*/ 24 w 30"/>
                  <a:gd name="T5" fmla="*/ 3 h 30"/>
                  <a:gd name="T6" fmla="*/ 28 w 30"/>
                  <a:gd name="T7" fmla="*/ 5 h 30"/>
                  <a:gd name="T8" fmla="*/ 30 w 30"/>
                  <a:gd name="T9" fmla="*/ 10 h 30"/>
                  <a:gd name="T10" fmla="*/ 30 w 30"/>
                  <a:gd name="T11" fmla="*/ 14 h 30"/>
                  <a:gd name="T12" fmla="*/ 30 w 30"/>
                  <a:gd name="T13" fmla="*/ 20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5"/>
                    </a:lnTo>
                    <a:lnTo>
                      <a:pt x="30" y="10"/>
                    </a:lnTo>
                    <a:lnTo>
                      <a:pt x="30" y="14"/>
                    </a:lnTo>
                    <a:lnTo>
                      <a:pt x="30" y="20"/>
                    </a:lnTo>
                    <a:lnTo>
                      <a:pt x="28" y="23"/>
                    </a:lnTo>
                    <a:lnTo>
                      <a:pt x="24" y="26"/>
                    </a:lnTo>
                    <a:lnTo>
                      <a:pt x="20" y="29"/>
                    </a:lnTo>
                    <a:lnTo>
                      <a:pt x="15" y="30"/>
                    </a:lnTo>
                    <a:lnTo>
                      <a:pt x="11" y="29"/>
                    </a:lnTo>
                    <a:lnTo>
                      <a:pt x="7" y="26"/>
                    </a:lnTo>
                    <a:lnTo>
                      <a:pt x="3" y="23"/>
                    </a:lnTo>
                    <a:lnTo>
                      <a:pt x="1" y="20"/>
                    </a:lnTo>
                    <a:lnTo>
                      <a:pt x="0" y="14"/>
                    </a:lnTo>
                    <a:lnTo>
                      <a:pt x="1" y="10"/>
                    </a:lnTo>
                    <a:lnTo>
                      <a:pt x="3" y="5"/>
                    </a:lnTo>
                    <a:lnTo>
                      <a:pt x="7" y="3"/>
                    </a:lnTo>
                    <a:lnTo>
                      <a:pt x="11" y="1"/>
                    </a:lnTo>
                    <a:lnTo>
                      <a:pt x="15" y="0"/>
                    </a:lnTo>
                    <a:close/>
                  </a:path>
                </a:pathLst>
              </a:custGeom>
              <a:solidFill>
                <a:schemeClr val="accent5"/>
              </a:solidFill>
              <a:ln>
                <a:noFill/>
              </a:ln>
            </p:spPr>
            <p:txBody>
              <a:bodyPr/>
              <a:lstStyle/>
              <a:p>
                <a:endParaRPr lang="de-DE" dirty="0"/>
              </a:p>
            </p:txBody>
          </p:sp>
          <p:sp>
            <p:nvSpPr>
              <p:cNvPr id="1863" name="Freeform 624"/>
              <p:cNvSpPr>
                <a:spLocks/>
              </p:cNvSpPr>
              <p:nvPr/>
            </p:nvSpPr>
            <p:spPr bwMode="auto">
              <a:xfrm>
                <a:off x="11399756" y="5899747"/>
                <a:ext cx="4762" cy="4763"/>
              </a:xfrm>
              <a:custGeom>
                <a:avLst/>
                <a:gdLst>
                  <a:gd name="T0" fmla="*/ 15 w 30"/>
                  <a:gd name="T1" fmla="*/ 0 h 30"/>
                  <a:gd name="T2" fmla="*/ 19 w 30"/>
                  <a:gd name="T3" fmla="*/ 1 h 30"/>
                  <a:gd name="T4" fmla="*/ 24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20 h 30"/>
                  <a:gd name="T30" fmla="*/ 0 w 30"/>
                  <a:gd name="T31" fmla="*/ 14 h 30"/>
                  <a:gd name="T32" fmla="*/ 0 w 30"/>
                  <a:gd name="T33" fmla="*/ 10 h 30"/>
                  <a:gd name="T34" fmla="*/ 3 w 30"/>
                  <a:gd name="T35" fmla="*/ 5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5"/>
                    </a:lnTo>
                    <a:lnTo>
                      <a:pt x="29" y="10"/>
                    </a:lnTo>
                    <a:lnTo>
                      <a:pt x="30" y="14"/>
                    </a:lnTo>
                    <a:lnTo>
                      <a:pt x="29" y="20"/>
                    </a:lnTo>
                    <a:lnTo>
                      <a:pt x="27" y="23"/>
                    </a:lnTo>
                    <a:lnTo>
                      <a:pt x="24" y="26"/>
                    </a:lnTo>
                    <a:lnTo>
                      <a:pt x="19" y="29"/>
                    </a:lnTo>
                    <a:lnTo>
                      <a:pt x="15" y="30"/>
                    </a:lnTo>
                    <a:lnTo>
                      <a:pt x="10" y="29"/>
                    </a:lnTo>
                    <a:lnTo>
                      <a:pt x="6" y="26"/>
                    </a:lnTo>
                    <a:lnTo>
                      <a:pt x="3" y="23"/>
                    </a:lnTo>
                    <a:lnTo>
                      <a:pt x="0" y="20"/>
                    </a:lnTo>
                    <a:lnTo>
                      <a:pt x="0" y="14"/>
                    </a:lnTo>
                    <a:lnTo>
                      <a:pt x="0" y="10"/>
                    </a:lnTo>
                    <a:lnTo>
                      <a:pt x="3" y="5"/>
                    </a:lnTo>
                    <a:lnTo>
                      <a:pt x="6" y="3"/>
                    </a:lnTo>
                    <a:lnTo>
                      <a:pt x="10" y="1"/>
                    </a:lnTo>
                    <a:lnTo>
                      <a:pt x="15" y="0"/>
                    </a:lnTo>
                    <a:close/>
                  </a:path>
                </a:pathLst>
              </a:custGeom>
              <a:solidFill>
                <a:schemeClr val="accent5"/>
              </a:solidFill>
              <a:ln>
                <a:noFill/>
              </a:ln>
            </p:spPr>
            <p:txBody>
              <a:bodyPr/>
              <a:lstStyle/>
              <a:p>
                <a:endParaRPr lang="de-DE" dirty="0"/>
              </a:p>
            </p:txBody>
          </p:sp>
          <p:sp>
            <p:nvSpPr>
              <p:cNvPr id="1864" name="Freeform 625"/>
              <p:cNvSpPr>
                <a:spLocks/>
              </p:cNvSpPr>
              <p:nvPr/>
            </p:nvSpPr>
            <p:spPr bwMode="auto">
              <a:xfrm>
                <a:off x="11414042" y="5899747"/>
                <a:ext cx="4762" cy="4763"/>
              </a:xfrm>
              <a:custGeom>
                <a:avLst/>
                <a:gdLst>
                  <a:gd name="T0" fmla="*/ 14 w 30"/>
                  <a:gd name="T1" fmla="*/ 0 h 30"/>
                  <a:gd name="T2" fmla="*/ 20 w 30"/>
                  <a:gd name="T3" fmla="*/ 1 h 30"/>
                  <a:gd name="T4" fmla="*/ 23 w 30"/>
                  <a:gd name="T5" fmla="*/ 3 h 30"/>
                  <a:gd name="T6" fmla="*/ 26 w 30"/>
                  <a:gd name="T7" fmla="*/ 5 h 30"/>
                  <a:gd name="T8" fmla="*/ 29 w 30"/>
                  <a:gd name="T9" fmla="*/ 10 h 30"/>
                  <a:gd name="T10" fmla="*/ 30 w 30"/>
                  <a:gd name="T11" fmla="*/ 14 h 30"/>
                  <a:gd name="T12" fmla="*/ 29 w 30"/>
                  <a:gd name="T13" fmla="*/ 20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20 h 30"/>
                  <a:gd name="T30" fmla="*/ 0 w 30"/>
                  <a:gd name="T31" fmla="*/ 14 h 30"/>
                  <a:gd name="T32" fmla="*/ 1 w 30"/>
                  <a:gd name="T33" fmla="*/ 10 h 30"/>
                  <a:gd name="T34" fmla="*/ 2 w 30"/>
                  <a:gd name="T35" fmla="*/ 5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5"/>
                    </a:lnTo>
                    <a:lnTo>
                      <a:pt x="29" y="10"/>
                    </a:lnTo>
                    <a:lnTo>
                      <a:pt x="30" y="14"/>
                    </a:lnTo>
                    <a:lnTo>
                      <a:pt x="29" y="20"/>
                    </a:lnTo>
                    <a:lnTo>
                      <a:pt x="26" y="23"/>
                    </a:lnTo>
                    <a:lnTo>
                      <a:pt x="23" y="26"/>
                    </a:lnTo>
                    <a:lnTo>
                      <a:pt x="20" y="29"/>
                    </a:lnTo>
                    <a:lnTo>
                      <a:pt x="14" y="30"/>
                    </a:lnTo>
                    <a:lnTo>
                      <a:pt x="10" y="29"/>
                    </a:lnTo>
                    <a:lnTo>
                      <a:pt x="5" y="26"/>
                    </a:lnTo>
                    <a:lnTo>
                      <a:pt x="2" y="23"/>
                    </a:lnTo>
                    <a:lnTo>
                      <a:pt x="1" y="20"/>
                    </a:lnTo>
                    <a:lnTo>
                      <a:pt x="0" y="14"/>
                    </a:lnTo>
                    <a:lnTo>
                      <a:pt x="1" y="10"/>
                    </a:lnTo>
                    <a:lnTo>
                      <a:pt x="2" y="5"/>
                    </a:lnTo>
                    <a:lnTo>
                      <a:pt x="5" y="3"/>
                    </a:lnTo>
                    <a:lnTo>
                      <a:pt x="10" y="1"/>
                    </a:lnTo>
                    <a:lnTo>
                      <a:pt x="14" y="0"/>
                    </a:lnTo>
                    <a:close/>
                  </a:path>
                </a:pathLst>
              </a:custGeom>
              <a:solidFill>
                <a:schemeClr val="accent5"/>
              </a:solidFill>
              <a:ln>
                <a:noFill/>
              </a:ln>
            </p:spPr>
            <p:txBody>
              <a:bodyPr/>
              <a:lstStyle/>
              <a:p>
                <a:endParaRPr lang="de-DE" dirty="0"/>
              </a:p>
            </p:txBody>
          </p:sp>
          <p:sp>
            <p:nvSpPr>
              <p:cNvPr id="1865" name="Freeform 626"/>
              <p:cNvSpPr>
                <a:spLocks/>
              </p:cNvSpPr>
              <p:nvPr/>
            </p:nvSpPr>
            <p:spPr bwMode="auto">
              <a:xfrm>
                <a:off x="11428328" y="5899747"/>
                <a:ext cx="4762" cy="4763"/>
              </a:xfrm>
              <a:custGeom>
                <a:avLst/>
                <a:gdLst>
                  <a:gd name="T0" fmla="*/ 16 w 30"/>
                  <a:gd name="T1" fmla="*/ 0 h 30"/>
                  <a:gd name="T2" fmla="*/ 20 w 30"/>
                  <a:gd name="T3" fmla="*/ 1 h 30"/>
                  <a:gd name="T4" fmla="*/ 25 w 30"/>
                  <a:gd name="T5" fmla="*/ 3 h 30"/>
                  <a:gd name="T6" fmla="*/ 27 w 30"/>
                  <a:gd name="T7" fmla="*/ 5 h 30"/>
                  <a:gd name="T8" fmla="*/ 29 w 30"/>
                  <a:gd name="T9" fmla="*/ 10 h 30"/>
                  <a:gd name="T10" fmla="*/ 30 w 30"/>
                  <a:gd name="T11" fmla="*/ 14 h 30"/>
                  <a:gd name="T12" fmla="*/ 29 w 30"/>
                  <a:gd name="T13" fmla="*/ 20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20 h 30"/>
                  <a:gd name="T30" fmla="*/ 0 w 30"/>
                  <a:gd name="T31" fmla="*/ 14 h 30"/>
                  <a:gd name="T32" fmla="*/ 1 w 30"/>
                  <a:gd name="T33" fmla="*/ 10 h 30"/>
                  <a:gd name="T34" fmla="*/ 4 w 30"/>
                  <a:gd name="T35" fmla="*/ 5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5"/>
                    </a:lnTo>
                    <a:lnTo>
                      <a:pt x="29" y="10"/>
                    </a:lnTo>
                    <a:lnTo>
                      <a:pt x="30" y="14"/>
                    </a:lnTo>
                    <a:lnTo>
                      <a:pt x="29" y="20"/>
                    </a:lnTo>
                    <a:lnTo>
                      <a:pt x="27" y="23"/>
                    </a:lnTo>
                    <a:lnTo>
                      <a:pt x="25" y="26"/>
                    </a:lnTo>
                    <a:lnTo>
                      <a:pt x="20" y="29"/>
                    </a:lnTo>
                    <a:lnTo>
                      <a:pt x="16" y="30"/>
                    </a:lnTo>
                    <a:lnTo>
                      <a:pt x="10" y="29"/>
                    </a:lnTo>
                    <a:lnTo>
                      <a:pt x="7" y="26"/>
                    </a:lnTo>
                    <a:lnTo>
                      <a:pt x="4" y="23"/>
                    </a:lnTo>
                    <a:lnTo>
                      <a:pt x="1" y="20"/>
                    </a:lnTo>
                    <a:lnTo>
                      <a:pt x="0" y="14"/>
                    </a:lnTo>
                    <a:lnTo>
                      <a:pt x="1" y="10"/>
                    </a:lnTo>
                    <a:lnTo>
                      <a:pt x="4" y="5"/>
                    </a:lnTo>
                    <a:lnTo>
                      <a:pt x="7" y="3"/>
                    </a:lnTo>
                    <a:lnTo>
                      <a:pt x="10" y="1"/>
                    </a:lnTo>
                    <a:lnTo>
                      <a:pt x="16" y="0"/>
                    </a:lnTo>
                    <a:close/>
                  </a:path>
                </a:pathLst>
              </a:custGeom>
              <a:solidFill>
                <a:schemeClr val="accent5"/>
              </a:solidFill>
              <a:ln>
                <a:noFill/>
              </a:ln>
            </p:spPr>
            <p:txBody>
              <a:bodyPr/>
              <a:lstStyle/>
              <a:p>
                <a:endParaRPr lang="de-DE" dirty="0"/>
              </a:p>
            </p:txBody>
          </p:sp>
          <p:sp>
            <p:nvSpPr>
              <p:cNvPr id="1866" name="Freeform 627"/>
              <p:cNvSpPr>
                <a:spLocks/>
              </p:cNvSpPr>
              <p:nvPr/>
            </p:nvSpPr>
            <p:spPr bwMode="auto">
              <a:xfrm>
                <a:off x="11441027" y="5899747"/>
                <a:ext cx="4762" cy="4763"/>
              </a:xfrm>
              <a:custGeom>
                <a:avLst/>
                <a:gdLst>
                  <a:gd name="T0" fmla="*/ 15 w 30"/>
                  <a:gd name="T1" fmla="*/ 0 h 30"/>
                  <a:gd name="T2" fmla="*/ 20 w 30"/>
                  <a:gd name="T3" fmla="*/ 1 h 30"/>
                  <a:gd name="T4" fmla="*/ 24 w 30"/>
                  <a:gd name="T5" fmla="*/ 3 h 30"/>
                  <a:gd name="T6" fmla="*/ 27 w 30"/>
                  <a:gd name="T7" fmla="*/ 5 h 30"/>
                  <a:gd name="T8" fmla="*/ 30 w 30"/>
                  <a:gd name="T9" fmla="*/ 10 h 30"/>
                  <a:gd name="T10" fmla="*/ 30 w 30"/>
                  <a:gd name="T11" fmla="*/ 14 h 30"/>
                  <a:gd name="T12" fmla="*/ 30 w 30"/>
                  <a:gd name="T13" fmla="*/ 20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20 h 30"/>
                  <a:gd name="T30" fmla="*/ 0 w 30"/>
                  <a:gd name="T31" fmla="*/ 14 h 30"/>
                  <a:gd name="T32" fmla="*/ 1 w 30"/>
                  <a:gd name="T33" fmla="*/ 10 h 30"/>
                  <a:gd name="T34" fmla="*/ 3 w 30"/>
                  <a:gd name="T35" fmla="*/ 5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5"/>
                    </a:lnTo>
                    <a:lnTo>
                      <a:pt x="30" y="10"/>
                    </a:lnTo>
                    <a:lnTo>
                      <a:pt x="30" y="14"/>
                    </a:lnTo>
                    <a:lnTo>
                      <a:pt x="30" y="20"/>
                    </a:lnTo>
                    <a:lnTo>
                      <a:pt x="27" y="23"/>
                    </a:lnTo>
                    <a:lnTo>
                      <a:pt x="24" y="26"/>
                    </a:lnTo>
                    <a:lnTo>
                      <a:pt x="20" y="29"/>
                    </a:lnTo>
                    <a:lnTo>
                      <a:pt x="15" y="30"/>
                    </a:lnTo>
                    <a:lnTo>
                      <a:pt x="11" y="29"/>
                    </a:lnTo>
                    <a:lnTo>
                      <a:pt x="6" y="26"/>
                    </a:lnTo>
                    <a:lnTo>
                      <a:pt x="3" y="23"/>
                    </a:lnTo>
                    <a:lnTo>
                      <a:pt x="1" y="20"/>
                    </a:lnTo>
                    <a:lnTo>
                      <a:pt x="0" y="14"/>
                    </a:lnTo>
                    <a:lnTo>
                      <a:pt x="1" y="10"/>
                    </a:lnTo>
                    <a:lnTo>
                      <a:pt x="3" y="5"/>
                    </a:lnTo>
                    <a:lnTo>
                      <a:pt x="6" y="3"/>
                    </a:lnTo>
                    <a:lnTo>
                      <a:pt x="11" y="1"/>
                    </a:lnTo>
                    <a:lnTo>
                      <a:pt x="15" y="0"/>
                    </a:lnTo>
                    <a:close/>
                  </a:path>
                </a:pathLst>
              </a:custGeom>
              <a:solidFill>
                <a:schemeClr val="accent5"/>
              </a:solidFill>
              <a:ln>
                <a:noFill/>
              </a:ln>
            </p:spPr>
            <p:txBody>
              <a:bodyPr/>
              <a:lstStyle/>
              <a:p>
                <a:endParaRPr lang="de-DE" dirty="0"/>
              </a:p>
            </p:txBody>
          </p:sp>
          <p:sp>
            <p:nvSpPr>
              <p:cNvPr id="1867" name="Freeform 628"/>
              <p:cNvSpPr>
                <a:spLocks/>
              </p:cNvSpPr>
              <p:nvPr/>
            </p:nvSpPr>
            <p:spPr bwMode="auto">
              <a:xfrm>
                <a:off x="10967999"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868" name="Freeform 629"/>
              <p:cNvSpPr>
                <a:spLocks/>
              </p:cNvSpPr>
              <p:nvPr/>
            </p:nvSpPr>
            <p:spPr bwMode="auto">
              <a:xfrm>
                <a:off x="10982285"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869" name="Freeform 630"/>
              <p:cNvSpPr>
                <a:spLocks/>
              </p:cNvSpPr>
              <p:nvPr/>
            </p:nvSpPr>
            <p:spPr bwMode="auto">
              <a:xfrm>
                <a:off x="10996571" y="5950553"/>
                <a:ext cx="4762" cy="4763"/>
              </a:xfrm>
              <a:custGeom>
                <a:avLst/>
                <a:gdLst>
                  <a:gd name="T0" fmla="*/ 14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4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0"/>
                    </a:lnTo>
                    <a:lnTo>
                      <a:pt x="23" y="2"/>
                    </a:lnTo>
                    <a:lnTo>
                      <a:pt x="27" y="5"/>
                    </a:lnTo>
                    <a:lnTo>
                      <a:pt x="29" y="10"/>
                    </a:lnTo>
                    <a:lnTo>
                      <a:pt x="30" y="14"/>
                    </a:lnTo>
                    <a:lnTo>
                      <a:pt x="29" y="19"/>
                    </a:lnTo>
                    <a:lnTo>
                      <a:pt x="27" y="23"/>
                    </a:lnTo>
                    <a:lnTo>
                      <a:pt x="23" y="26"/>
                    </a:lnTo>
                    <a:lnTo>
                      <a:pt x="19" y="29"/>
                    </a:lnTo>
                    <a:lnTo>
                      <a:pt x="14" y="30"/>
                    </a:lnTo>
                    <a:lnTo>
                      <a:pt x="10" y="29"/>
                    </a:lnTo>
                    <a:lnTo>
                      <a:pt x="6" y="26"/>
                    </a:lnTo>
                    <a:lnTo>
                      <a:pt x="2" y="23"/>
                    </a:lnTo>
                    <a:lnTo>
                      <a:pt x="0" y="19"/>
                    </a:lnTo>
                    <a:lnTo>
                      <a:pt x="0" y="14"/>
                    </a:lnTo>
                    <a:lnTo>
                      <a:pt x="0" y="10"/>
                    </a:lnTo>
                    <a:lnTo>
                      <a:pt x="2" y="5"/>
                    </a:lnTo>
                    <a:lnTo>
                      <a:pt x="6" y="2"/>
                    </a:lnTo>
                    <a:lnTo>
                      <a:pt x="10" y="0"/>
                    </a:lnTo>
                    <a:lnTo>
                      <a:pt x="14" y="0"/>
                    </a:lnTo>
                    <a:close/>
                  </a:path>
                </a:pathLst>
              </a:custGeom>
              <a:solidFill>
                <a:schemeClr val="accent5"/>
              </a:solidFill>
              <a:ln>
                <a:noFill/>
              </a:ln>
            </p:spPr>
            <p:txBody>
              <a:bodyPr/>
              <a:lstStyle/>
              <a:p>
                <a:endParaRPr lang="de-DE" dirty="0"/>
              </a:p>
            </p:txBody>
          </p:sp>
          <p:sp>
            <p:nvSpPr>
              <p:cNvPr id="1870" name="Freeform 631"/>
              <p:cNvSpPr>
                <a:spLocks/>
              </p:cNvSpPr>
              <p:nvPr/>
            </p:nvSpPr>
            <p:spPr bwMode="auto">
              <a:xfrm>
                <a:off x="11010857" y="5950553"/>
                <a:ext cx="4762" cy="4763"/>
              </a:xfrm>
              <a:custGeom>
                <a:avLst/>
                <a:gdLst>
                  <a:gd name="T0" fmla="*/ 15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29" y="10"/>
                    </a:lnTo>
                    <a:lnTo>
                      <a:pt x="30" y="14"/>
                    </a:lnTo>
                    <a:lnTo>
                      <a:pt x="29" y="19"/>
                    </a:lnTo>
                    <a:lnTo>
                      <a:pt x="27" y="23"/>
                    </a:lnTo>
                    <a:lnTo>
                      <a:pt x="24" y="26"/>
                    </a:lnTo>
                    <a:lnTo>
                      <a:pt x="20"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871" name="Freeform 632"/>
              <p:cNvSpPr>
                <a:spLocks/>
              </p:cNvSpPr>
              <p:nvPr/>
            </p:nvSpPr>
            <p:spPr bwMode="auto">
              <a:xfrm>
                <a:off x="11023556"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1872" name="Freeform 633"/>
              <p:cNvSpPr>
                <a:spLocks/>
              </p:cNvSpPr>
              <p:nvPr/>
            </p:nvSpPr>
            <p:spPr bwMode="auto">
              <a:xfrm>
                <a:off x="11037842"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873" name="Freeform 634"/>
              <p:cNvSpPr>
                <a:spLocks/>
              </p:cNvSpPr>
              <p:nvPr/>
            </p:nvSpPr>
            <p:spPr bwMode="auto">
              <a:xfrm>
                <a:off x="11052128"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874" name="Freeform 635"/>
              <p:cNvSpPr>
                <a:spLocks/>
              </p:cNvSpPr>
              <p:nvPr/>
            </p:nvSpPr>
            <p:spPr bwMode="auto">
              <a:xfrm>
                <a:off x="11066414" y="5950553"/>
                <a:ext cx="4762" cy="4763"/>
              </a:xfrm>
              <a:custGeom>
                <a:avLst/>
                <a:gdLst>
                  <a:gd name="T0" fmla="*/ 15 w 30"/>
                  <a:gd name="T1" fmla="*/ 0 h 30"/>
                  <a:gd name="T2" fmla="*/ 19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3" y="2"/>
                    </a:lnTo>
                    <a:lnTo>
                      <a:pt x="27" y="5"/>
                    </a:lnTo>
                    <a:lnTo>
                      <a:pt x="29" y="10"/>
                    </a:lnTo>
                    <a:lnTo>
                      <a:pt x="30"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875" name="Freeform 636"/>
              <p:cNvSpPr>
                <a:spLocks/>
              </p:cNvSpPr>
              <p:nvPr/>
            </p:nvSpPr>
            <p:spPr bwMode="auto">
              <a:xfrm>
                <a:off x="11079113"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876" name="Freeform 637"/>
              <p:cNvSpPr>
                <a:spLocks/>
              </p:cNvSpPr>
              <p:nvPr/>
            </p:nvSpPr>
            <p:spPr bwMode="auto">
              <a:xfrm>
                <a:off x="11093399"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1877" name="Freeform 638"/>
              <p:cNvSpPr>
                <a:spLocks/>
              </p:cNvSpPr>
              <p:nvPr/>
            </p:nvSpPr>
            <p:spPr bwMode="auto">
              <a:xfrm>
                <a:off x="11107685" y="5950553"/>
                <a:ext cx="4762" cy="4763"/>
              </a:xfrm>
              <a:custGeom>
                <a:avLst/>
                <a:gdLst>
                  <a:gd name="T0" fmla="*/ 16 w 30"/>
                  <a:gd name="T1" fmla="*/ 0 h 30"/>
                  <a:gd name="T2" fmla="*/ 20 w 30"/>
                  <a:gd name="T3" fmla="*/ 0 h 30"/>
                  <a:gd name="T4" fmla="*/ 25 w 30"/>
                  <a:gd name="T5" fmla="*/ 2 h 30"/>
                  <a:gd name="T6" fmla="*/ 28 w 30"/>
                  <a:gd name="T7" fmla="*/ 5 h 30"/>
                  <a:gd name="T8" fmla="*/ 29 w 30"/>
                  <a:gd name="T9" fmla="*/ 10 h 30"/>
                  <a:gd name="T10" fmla="*/ 30 w 30"/>
                  <a:gd name="T11" fmla="*/ 14 h 30"/>
                  <a:gd name="T12" fmla="*/ 29 w 30"/>
                  <a:gd name="T13" fmla="*/ 19 h 30"/>
                  <a:gd name="T14" fmla="*/ 28 w 30"/>
                  <a:gd name="T15" fmla="*/ 23 h 30"/>
                  <a:gd name="T16" fmla="*/ 25 w 30"/>
                  <a:gd name="T17" fmla="*/ 26 h 30"/>
                  <a:gd name="T18" fmla="*/ 20 w 30"/>
                  <a:gd name="T19" fmla="*/ 29 h 30"/>
                  <a:gd name="T20" fmla="*/ 16 w 30"/>
                  <a:gd name="T21" fmla="*/ 30 h 30"/>
                  <a:gd name="T22" fmla="*/ 11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1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8" y="5"/>
                    </a:lnTo>
                    <a:lnTo>
                      <a:pt x="29" y="10"/>
                    </a:lnTo>
                    <a:lnTo>
                      <a:pt x="30" y="14"/>
                    </a:lnTo>
                    <a:lnTo>
                      <a:pt x="29" y="19"/>
                    </a:lnTo>
                    <a:lnTo>
                      <a:pt x="28" y="23"/>
                    </a:lnTo>
                    <a:lnTo>
                      <a:pt x="25" y="26"/>
                    </a:lnTo>
                    <a:lnTo>
                      <a:pt x="20" y="29"/>
                    </a:lnTo>
                    <a:lnTo>
                      <a:pt x="16" y="30"/>
                    </a:lnTo>
                    <a:lnTo>
                      <a:pt x="11" y="29"/>
                    </a:lnTo>
                    <a:lnTo>
                      <a:pt x="7" y="26"/>
                    </a:lnTo>
                    <a:lnTo>
                      <a:pt x="4" y="23"/>
                    </a:lnTo>
                    <a:lnTo>
                      <a:pt x="1" y="19"/>
                    </a:lnTo>
                    <a:lnTo>
                      <a:pt x="0" y="14"/>
                    </a:lnTo>
                    <a:lnTo>
                      <a:pt x="1" y="10"/>
                    </a:lnTo>
                    <a:lnTo>
                      <a:pt x="4" y="5"/>
                    </a:lnTo>
                    <a:lnTo>
                      <a:pt x="7" y="2"/>
                    </a:lnTo>
                    <a:lnTo>
                      <a:pt x="11" y="0"/>
                    </a:lnTo>
                    <a:lnTo>
                      <a:pt x="16" y="0"/>
                    </a:lnTo>
                    <a:close/>
                  </a:path>
                </a:pathLst>
              </a:custGeom>
              <a:solidFill>
                <a:schemeClr val="accent5"/>
              </a:solidFill>
              <a:ln>
                <a:noFill/>
              </a:ln>
            </p:spPr>
            <p:txBody>
              <a:bodyPr/>
              <a:lstStyle/>
              <a:p>
                <a:endParaRPr lang="de-DE" dirty="0"/>
              </a:p>
            </p:txBody>
          </p:sp>
          <p:sp>
            <p:nvSpPr>
              <p:cNvPr id="1878" name="Freeform 639"/>
              <p:cNvSpPr>
                <a:spLocks/>
              </p:cNvSpPr>
              <p:nvPr/>
            </p:nvSpPr>
            <p:spPr bwMode="auto">
              <a:xfrm>
                <a:off x="111219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879" name="Freeform 640"/>
              <p:cNvSpPr>
                <a:spLocks/>
              </p:cNvSpPr>
              <p:nvPr/>
            </p:nvSpPr>
            <p:spPr bwMode="auto">
              <a:xfrm>
                <a:off x="11136257"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880" name="Freeform 641"/>
              <p:cNvSpPr>
                <a:spLocks/>
              </p:cNvSpPr>
              <p:nvPr/>
            </p:nvSpPr>
            <p:spPr bwMode="auto">
              <a:xfrm>
                <a:off x="11148956"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881" name="Freeform 642"/>
              <p:cNvSpPr>
                <a:spLocks/>
              </p:cNvSpPr>
              <p:nvPr/>
            </p:nvSpPr>
            <p:spPr bwMode="auto">
              <a:xfrm>
                <a:off x="11163242" y="5950553"/>
                <a:ext cx="4762" cy="4763"/>
              </a:xfrm>
              <a:custGeom>
                <a:avLst/>
                <a:gdLst>
                  <a:gd name="T0" fmla="*/ 16 w 30"/>
                  <a:gd name="T1" fmla="*/ 0 h 30"/>
                  <a:gd name="T2" fmla="*/ 20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4" y="2"/>
                    </a:lnTo>
                    <a:lnTo>
                      <a:pt x="27" y="5"/>
                    </a:lnTo>
                    <a:lnTo>
                      <a:pt x="29" y="10"/>
                    </a:lnTo>
                    <a:lnTo>
                      <a:pt x="30" y="14"/>
                    </a:lnTo>
                    <a:lnTo>
                      <a:pt x="29" y="19"/>
                    </a:lnTo>
                    <a:lnTo>
                      <a:pt x="27" y="23"/>
                    </a:lnTo>
                    <a:lnTo>
                      <a:pt x="24"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882" name="Freeform 643"/>
              <p:cNvSpPr>
                <a:spLocks/>
              </p:cNvSpPr>
              <p:nvPr/>
            </p:nvSpPr>
            <p:spPr bwMode="auto">
              <a:xfrm>
                <a:off x="11177528" y="5950553"/>
                <a:ext cx="4762" cy="4763"/>
              </a:xfrm>
              <a:custGeom>
                <a:avLst/>
                <a:gdLst>
                  <a:gd name="T0" fmla="*/ 15 w 29"/>
                  <a:gd name="T1" fmla="*/ 0 h 30"/>
                  <a:gd name="T2" fmla="*/ 19 w 29"/>
                  <a:gd name="T3" fmla="*/ 0 h 30"/>
                  <a:gd name="T4" fmla="*/ 24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4 w 29"/>
                  <a:gd name="T17" fmla="*/ 26 h 30"/>
                  <a:gd name="T18" fmla="*/ 19 w 29"/>
                  <a:gd name="T19" fmla="*/ 29 h 30"/>
                  <a:gd name="T20" fmla="*/ 15 w 29"/>
                  <a:gd name="T21" fmla="*/ 30 h 30"/>
                  <a:gd name="T22" fmla="*/ 11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11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9" y="10"/>
                    </a:lnTo>
                    <a:lnTo>
                      <a:pt x="29" y="14"/>
                    </a:lnTo>
                    <a:lnTo>
                      <a:pt x="29" y="19"/>
                    </a:lnTo>
                    <a:lnTo>
                      <a:pt x="27" y="23"/>
                    </a:lnTo>
                    <a:lnTo>
                      <a:pt x="24" y="26"/>
                    </a:lnTo>
                    <a:lnTo>
                      <a:pt x="19"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883" name="Freeform 644"/>
              <p:cNvSpPr>
                <a:spLocks/>
              </p:cNvSpPr>
              <p:nvPr/>
            </p:nvSpPr>
            <p:spPr bwMode="auto">
              <a:xfrm>
                <a:off x="11190227"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1884" name="Freeform 645"/>
              <p:cNvSpPr>
                <a:spLocks/>
              </p:cNvSpPr>
              <p:nvPr/>
            </p:nvSpPr>
            <p:spPr bwMode="auto">
              <a:xfrm>
                <a:off x="112045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885" name="Freeform 646"/>
              <p:cNvSpPr>
                <a:spLocks/>
              </p:cNvSpPr>
              <p:nvPr/>
            </p:nvSpPr>
            <p:spPr bwMode="auto">
              <a:xfrm>
                <a:off x="11218799"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3" y="23"/>
                    </a:lnTo>
                    <a:lnTo>
                      <a:pt x="1" y="19"/>
                    </a:lnTo>
                    <a:lnTo>
                      <a:pt x="0" y="14"/>
                    </a:lnTo>
                    <a:lnTo>
                      <a:pt x="1" y="10"/>
                    </a:lnTo>
                    <a:lnTo>
                      <a:pt x="3" y="5"/>
                    </a:lnTo>
                    <a:lnTo>
                      <a:pt x="5" y="2"/>
                    </a:lnTo>
                    <a:lnTo>
                      <a:pt x="10" y="0"/>
                    </a:lnTo>
                    <a:lnTo>
                      <a:pt x="14" y="0"/>
                    </a:lnTo>
                    <a:close/>
                  </a:path>
                </a:pathLst>
              </a:custGeom>
              <a:solidFill>
                <a:schemeClr val="accent5"/>
              </a:solidFill>
              <a:ln>
                <a:noFill/>
              </a:ln>
            </p:spPr>
            <p:txBody>
              <a:bodyPr/>
              <a:lstStyle/>
              <a:p>
                <a:endParaRPr lang="de-DE" dirty="0"/>
              </a:p>
            </p:txBody>
          </p:sp>
          <p:sp>
            <p:nvSpPr>
              <p:cNvPr id="1886" name="Freeform 647"/>
              <p:cNvSpPr>
                <a:spLocks/>
              </p:cNvSpPr>
              <p:nvPr/>
            </p:nvSpPr>
            <p:spPr bwMode="auto">
              <a:xfrm>
                <a:off x="11233085"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887" name="Freeform 648"/>
              <p:cNvSpPr>
                <a:spLocks/>
              </p:cNvSpPr>
              <p:nvPr/>
            </p:nvSpPr>
            <p:spPr bwMode="auto">
              <a:xfrm>
                <a:off x="11247371"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888" name="Freeform 649"/>
              <p:cNvSpPr>
                <a:spLocks/>
              </p:cNvSpPr>
              <p:nvPr/>
            </p:nvSpPr>
            <p:spPr bwMode="auto">
              <a:xfrm>
                <a:off x="11260070" y="5950553"/>
                <a:ext cx="4762" cy="4763"/>
              </a:xfrm>
              <a:custGeom>
                <a:avLst/>
                <a:gdLst>
                  <a:gd name="T0" fmla="*/ 15 w 29"/>
                  <a:gd name="T1" fmla="*/ 0 h 30"/>
                  <a:gd name="T2" fmla="*/ 19 w 29"/>
                  <a:gd name="T3" fmla="*/ 0 h 30"/>
                  <a:gd name="T4" fmla="*/ 23 w 29"/>
                  <a:gd name="T5" fmla="*/ 2 h 30"/>
                  <a:gd name="T6" fmla="*/ 27 w 29"/>
                  <a:gd name="T7" fmla="*/ 5 h 30"/>
                  <a:gd name="T8" fmla="*/ 29 w 29"/>
                  <a:gd name="T9" fmla="*/ 10 h 30"/>
                  <a:gd name="T10" fmla="*/ 29 w 29"/>
                  <a:gd name="T11" fmla="*/ 14 h 30"/>
                  <a:gd name="T12" fmla="*/ 29 w 29"/>
                  <a:gd name="T13" fmla="*/ 19 h 30"/>
                  <a:gd name="T14" fmla="*/ 27 w 29"/>
                  <a:gd name="T15" fmla="*/ 23 h 30"/>
                  <a:gd name="T16" fmla="*/ 23 w 29"/>
                  <a:gd name="T17" fmla="*/ 26 h 30"/>
                  <a:gd name="T18" fmla="*/ 19 w 29"/>
                  <a:gd name="T19" fmla="*/ 29 h 30"/>
                  <a:gd name="T20" fmla="*/ 15 w 29"/>
                  <a:gd name="T21" fmla="*/ 30 h 30"/>
                  <a:gd name="T22" fmla="*/ 10 w 29"/>
                  <a:gd name="T23" fmla="*/ 29 h 30"/>
                  <a:gd name="T24" fmla="*/ 6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6 w 29"/>
                  <a:gd name="T37" fmla="*/ 2 h 30"/>
                  <a:gd name="T38" fmla="*/ 10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3" y="2"/>
                    </a:lnTo>
                    <a:lnTo>
                      <a:pt x="27" y="5"/>
                    </a:lnTo>
                    <a:lnTo>
                      <a:pt x="29" y="10"/>
                    </a:lnTo>
                    <a:lnTo>
                      <a:pt x="29" y="14"/>
                    </a:lnTo>
                    <a:lnTo>
                      <a:pt x="29" y="19"/>
                    </a:lnTo>
                    <a:lnTo>
                      <a:pt x="27" y="23"/>
                    </a:lnTo>
                    <a:lnTo>
                      <a:pt x="23"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889" name="Freeform 650"/>
              <p:cNvSpPr>
                <a:spLocks/>
              </p:cNvSpPr>
              <p:nvPr/>
            </p:nvSpPr>
            <p:spPr bwMode="auto">
              <a:xfrm>
                <a:off x="11274356" y="5950553"/>
                <a:ext cx="4762" cy="4763"/>
              </a:xfrm>
              <a:custGeom>
                <a:avLst/>
                <a:gdLst>
                  <a:gd name="T0" fmla="*/ 14 w 29"/>
                  <a:gd name="T1" fmla="*/ 0 h 30"/>
                  <a:gd name="T2" fmla="*/ 19 w 29"/>
                  <a:gd name="T3" fmla="*/ 0 h 30"/>
                  <a:gd name="T4" fmla="*/ 23 w 29"/>
                  <a:gd name="T5" fmla="*/ 2 h 30"/>
                  <a:gd name="T6" fmla="*/ 26 w 29"/>
                  <a:gd name="T7" fmla="*/ 5 h 30"/>
                  <a:gd name="T8" fmla="*/ 28 w 29"/>
                  <a:gd name="T9" fmla="*/ 10 h 30"/>
                  <a:gd name="T10" fmla="*/ 29 w 29"/>
                  <a:gd name="T11" fmla="*/ 14 h 30"/>
                  <a:gd name="T12" fmla="*/ 28 w 29"/>
                  <a:gd name="T13" fmla="*/ 19 h 30"/>
                  <a:gd name="T14" fmla="*/ 26 w 29"/>
                  <a:gd name="T15" fmla="*/ 23 h 30"/>
                  <a:gd name="T16" fmla="*/ 23 w 29"/>
                  <a:gd name="T17" fmla="*/ 26 h 30"/>
                  <a:gd name="T18" fmla="*/ 19 w 29"/>
                  <a:gd name="T19" fmla="*/ 29 h 30"/>
                  <a:gd name="T20" fmla="*/ 14 w 29"/>
                  <a:gd name="T21" fmla="*/ 30 h 30"/>
                  <a:gd name="T22" fmla="*/ 10 w 29"/>
                  <a:gd name="T23" fmla="*/ 29 h 30"/>
                  <a:gd name="T24" fmla="*/ 5 w 29"/>
                  <a:gd name="T25" fmla="*/ 26 h 30"/>
                  <a:gd name="T26" fmla="*/ 2 w 29"/>
                  <a:gd name="T27" fmla="*/ 23 h 30"/>
                  <a:gd name="T28" fmla="*/ 0 w 29"/>
                  <a:gd name="T29" fmla="*/ 19 h 30"/>
                  <a:gd name="T30" fmla="*/ 0 w 29"/>
                  <a:gd name="T31" fmla="*/ 14 h 30"/>
                  <a:gd name="T32" fmla="*/ 0 w 29"/>
                  <a:gd name="T33" fmla="*/ 10 h 30"/>
                  <a:gd name="T34" fmla="*/ 2 w 29"/>
                  <a:gd name="T35" fmla="*/ 5 h 30"/>
                  <a:gd name="T36" fmla="*/ 5 w 29"/>
                  <a:gd name="T37" fmla="*/ 2 h 30"/>
                  <a:gd name="T38" fmla="*/ 10 w 29"/>
                  <a:gd name="T39" fmla="*/ 0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0"/>
                    </a:lnTo>
                    <a:lnTo>
                      <a:pt x="23" y="2"/>
                    </a:lnTo>
                    <a:lnTo>
                      <a:pt x="26" y="5"/>
                    </a:lnTo>
                    <a:lnTo>
                      <a:pt x="28" y="10"/>
                    </a:lnTo>
                    <a:lnTo>
                      <a:pt x="29" y="14"/>
                    </a:lnTo>
                    <a:lnTo>
                      <a:pt x="28" y="19"/>
                    </a:lnTo>
                    <a:lnTo>
                      <a:pt x="26" y="23"/>
                    </a:lnTo>
                    <a:lnTo>
                      <a:pt x="23" y="26"/>
                    </a:lnTo>
                    <a:lnTo>
                      <a:pt x="19"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890" name="Freeform 651"/>
              <p:cNvSpPr>
                <a:spLocks/>
              </p:cNvSpPr>
              <p:nvPr/>
            </p:nvSpPr>
            <p:spPr bwMode="auto">
              <a:xfrm>
                <a:off x="11288642" y="5950553"/>
                <a:ext cx="4762" cy="4763"/>
              </a:xfrm>
              <a:custGeom>
                <a:avLst/>
                <a:gdLst>
                  <a:gd name="T0" fmla="*/ 15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5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3" y="2"/>
                    </a:lnTo>
                    <a:lnTo>
                      <a:pt x="27" y="5"/>
                    </a:lnTo>
                    <a:lnTo>
                      <a:pt x="29" y="10"/>
                    </a:lnTo>
                    <a:lnTo>
                      <a:pt x="30" y="14"/>
                    </a:lnTo>
                    <a:lnTo>
                      <a:pt x="29" y="19"/>
                    </a:lnTo>
                    <a:lnTo>
                      <a:pt x="27" y="23"/>
                    </a:lnTo>
                    <a:lnTo>
                      <a:pt x="23" y="26"/>
                    </a:lnTo>
                    <a:lnTo>
                      <a:pt x="20" y="29"/>
                    </a:lnTo>
                    <a:lnTo>
                      <a:pt x="15" y="30"/>
                    </a:lnTo>
                    <a:lnTo>
                      <a:pt x="10" y="29"/>
                    </a:lnTo>
                    <a:lnTo>
                      <a:pt x="7" y="26"/>
                    </a:lnTo>
                    <a:lnTo>
                      <a:pt x="3" y="23"/>
                    </a:lnTo>
                    <a:lnTo>
                      <a:pt x="1" y="19"/>
                    </a:lnTo>
                    <a:lnTo>
                      <a:pt x="0" y="14"/>
                    </a:lnTo>
                    <a:lnTo>
                      <a:pt x="1" y="10"/>
                    </a:lnTo>
                    <a:lnTo>
                      <a:pt x="3" y="5"/>
                    </a:lnTo>
                    <a:lnTo>
                      <a:pt x="7" y="2"/>
                    </a:lnTo>
                    <a:lnTo>
                      <a:pt x="10" y="0"/>
                    </a:lnTo>
                    <a:lnTo>
                      <a:pt x="15" y="0"/>
                    </a:lnTo>
                    <a:close/>
                  </a:path>
                </a:pathLst>
              </a:custGeom>
              <a:solidFill>
                <a:schemeClr val="accent5"/>
              </a:solidFill>
              <a:ln>
                <a:noFill/>
              </a:ln>
            </p:spPr>
            <p:txBody>
              <a:bodyPr/>
              <a:lstStyle/>
              <a:p>
                <a:endParaRPr lang="de-DE" dirty="0"/>
              </a:p>
            </p:txBody>
          </p:sp>
          <p:sp>
            <p:nvSpPr>
              <p:cNvPr id="1891" name="Freeform 652"/>
              <p:cNvSpPr>
                <a:spLocks/>
              </p:cNvSpPr>
              <p:nvPr/>
            </p:nvSpPr>
            <p:spPr bwMode="auto">
              <a:xfrm>
                <a:off x="113029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892" name="Freeform 653"/>
              <p:cNvSpPr>
                <a:spLocks/>
              </p:cNvSpPr>
              <p:nvPr/>
            </p:nvSpPr>
            <p:spPr bwMode="auto">
              <a:xfrm>
                <a:off x="113156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893" name="Freeform 654"/>
              <p:cNvSpPr>
                <a:spLocks/>
              </p:cNvSpPr>
              <p:nvPr/>
            </p:nvSpPr>
            <p:spPr bwMode="auto">
              <a:xfrm>
                <a:off x="11329913"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2" y="23"/>
                    </a:lnTo>
                    <a:lnTo>
                      <a:pt x="0" y="19"/>
                    </a:lnTo>
                    <a:lnTo>
                      <a:pt x="0" y="14"/>
                    </a:lnTo>
                    <a:lnTo>
                      <a:pt x="0" y="10"/>
                    </a:lnTo>
                    <a:lnTo>
                      <a:pt x="2" y="5"/>
                    </a:lnTo>
                    <a:lnTo>
                      <a:pt x="6" y="2"/>
                    </a:lnTo>
                    <a:lnTo>
                      <a:pt x="10" y="0"/>
                    </a:lnTo>
                    <a:lnTo>
                      <a:pt x="15" y="0"/>
                    </a:lnTo>
                    <a:close/>
                  </a:path>
                </a:pathLst>
              </a:custGeom>
              <a:solidFill>
                <a:schemeClr val="accent5"/>
              </a:solidFill>
              <a:ln>
                <a:noFill/>
              </a:ln>
            </p:spPr>
            <p:txBody>
              <a:bodyPr/>
              <a:lstStyle/>
              <a:p>
                <a:endParaRPr lang="de-DE" dirty="0"/>
              </a:p>
            </p:txBody>
          </p:sp>
          <p:sp>
            <p:nvSpPr>
              <p:cNvPr id="1894" name="Freeform 655"/>
              <p:cNvSpPr>
                <a:spLocks/>
              </p:cNvSpPr>
              <p:nvPr/>
            </p:nvSpPr>
            <p:spPr bwMode="auto">
              <a:xfrm>
                <a:off x="11344199" y="5950553"/>
                <a:ext cx="4762" cy="4763"/>
              </a:xfrm>
              <a:custGeom>
                <a:avLst/>
                <a:gdLst>
                  <a:gd name="T0" fmla="*/ 14 w 30"/>
                  <a:gd name="T1" fmla="*/ 0 h 30"/>
                  <a:gd name="T2" fmla="*/ 20 w 30"/>
                  <a:gd name="T3" fmla="*/ 0 h 30"/>
                  <a:gd name="T4" fmla="*/ 23 w 30"/>
                  <a:gd name="T5" fmla="*/ 2 h 30"/>
                  <a:gd name="T6" fmla="*/ 26 w 30"/>
                  <a:gd name="T7" fmla="*/ 5 h 30"/>
                  <a:gd name="T8" fmla="*/ 28 w 30"/>
                  <a:gd name="T9" fmla="*/ 10 h 30"/>
                  <a:gd name="T10" fmla="*/ 30 w 30"/>
                  <a:gd name="T11" fmla="*/ 14 h 30"/>
                  <a:gd name="T12" fmla="*/ 28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0 w 30"/>
                  <a:gd name="T29" fmla="*/ 19 h 30"/>
                  <a:gd name="T30" fmla="*/ 0 w 30"/>
                  <a:gd name="T31" fmla="*/ 14 h 30"/>
                  <a:gd name="T32" fmla="*/ 0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8" y="10"/>
                    </a:lnTo>
                    <a:lnTo>
                      <a:pt x="30" y="14"/>
                    </a:lnTo>
                    <a:lnTo>
                      <a:pt x="28" y="19"/>
                    </a:lnTo>
                    <a:lnTo>
                      <a:pt x="26" y="23"/>
                    </a:lnTo>
                    <a:lnTo>
                      <a:pt x="23" y="26"/>
                    </a:lnTo>
                    <a:lnTo>
                      <a:pt x="20" y="29"/>
                    </a:lnTo>
                    <a:lnTo>
                      <a:pt x="14" y="30"/>
                    </a:lnTo>
                    <a:lnTo>
                      <a:pt x="10" y="29"/>
                    </a:lnTo>
                    <a:lnTo>
                      <a:pt x="5" y="26"/>
                    </a:lnTo>
                    <a:lnTo>
                      <a:pt x="2" y="23"/>
                    </a:lnTo>
                    <a:lnTo>
                      <a:pt x="0" y="19"/>
                    </a:lnTo>
                    <a:lnTo>
                      <a:pt x="0" y="14"/>
                    </a:lnTo>
                    <a:lnTo>
                      <a:pt x="0"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895" name="Freeform 656"/>
              <p:cNvSpPr>
                <a:spLocks/>
              </p:cNvSpPr>
              <p:nvPr/>
            </p:nvSpPr>
            <p:spPr bwMode="auto">
              <a:xfrm>
                <a:off x="11358485" y="5950553"/>
                <a:ext cx="4762" cy="4763"/>
              </a:xfrm>
              <a:custGeom>
                <a:avLst/>
                <a:gdLst>
                  <a:gd name="T0" fmla="*/ 16 w 30"/>
                  <a:gd name="T1" fmla="*/ 0 h 30"/>
                  <a:gd name="T2" fmla="*/ 20 w 30"/>
                  <a:gd name="T3" fmla="*/ 0 h 30"/>
                  <a:gd name="T4" fmla="*/ 23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3 w 30"/>
                  <a:gd name="T17" fmla="*/ 26 h 30"/>
                  <a:gd name="T18" fmla="*/ 20 w 30"/>
                  <a:gd name="T19" fmla="*/ 29 h 30"/>
                  <a:gd name="T20" fmla="*/ 16 w 30"/>
                  <a:gd name="T21" fmla="*/ 30 h 30"/>
                  <a:gd name="T22" fmla="*/ 10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3" y="2"/>
                    </a:lnTo>
                    <a:lnTo>
                      <a:pt x="27" y="5"/>
                    </a:lnTo>
                    <a:lnTo>
                      <a:pt x="29" y="10"/>
                    </a:lnTo>
                    <a:lnTo>
                      <a:pt x="30" y="14"/>
                    </a:lnTo>
                    <a:lnTo>
                      <a:pt x="29" y="19"/>
                    </a:lnTo>
                    <a:lnTo>
                      <a:pt x="27" y="23"/>
                    </a:lnTo>
                    <a:lnTo>
                      <a:pt x="23" y="26"/>
                    </a:lnTo>
                    <a:lnTo>
                      <a:pt x="20" y="29"/>
                    </a:lnTo>
                    <a:lnTo>
                      <a:pt x="16" y="30"/>
                    </a:lnTo>
                    <a:lnTo>
                      <a:pt x="10" y="29"/>
                    </a:lnTo>
                    <a:lnTo>
                      <a:pt x="7" y="26"/>
                    </a:lnTo>
                    <a:lnTo>
                      <a:pt x="3" y="23"/>
                    </a:lnTo>
                    <a:lnTo>
                      <a:pt x="1" y="19"/>
                    </a:lnTo>
                    <a:lnTo>
                      <a:pt x="0" y="14"/>
                    </a:lnTo>
                    <a:lnTo>
                      <a:pt x="1" y="10"/>
                    </a:lnTo>
                    <a:lnTo>
                      <a:pt x="3" y="5"/>
                    </a:lnTo>
                    <a:lnTo>
                      <a:pt x="7" y="2"/>
                    </a:lnTo>
                    <a:lnTo>
                      <a:pt x="10" y="0"/>
                    </a:lnTo>
                    <a:lnTo>
                      <a:pt x="16" y="0"/>
                    </a:lnTo>
                    <a:close/>
                  </a:path>
                </a:pathLst>
              </a:custGeom>
              <a:solidFill>
                <a:schemeClr val="accent5"/>
              </a:solidFill>
              <a:ln>
                <a:noFill/>
              </a:ln>
            </p:spPr>
            <p:txBody>
              <a:bodyPr/>
              <a:lstStyle/>
              <a:p>
                <a:endParaRPr lang="de-DE" dirty="0"/>
              </a:p>
            </p:txBody>
          </p:sp>
          <p:sp>
            <p:nvSpPr>
              <p:cNvPr id="1896" name="Freeform 657"/>
              <p:cNvSpPr>
                <a:spLocks/>
              </p:cNvSpPr>
              <p:nvPr/>
            </p:nvSpPr>
            <p:spPr bwMode="auto">
              <a:xfrm>
                <a:off x="11371184" y="5950553"/>
                <a:ext cx="4762" cy="4763"/>
              </a:xfrm>
              <a:custGeom>
                <a:avLst/>
                <a:gdLst>
                  <a:gd name="T0" fmla="*/ 15 w 29"/>
                  <a:gd name="T1" fmla="*/ 0 h 30"/>
                  <a:gd name="T2" fmla="*/ 19 w 29"/>
                  <a:gd name="T3" fmla="*/ 0 h 30"/>
                  <a:gd name="T4" fmla="*/ 24 w 29"/>
                  <a:gd name="T5" fmla="*/ 2 h 30"/>
                  <a:gd name="T6" fmla="*/ 27 w 29"/>
                  <a:gd name="T7" fmla="*/ 5 h 30"/>
                  <a:gd name="T8" fmla="*/ 28 w 29"/>
                  <a:gd name="T9" fmla="*/ 10 h 30"/>
                  <a:gd name="T10" fmla="*/ 29 w 29"/>
                  <a:gd name="T11" fmla="*/ 14 h 30"/>
                  <a:gd name="T12" fmla="*/ 28 w 29"/>
                  <a:gd name="T13" fmla="*/ 19 h 30"/>
                  <a:gd name="T14" fmla="*/ 27 w 29"/>
                  <a:gd name="T15" fmla="*/ 23 h 30"/>
                  <a:gd name="T16" fmla="*/ 24 w 29"/>
                  <a:gd name="T17" fmla="*/ 26 h 30"/>
                  <a:gd name="T18" fmla="*/ 19 w 29"/>
                  <a:gd name="T19" fmla="*/ 29 h 30"/>
                  <a:gd name="T20" fmla="*/ 15 w 29"/>
                  <a:gd name="T21" fmla="*/ 30 h 30"/>
                  <a:gd name="T22" fmla="*/ 9 w 29"/>
                  <a:gd name="T23" fmla="*/ 29 h 30"/>
                  <a:gd name="T24" fmla="*/ 6 w 29"/>
                  <a:gd name="T25" fmla="*/ 26 h 30"/>
                  <a:gd name="T26" fmla="*/ 3 w 29"/>
                  <a:gd name="T27" fmla="*/ 23 h 30"/>
                  <a:gd name="T28" fmla="*/ 1 w 29"/>
                  <a:gd name="T29" fmla="*/ 19 h 30"/>
                  <a:gd name="T30" fmla="*/ 0 w 29"/>
                  <a:gd name="T31" fmla="*/ 14 h 30"/>
                  <a:gd name="T32" fmla="*/ 1 w 29"/>
                  <a:gd name="T33" fmla="*/ 10 h 30"/>
                  <a:gd name="T34" fmla="*/ 3 w 29"/>
                  <a:gd name="T35" fmla="*/ 5 h 30"/>
                  <a:gd name="T36" fmla="*/ 6 w 29"/>
                  <a:gd name="T37" fmla="*/ 2 h 30"/>
                  <a:gd name="T38" fmla="*/ 9 w 29"/>
                  <a:gd name="T39" fmla="*/ 0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0"/>
                    </a:lnTo>
                    <a:lnTo>
                      <a:pt x="24" y="2"/>
                    </a:lnTo>
                    <a:lnTo>
                      <a:pt x="27" y="5"/>
                    </a:lnTo>
                    <a:lnTo>
                      <a:pt x="28" y="10"/>
                    </a:lnTo>
                    <a:lnTo>
                      <a:pt x="29" y="14"/>
                    </a:lnTo>
                    <a:lnTo>
                      <a:pt x="28" y="19"/>
                    </a:lnTo>
                    <a:lnTo>
                      <a:pt x="27" y="23"/>
                    </a:lnTo>
                    <a:lnTo>
                      <a:pt x="24" y="26"/>
                    </a:lnTo>
                    <a:lnTo>
                      <a:pt x="19" y="29"/>
                    </a:lnTo>
                    <a:lnTo>
                      <a:pt x="15" y="30"/>
                    </a:lnTo>
                    <a:lnTo>
                      <a:pt x="9" y="29"/>
                    </a:lnTo>
                    <a:lnTo>
                      <a:pt x="6" y="26"/>
                    </a:lnTo>
                    <a:lnTo>
                      <a:pt x="3" y="23"/>
                    </a:lnTo>
                    <a:lnTo>
                      <a:pt x="1" y="19"/>
                    </a:lnTo>
                    <a:lnTo>
                      <a:pt x="0" y="14"/>
                    </a:lnTo>
                    <a:lnTo>
                      <a:pt x="1" y="10"/>
                    </a:lnTo>
                    <a:lnTo>
                      <a:pt x="3" y="5"/>
                    </a:lnTo>
                    <a:lnTo>
                      <a:pt x="6" y="2"/>
                    </a:lnTo>
                    <a:lnTo>
                      <a:pt x="9" y="0"/>
                    </a:lnTo>
                    <a:lnTo>
                      <a:pt x="15" y="0"/>
                    </a:lnTo>
                    <a:close/>
                  </a:path>
                </a:pathLst>
              </a:custGeom>
              <a:solidFill>
                <a:schemeClr val="accent5"/>
              </a:solidFill>
              <a:ln>
                <a:noFill/>
              </a:ln>
            </p:spPr>
            <p:txBody>
              <a:bodyPr/>
              <a:lstStyle/>
              <a:p>
                <a:endParaRPr lang="de-DE" dirty="0"/>
              </a:p>
            </p:txBody>
          </p:sp>
          <p:sp>
            <p:nvSpPr>
              <p:cNvPr id="1897" name="Freeform 658"/>
              <p:cNvSpPr>
                <a:spLocks/>
              </p:cNvSpPr>
              <p:nvPr/>
            </p:nvSpPr>
            <p:spPr bwMode="auto">
              <a:xfrm>
                <a:off x="11385470" y="5950553"/>
                <a:ext cx="4762" cy="4763"/>
              </a:xfrm>
              <a:custGeom>
                <a:avLst/>
                <a:gdLst>
                  <a:gd name="T0" fmla="*/ 15 w 30"/>
                  <a:gd name="T1" fmla="*/ 0 h 30"/>
                  <a:gd name="T2" fmla="*/ 20 w 30"/>
                  <a:gd name="T3" fmla="*/ 0 h 30"/>
                  <a:gd name="T4" fmla="*/ 24 w 30"/>
                  <a:gd name="T5" fmla="*/ 2 h 30"/>
                  <a:gd name="T6" fmla="*/ 28 w 30"/>
                  <a:gd name="T7" fmla="*/ 5 h 30"/>
                  <a:gd name="T8" fmla="*/ 30 w 30"/>
                  <a:gd name="T9" fmla="*/ 10 h 30"/>
                  <a:gd name="T10" fmla="*/ 30 w 30"/>
                  <a:gd name="T11" fmla="*/ 14 h 30"/>
                  <a:gd name="T12" fmla="*/ 30 w 30"/>
                  <a:gd name="T13" fmla="*/ 19 h 30"/>
                  <a:gd name="T14" fmla="*/ 28 w 30"/>
                  <a:gd name="T15" fmla="*/ 23 h 30"/>
                  <a:gd name="T16" fmla="*/ 24 w 30"/>
                  <a:gd name="T17" fmla="*/ 26 h 30"/>
                  <a:gd name="T18" fmla="*/ 20 w 30"/>
                  <a:gd name="T19" fmla="*/ 29 h 30"/>
                  <a:gd name="T20" fmla="*/ 15 w 30"/>
                  <a:gd name="T21" fmla="*/ 30 h 30"/>
                  <a:gd name="T22" fmla="*/ 11 w 30"/>
                  <a:gd name="T23" fmla="*/ 29 h 30"/>
                  <a:gd name="T24" fmla="*/ 7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7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8" y="5"/>
                    </a:lnTo>
                    <a:lnTo>
                      <a:pt x="30" y="10"/>
                    </a:lnTo>
                    <a:lnTo>
                      <a:pt x="30" y="14"/>
                    </a:lnTo>
                    <a:lnTo>
                      <a:pt x="30" y="19"/>
                    </a:lnTo>
                    <a:lnTo>
                      <a:pt x="28" y="23"/>
                    </a:lnTo>
                    <a:lnTo>
                      <a:pt x="24" y="26"/>
                    </a:lnTo>
                    <a:lnTo>
                      <a:pt x="20" y="29"/>
                    </a:lnTo>
                    <a:lnTo>
                      <a:pt x="15" y="30"/>
                    </a:lnTo>
                    <a:lnTo>
                      <a:pt x="11" y="29"/>
                    </a:lnTo>
                    <a:lnTo>
                      <a:pt x="7" y="26"/>
                    </a:lnTo>
                    <a:lnTo>
                      <a:pt x="3" y="23"/>
                    </a:lnTo>
                    <a:lnTo>
                      <a:pt x="1" y="19"/>
                    </a:lnTo>
                    <a:lnTo>
                      <a:pt x="0" y="14"/>
                    </a:lnTo>
                    <a:lnTo>
                      <a:pt x="1" y="10"/>
                    </a:lnTo>
                    <a:lnTo>
                      <a:pt x="3" y="5"/>
                    </a:lnTo>
                    <a:lnTo>
                      <a:pt x="7" y="2"/>
                    </a:lnTo>
                    <a:lnTo>
                      <a:pt x="11" y="0"/>
                    </a:lnTo>
                    <a:lnTo>
                      <a:pt x="15" y="0"/>
                    </a:lnTo>
                    <a:close/>
                  </a:path>
                </a:pathLst>
              </a:custGeom>
              <a:solidFill>
                <a:schemeClr val="accent5"/>
              </a:solidFill>
              <a:ln>
                <a:noFill/>
              </a:ln>
            </p:spPr>
            <p:txBody>
              <a:bodyPr/>
              <a:lstStyle/>
              <a:p>
                <a:endParaRPr lang="de-DE" dirty="0"/>
              </a:p>
            </p:txBody>
          </p:sp>
          <p:sp>
            <p:nvSpPr>
              <p:cNvPr id="1898" name="Freeform 659"/>
              <p:cNvSpPr>
                <a:spLocks/>
              </p:cNvSpPr>
              <p:nvPr/>
            </p:nvSpPr>
            <p:spPr bwMode="auto">
              <a:xfrm>
                <a:off x="11399756" y="5950553"/>
                <a:ext cx="4762" cy="4763"/>
              </a:xfrm>
              <a:custGeom>
                <a:avLst/>
                <a:gdLst>
                  <a:gd name="T0" fmla="*/ 15 w 30"/>
                  <a:gd name="T1" fmla="*/ 0 h 30"/>
                  <a:gd name="T2" fmla="*/ 19 w 30"/>
                  <a:gd name="T3" fmla="*/ 0 h 30"/>
                  <a:gd name="T4" fmla="*/ 24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4 w 30"/>
                  <a:gd name="T17" fmla="*/ 26 h 30"/>
                  <a:gd name="T18" fmla="*/ 19 w 30"/>
                  <a:gd name="T19" fmla="*/ 29 h 30"/>
                  <a:gd name="T20" fmla="*/ 15 w 30"/>
                  <a:gd name="T21" fmla="*/ 30 h 30"/>
                  <a:gd name="T22" fmla="*/ 10 w 30"/>
                  <a:gd name="T23" fmla="*/ 29 h 30"/>
                  <a:gd name="T24" fmla="*/ 6 w 30"/>
                  <a:gd name="T25" fmla="*/ 26 h 30"/>
                  <a:gd name="T26" fmla="*/ 3 w 30"/>
                  <a:gd name="T27" fmla="*/ 23 h 30"/>
                  <a:gd name="T28" fmla="*/ 0 w 30"/>
                  <a:gd name="T29" fmla="*/ 19 h 30"/>
                  <a:gd name="T30" fmla="*/ 0 w 30"/>
                  <a:gd name="T31" fmla="*/ 14 h 30"/>
                  <a:gd name="T32" fmla="*/ 0 w 30"/>
                  <a:gd name="T33" fmla="*/ 10 h 30"/>
                  <a:gd name="T34" fmla="*/ 3 w 30"/>
                  <a:gd name="T35" fmla="*/ 5 h 30"/>
                  <a:gd name="T36" fmla="*/ 6 w 30"/>
                  <a:gd name="T37" fmla="*/ 2 h 30"/>
                  <a:gd name="T38" fmla="*/ 10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0"/>
                    </a:lnTo>
                    <a:lnTo>
                      <a:pt x="24" y="2"/>
                    </a:lnTo>
                    <a:lnTo>
                      <a:pt x="27" y="5"/>
                    </a:lnTo>
                    <a:lnTo>
                      <a:pt x="29" y="10"/>
                    </a:lnTo>
                    <a:lnTo>
                      <a:pt x="30" y="14"/>
                    </a:lnTo>
                    <a:lnTo>
                      <a:pt x="29" y="19"/>
                    </a:lnTo>
                    <a:lnTo>
                      <a:pt x="27" y="23"/>
                    </a:lnTo>
                    <a:lnTo>
                      <a:pt x="24" y="26"/>
                    </a:lnTo>
                    <a:lnTo>
                      <a:pt x="19" y="29"/>
                    </a:lnTo>
                    <a:lnTo>
                      <a:pt x="15" y="30"/>
                    </a:lnTo>
                    <a:lnTo>
                      <a:pt x="10" y="29"/>
                    </a:lnTo>
                    <a:lnTo>
                      <a:pt x="6" y="26"/>
                    </a:lnTo>
                    <a:lnTo>
                      <a:pt x="3" y="23"/>
                    </a:lnTo>
                    <a:lnTo>
                      <a:pt x="0" y="19"/>
                    </a:lnTo>
                    <a:lnTo>
                      <a:pt x="0" y="14"/>
                    </a:lnTo>
                    <a:lnTo>
                      <a:pt x="0" y="10"/>
                    </a:lnTo>
                    <a:lnTo>
                      <a:pt x="3" y="5"/>
                    </a:lnTo>
                    <a:lnTo>
                      <a:pt x="6" y="2"/>
                    </a:lnTo>
                    <a:lnTo>
                      <a:pt x="10" y="0"/>
                    </a:lnTo>
                    <a:lnTo>
                      <a:pt x="15" y="0"/>
                    </a:lnTo>
                    <a:close/>
                  </a:path>
                </a:pathLst>
              </a:custGeom>
              <a:solidFill>
                <a:schemeClr val="accent5"/>
              </a:solidFill>
              <a:ln>
                <a:noFill/>
              </a:ln>
            </p:spPr>
            <p:txBody>
              <a:bodyPr/>
              <a:lstStyle/>
              <a:p>
                <a:endParaRPr lang="de-DE" dirty="0"/>
              </a:p>
            </p:txBody>
          </p:sp>
          <p:sp>
            <p:nvSpPr>
              <p:cNvPr id="1899" name="Freeform 660"/>
              <p:cNvSpPr>
                <a:spLocks/>
              </p:cNvSpPr>
              <p:nvPr/>
            </p:nvSpPr>
            <p:spPr bwMode="auto">
              <a:xfrm>
                <a:off x="11414042" y="5950553"/>
                <a:ext cx="4762" cy="4763"/>
              </a:xfrm>
              <a:custGeom>
                <a:avLst/>
                <a:gdLst>
                  <a:gd name="T0" fmla="*/ 14 w 30"/>
                  <a:gd name="T1" fmla="*/ 0 h 30"/>
                  <a:gd name="T2" fmla="*/ 20 w 30"/>
                  <a:gd name="T3" fmla="*/ 0 h 30"/>
                  <a:gd name="T4" fmla="*/ 23 w 30"/>
                  <a:gd name="T5" fmla="*/ 2 h 30"/>
                  <a:gd name="T6" fmla="*/ 26 w 30"/>
                  <a:gd name="T7" fmla="*/ 5 h 30"/>
                  <a:gd name="T8" fmla="*/ 29 w 30"/>
                  <a:gd name="T9" fmla="*/ 10 h 30"/>
                  <a:gd name="T10" fmla="*/ 30 w 30"/>
                  <a:gd name="T11" fmla="*/ 14 h 30"/>
                  <a:gd name="T12" fmla="*/ 29 w 30"/>
                  <a:gd name="T13" fmla="*/ 19 h 30"/>
                  <a:gd name="T14" fmla="*/ 26 w 30"/>
                  <a:gd name="T15" fmla="*/ 23 h 30"/>
                  <a:gd name="T16" fmla="*/ 23 w 30"/>
                  <a:gd name="T17" fmla="*/ 26 h 30"/>
                  <a:gd name="T18" fmla="*/ 20 w 30"/>
                  <a:gd name="T19" fmla="*/ 29 h 30"/>
                  <a:gd name="T20" fmla="*/ 14 w 30"/>
                  <a:gd name="T21" fmla="*/ 30 h 30"/>
                  <a:gd name="T22" fmla="*/ 10 w 30"/>
                  <a:gd name="T23" fmla="*/ 29 h 30"/>
                  <a:gd name="T24" fmla="*/ 5 w 30"/>
                  <a:gd name="T25" fmla="*/ 26 h 30"/>
                  <a:gd name="T26" fmla="*/ 2 w 30"/>
                  <a:gd name="T27" fmla="*/ 23 h 30"/>
                  <a:gd name="T28" fmla="*/ 1 w 30"/>
                  <a:gd name="T29" fmla="*/ 19 h 30"/>
                  <a:gd name="T30" fmla="*/ 0 w 30"/>
                  <a:gd name="T31" fmla="*/ 14 h 30"/>
                  <a:gd name="T32" fmla="*/ 1 w 30"/>
                  <a:gd name="T33" fmla="*/ 10 h 30"/>
                  <a:gd name="T34" fmla="*/ 2 w 30"/>
                  <a:gd name="T35" fmla="*/ 5 h 30"/>
                  <a:gd name="T36" fmla="*/ 5 w 30"/>
                  <a:gd name="T37" fmla="*/ 2 h 30"/>
                  <a:gd name="T38" fmla="*/ 10 w 30"/>
                  <a:gd name="T39" fmla="*/ 0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0"/>
                    </a:lnTo>
                    <a:lnTo>
                      <a:pt x="23" y="2"/>
                    </a:lnTo>
                    <a:lnTo>
                      <a:pt x="26" y="5"/>
                    </a:lnTo>
                    <a:lnTo>
                      <a:pt x="29" y="10"/>
                    </a:lnTo>
                    <a:lnTo>
                      <a:pt x="30" y="14"/>
                    </a:lnTo>
                    <a:lnTo>
                      <a:pt x="29" y="19"/>
                    </a:lnTo>
                    <a:lnTo>
                      <a:pt x="26" y="23"/>
                    </a:lnTo>
                    <a:lnTo>
                      <a:pt x="23" y="26"/>
                    </a:lnTo>
                    <a:lnTo>
                      <a:pt x="20" y="29"/>
                    </a:lnTo>
                    <a:lnTo>
                      <a:pt x="14" y="30"/>
                    </a:lnTo>
                    <a:lnTo>
                      <a:pt x="10" y="29"/>
                    </a:lnTo>
                    <a:lnTo>
                      <a:pt x="5" y="26"/>
                    </a:lnTo>
                    <a:lnTo>
                      <a:pt x="2" y="23"/>
                    </a:lnTo>
                    <a:lnTo>
                      <a:pt x="1" y="19"/>
                    </a:lnTo>
                    <a:lnTo>
                      <a:pt x="0" y="14"/>
                    </a:lnTo>
                    <a:lnTo>
                      <a:pt x="1" y="10"/>
                    </a:lnTo>
                    <a:lnTo>
                      <a:pt x="2" y="5"/>
                    </a:lnTo>
                    <a:lnTo>
                      <a:pt x="5" y="2"/>
                    </a:lnTo>
                    <a:lnTo>
                      <a:pt x="10" y="0"/>
                    </a:lnTo>
                    <a:lnTo>
                      <a:pt x="14" y="0"/>
                    </a:lnTo>
                    <a:close/>
                  </a:path>
                </a:pathLst>
              </a:custGeom>
              <a:solidFill>
                <a:schemeClr val="accent5"/>
              </a:solidFill>
              <a:ln>
                <a:noFill/>
              </a:ln>
            </p:spPr>
            <p:txBody>
              <a:bodyPr/>
              <a:lstStyle/>
              <a:p>
                <a:endParaRPr lang="de-DE" dirty="0"/>
              </a:p>
            </p:txBody>
          </p:sp>
          <p:sp>
            <p:nvSpPr>
              <p:cNvPr id="1900" name="Freeform 661"/>
              <p:cNvSpPr>
                <a:spLocks/>
              </p:cNvSpPr>
              <p:nvPr/>
            </p:nvSpPr>
            <p:spPr bwMode="auto">
              <a:xfrm>
                <a:off x="11428328" y="5950553"/>
                <a:ext cx="4762" cy="4763"/>
              </a:xfrm>
              <a:custGeom>
                <a:avLst/>
                <a:gdLst>
                  <a:gd name="T0" fmla="*/ 16 w 30"/>
                  <a:gd name="T1" fmla="*/ 0 h 30"/>
                  <a:gd name="T2" fmla="*/ 20 w 30"/>
                  <a:gd name="T3" fmla="*/ 0 h 30"/>
                  <a:gd name="T4" fmla="*/ 25 w 30"/>
                  <a:gd name="T5" fmla="*/ 2 h 30"/>
                  <a:gd name="T6" fmla="*/ 27 w 30"/>
                  <a:gd name="T7" fmla="*/ 5 h 30"/>
                  <a:gd name="T8" fmla="*/ 29 w 30"/>
                  <a:gd name="T9" fmla="*/ 10 h 30"/>
                  <a:gd name="T10" fmla="*/ 30 w 30"/>
                  <a:gd name="T11" fmla="*/ 14 h 30"/>
                  <a:gd name="T12" fmla="*/ 29 w 30"/>
                  <a:gd name="T13" fmla="*/ 19 h 30"/>
                  <a:gd name="T14" fmla="*/ 27 w 30"/>
                  <a:gd name="T15" fmla="*/ 23 h 30"/>
                  <a:gd name="T16" fmla="*/ 25 w 30"/>
                  <a:gd name="T17" fmla="*/ 26 h 30"/>
                  <a:gd name="T18" fmla="*/ 20 w 30"/>
                  <a:gd name="T19" fmla="*/ 29 h 30"/>
                  <a:gd name="T20" fmla="*/ 16 w 30"/>
                  <a:gd name="T21" fmla="*/ 30 h 30"/>
                  <a:gd name="T22" fmla="*/ 10 w 30"/>
                  <a:gd name="T23" fmla="*/ 29 h 30"/>
                  <a:gd name="T24" fmla="*/ 7 w 30"/>
                  <a:gd name="T25" fmla="*/ 26 h 30"/>
                  <a:gd name="T26" fmla="*/ 4 w 30"/>
                  <a:gd name="T27" fmla="*/ 23 h 30"/>
                  <a:gd name="T28" fmla="*/ 1 w 30"/>
                  <a:gd name="T29" fmla="*/ 19 h 30"/>
                  <a:gd name="T30" fmla="*/ 0 w 30"/>
                  <a:gd name="T31" fmla="*/ 14 h 30"/>
                  <a:gd name="T32" fmla="*/ 1 w 30"/>
                  <a:gd name="T33" fmla="*/ 10 h 30"/>
                  <a:gd name="T34" fmla="*/ 4 w 30"/>
                  <a:gd name="T35" fmla="*/ 5 h 30"/>
                  <a:gd name="T36" fmla="*/ 7 w 30"/>
                  <a:gd name="T37" fmla="*/ 2 h 30"/>
                  <a:gd name="T38" fmla="*/ 10 w 30"/>
                  <a:gd name="T39" fmla="*/ 0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0"/>
                    </a:lnTo>
                    <a:lnTo>
                      <a:pt x="25" y="2"/>
                    </a:lnTo>
                    <a:lnTo>
                      <a:pt x="27" y="5"/>
                    </a:lnTo>
                    <a:lnTo>
                      <a:pt x="29" y="10"/>
                    </a:lnTo>
                    <a:lnTo>
                      <a:pt x="30" y="14"/>
                    </a:lnTo>
                    <a:lnTo>
                      <a:pt x="29" y="19"/>
                    </a:lnTo>
                    <a:lnTo>
                      <a:pt x="27" y="23"/>
                    </a:lnTo>
                    <a:lnTo>
                      <a:pt x="25" y="26"/>
                    </a:lnTo>
                    <a:lnTo>
                      <a:pt x="20" y="29"/>
                    </a:lnTo>
                    <a:lnTo>
                      <a:pt x="16" y="30"/>
                    </a:lnTo>
                    <a:lnTo>
                      <a:pt x="10" y="29"/>
                    </a:lnTo>
                    <a:lnTo>
                      <a:pt x="7" y="26"/>
                    </a:lnTo>
                    <a:lnTo>
                      <a:pt x="4" y="23"/>
                    </a:lnTo>
                    <a:lnTo>
                      <a:pt x="1" y="19"/>
                    </a:lnTo>
                    <a:lnTo>
                      <a:pt x="0" y="14"/>
                    </a:lnTo>
                    <a:lnTo>
                      <a:pt x="1" y="10"/>
                    </a:lnTo>
                    <a:lnTo>
                      <a:pt x="4" y="5"/>
                    </a:lnTo>
                    <a:lnTo>
                      <a:pt x="7" y="2"/>
                    </a:lnTo>
                    <a:lnTo>
                      <a:pt x="10" y="0"/>
                    </a:lnTo>
                    <a:lnTo>
                      <a:pt x="16" y="0"/>
                    </a:lnTo>
                    <a:close/>
                  </a:path>
                </a:pathLst>
              </a:custGeom>
              <a:solidFill>
                <a:schemeClr val="accent5"/>
              </a:solidFill>
              <a:ln>
                <a:noFill/>
              </a:ln>
            </p:spPr>
            <p:txBody>
              <a:bodyPr/>
              <a:lstStyle/>
              <a:p>
                <a:endParaRPr lang="de-DE" dirty="0"/>
              </a:p>
            </p:txBody>
          </p:sp>
          <p:sp>
            <p:nvSpPr>
              <p:cNvPr id="1901" name="Freeform 662"/>
              <p:cNvSpPr>
                <a:spLocks/>
              </p:cNvSpPr>
              <p:nvPr/>
            </p:nvSpPr>
            <p:spPr bwMode="auto">
              <a:xfrm>
                <a:off x="11441027" y="5950553"/>
                <a:ext cx="4762" cy="4763"/>
              </a:xfrm>
              <a:custGeom>
                <a:avLst/>
                <a:gdLst>
                  <a:gd name="T0" fmla="*/ 15 w 30"/>
                  <a:gd name="T1" fmla="*/ 0 h 30"/>
                  <a:gd name="T2" fmla="*/ 20 w 30"/>
                  <a:gd name="T3" fmla="*/ 0 h 30"/>
                  <a:gd name="T4" fmla="*/ 24 w 30"/>
                  <a:gd name="T5" fmla="*/ 2 h 30"/>
                  <a:gd name="T6" fmla="*/ 27 w 30"/>
                  <a:gd name="T7" fmla="*/ 5 h 30"/>
                  <a:gd name="T8" fmla="*/ 30 w 30"/>
                  <a:gd name="T9" fmla="*/ 10 h 30"/>
                  <a:gd name="T10" fmla="*/ 30 w 30"/>
                  <a:gd name="T11" fmla="*/ 14 h 30"/>
                  <a:gd name="T12" fmla="*/ 30 w 30"/>
                  <a:gd name="T13" fmla="*/ 19 h 30"/>
                  <a:gd name="T14" fmla="*/ 27 w 30"/>
                  <a:gd name="T15" fmla="*/ 23 h 30"/>
                  <a:gd name="T16" fmla="*/ 24 w 30"/>
                  <a:gd name="T17" fmla="*/ 26 h 30"/>
                  <a:gd name="T18" fmla="*/ 20 w 30"/>
                  <a:gd name="T19" fmla="*/ 29 h 30"/>
                  <a:gd name="T20" fmla="*/ 15 w 30"/>
                  <a:gd name="T21" fmla="*/ 30 h 30"/>
                  <a:gd name="T22" fmla="*/ 11 w 30"/>
                  <a:gd name="T23" fmla="*/ 29 h 30"/>
                  <a:gd name="T24" fmla="*/ 6 w 30"/>
                  <a:gd name="T25" fmla="*/ 26 h 30"/>
                  <a:gd name="T26" fmla="*/ 3 w 30"/>
                  <a:gd name="T27" fmla="*/ 23 h 30"/>
                  <a:gd name="T28" fmla="*/ 1 w 30"/>
                  <a:gd name="T29" fmla="*/ 19 h 30"/>
                  <a:gd name="T30" fmla="*/ 0 w 30"/>
                  <a:gd name="T31" fmla="*/ 14 h 30"/>
                  <a:gd name="T32" fmla="*/ 1 w 30"/>
                  <a:gd name="T33" fmla="*/ 10 h 30"/>
                  <a:gd name="T34" fmla="*/ 3 w 30"/>
                  <a:gd name="T35" fmla="*/ 5 h 30"/>
                  <a:gd name="T36" fmla="*/ 6 w 30"/>
                  <a:gd name="T37" fmla="*/ 2 h 30"/>
                  <a:gd name="T38" fmla="*/ 11 w 30"/>
                  <a:gd name="T39" fmla="*/ 0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0"/>
                    </a:lnTo>
                    <a:lnTo>
                      <a:pt x="24" y="2"/>
                    </a:lnTo>
                    <a:lnTo>
                      <a:pt x="27" y="5"/>
                    </a:lnTo>
                    <a:lnTo>
                      <a:pt x="30" y="10"/>
                    </a:lnTo>
                    <a:lnTo>
                      <a:pt x="30" y="14"/>
                    </a:lnTo>
                    <a:lnTo>
                      <a:pt x="30" y="19"/>
                    </a:lnTo>
                    <a:lnTo>
                      <a:pt x="27" y="23"/>
                    </a:lnTo>
                    <a:lnTo>
                      <a:pt x="24" y="26"/>
                    </a:lnTo>
                    <a:lnTo>
                      <a:pt x="20" y="29"/>
                    </a:lnTo>
                    <a:lnTo>
                      <a:pt x="15" y="30"/>
                    </a:lnTo>
                    <a:lnTo>
                      <a:pt x="11" y="29"/>
                    </a:lnTo>
                    <a:lnTo>
                      <a:pt x="6" y="26"/>
                    </a:lnTo>
                    <a:lnTo>
                      <a:pt x="3" y="23"/>
                    </a:lnTo>
                    <a:lnTo>
                      <a:pt x="1" y="19"/>
                    </a:lnTo>
                    <a:lnTo>
                      <a:pt x="0" y="14"/>
                    </a:lnTo>
                    <a:lnTo>
                      <a:pt x="1" y="10"/>
                    </a:lnTo>
                    <a:lnTo>
                      <a:pt x="3" y="5"/>
                    </a:lnTo>
                    <a:lnTo>
                      <a:pt x="6" y="2"/>
                    </a:lnTo>
                    <a:lnTo>
                      <a:pt x="11" y="0"/>
                    </a:lnTo>
                    <a:lnTo>
                      <a:pt x="15" y="0"/>
                    </a:lnTo>
                    <a:close/>
                  </a:path>
                </a:pathLst>
              </a:custGeom>
              <a:solidFill>
                <a:schemeClr val="accent5"/>
              </a:solidFill>
              <a:ln>
                <a:noFill/>
              </a:ln>
            </p:spPr>
            <p:txBody>
              <a:bodyPr/>
              <a:lstStyle/>
              <a:p>
                <a:endParaRPr lang="de-DE" dirty="0"/>
              </a:p>
            </p:txBody>
          </p:sp>
          <p:sp>
            <p:nvSpPr>
              <p:cNvPr id="1902" name="Freeform 663"/>
              <p:cNvSpPr>
                <a:spLocks/>
              </p:cNvSpPr>
              <p:nvPr/>
            </p:nvSpPr>
            <p:spPr bwMode="auto">
              <a:xfrm>
                <a:off x="10967999"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903" name="Freeform 664"/>
              <p:cNvSpPr>
                <a:spLocks/>
              </p:cNvSpPr>
              <p:nvPr/>
            </p:nvSpPr>
            <p:spPr bwMode="auto">
              <a:xfrm>
                <a:off x="10982285"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904" name="Freeform 665"/>
              <p:cNvSpPr>
                <a:spLocks/>
              </p:cNvSpPr>
              <p:nvPr/>
            </p:nvSpPr>
            <p:spPr bwMode="auto">
              <a:xfrm>
                <a:off x="10996571" y="6004534"/>
                <a:ext cx="4762" cy="4763"/>
              </a:xfrm>
              <a:custGeom>
                <a:avLst/>
                <a:gdLst>
                  <a:gd name="T0" fmla="*/ 14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4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19" y="1"/>
                    </a:lnTo>
                    <a:lnTo>
                      <a:pt x="23" y="3"/>
                    </a:lnTo>
                    <a:lnTo>
                      <a:pt x="27" y="7"/>
                    </a:lnTo>
                    <a:lnTo>
                      <a:pt x="29" y="11"/>
                    </a:lnTo>
                    <a:lnTo>
                      <a:pt x="30" y="15"/>
                    </a:lnTo>
                    <a:lnTo>
                      <a:pt x="29" y="20"/>
                    </a:lnTo>
                    <a:lnTo>
                      <a:pt x="27" y="24"/>
                    </a:lnTo>
                    <a:lnTo>
                      <a:pt x="23" y="27"/>
                    </a:lnTo>
                    <a:lnTo>
                      <a:pt x="19" y="30"/>
                    </a:lnTo>
                    <a:lnTo>
                      <a:pt x="14" y="30"/>
                    </a:lnTo>
                    <a:lnTo>
                      <a:pt x="10" y="30"/>
                    </a:lnTo>
                    <a:lnTo>
                      <a:pt x="6" y="27"/>
                    </a:lnTo>
                    <a:lnTo>
                      <a:pt x="2" y="24"/>
                    </a:lnTo>
                    <a:lnTo>
                      <a:pt x="0" y="20"/>
                    </a:lnTo>
                    <a:lnTo>
                      <a:pt x="0" y="15"/>
                    </a:lnTo>
                    <a:lnTo>
                      <a:pt x="0" y="11"/>
                    </a:lnTo>
                    <a:lnTo>
                      <a:pt x="2" y="7"/>
                    </a:lnTo>
                    <a:lnTo>
                      <a:pt x="6" y="3"/>
                    </a:lnTo>
                    <a:lnTo>
                      <a:pt x="10" y="1"/>
                    </a:lnTo>
                    <a:lnTo>
                      <a:pt x="14" y="0"/>
                    </a:lnTo>
                    <a:close/>
                  </a:path>
                </a:pathLst>
              </a:custGeom>
              <a:solidFill>
                <a:schemeClr val="accent5"/>
              </a:solidFill>
              <a:ln>
                <a:noFill/>
              </a:ln>
            </p:spPr>
            <p:txBody>
              <a:bodyPr/>
              <a:lstStyle/>
              <a:p>
                <a:endParaRPr lang="de-DE" dirty="0"/>
              </a:p>
            </p:txBody>
          </p:sp>
          <p:sp>
            <p:nvSpPr>
              <p:cNvPr id="1905" name="Freeform 666"/>
              <p:cNvSpPr>
                <a:spLocks/>
              </p:cNvSpPr>
              <p:nvPr/>
            </p:nvSpPr>
            <p:spPr bwMode="auto">
              <a:xfrm>
                <a:off x="11010857" y="6004534"/>
                <a:ext cx="4762" cy="4763"/>
              </a:xfrm>
              <a:custGeom>
                <a:avLst/>
                <a:gdLst>
                  <a:gd name="T0" fmla="*/ 15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29" y="11"/>
                    </a:lnTo>
                    <a:lnTo>
                      <a:pt x="30" y="15"/>
                    </a:lnTo>
                    <a:lnTo>
                      <a:pt x="29" y="20"/>
                    </a:lnTo>
                    <a:lnTo>
                      <a:pt x="27" y="24"/>
                    </a:lnTo>
                    <a:lnTo>
                      <a:pt x="24" y="27"/>
                    </a:lnTo>
                    <a:lnTo>
                      <a:pt x="20"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906" name="Freeform 667"/>
              <p:cNvSpPr>
                <a:spLocks/>
              </p:cNvSpPr>
              <p:nvPr/>
            </p:nvSpPr>
            <p:spPr bwMode="auto">
              <a:xfrm>
                <a:off x="11023556"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907" name="Freeform 668"/>
              <p:cNvSpPr>
                <a:spLocks/>
              </p:cNvSpPr>
              <p:nvPr/>
            </p:nvSpPr>
            <p:spPr bwMode="auto">
              <a:xfrm>
                <a:off x="11037842"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908" name="Freeform 669"/>
              <p:cNvSpPr>
                <a:spLocks/>
              </p:cNvSpPr>
              <p:nvPr/>
            </p:nvSpPr>
            <p:spPr bwMode="auto">
              <a:xfrm>
                <a:off x="11052128"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909" name="Freeform 670"/>
              <p:cNvSpPr>
                <a:spLocks/>
              </p:cNvSpPr>
              <p:nvPr/>
            </p:nvSpPr>
            <p:spPr bwMode="auto">
              <a:xfrm>
                <a:off x="11066414" y="6004534"/>
                <a:ext cx="4762" cy="4763"/>
              </a:xfrm>
              <a:custGeom>
                <a:avLst/>
                <a:gdLst>
                  <a:gd name="T0" fmla="*/ 15 w 30"/>
                  <a:gd name="T1" fmla="*/ 0 h 30"/>
                  <a:gd name="T2" fmla="*/ 19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3" y="3"/>
                    </a:lnTo>
                    <a:lnTo>
                      <a:pt x="27" y="7"/>
                    </a:lnTo>
                    <a:lnTo>
                      <a:pt x="29" y="11"/>
                    </a:lnTo>
                    <a:lnTo>
                      <a:pt x="30"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910" name="Freeform 671"/>
              <p:cNvSpPr>
                <a:spLocks/>
              </p:cNvSpPr>
              <p:nvPr/>
            </p:nvSpPr>
            <p:spPr bwMode="auto">
              <a:xfrm>
                <a:off x="11079113"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911" name="Freeform 672"/>
              <p:cNvSpPr>
                <a:spLocks/>
              </p:cNvSpPr>
              <p:nvPr/>
            </p:nvSpPr>
            <p:spPr bwMode="auto">
              <a:xfrm>
                <a:off x="11093399"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912" name="Freeform 673"/>
              <p:cNvSpPr>
                <a:spLocks/>
              </p:cNvSpPr>
              <p:nvPr/>
            </p:nvSpPr>
            <p:spPr bwMode="auto">
              <a:xfrm>
                <a:off x="11107685" y="6004534"/>
                <a:ext cx="4762" cy="4763"/>
              </a:xfrm>
              <a:custGeom>
                <a:avLst/>
                <a:gdLst>
                  <a:gd name="T0" fmla="*/ 16 w 30"/>
                  <a:gd name="T1" fmla="*/ 0 h 30"/>
                  <a:gd name="T2" fmla="*/ 20 w 30"/>
                  <a:gd name="T3" fmla="*/ 1 h 30"/>
                  <a:gd name="T4" fmla="*/ 25 w 30"/>
                  <a:gd name="T5" fmla="*/ 3 h 30"/>
                  <a:gd name="T6" fmla="*/ 28 w 30"/>
                  <a:gd name="T7" fmla="*/ 7 h 30"/>
                  <a:gd name="T8" fmla="*/ 29 w 30"/>
                  <a:gd name="T9" fmla="*/ 11 h 30"/>
                  <a:gd name="T10" fmla="*/ 30 w 30"/>
                  <a:gd name="T11" fmla="*/ 15 h 30"/>
                  <a:gd name="T12" fmla="*/ 29 w 30"/>
                  <a:gd name="T13" fmla="*/ 20 h 30"/>
                  <a:gd name="T14" fmla="*/ 28 w 30"/>
                  <a:gd name="T15" fmla="*/ 24 h 30"/>
                  <a:gd name="T16" fmla="*/ 25 w 30"/>
                  <a:gd name="T17" fmla="*/ 27 h 30"/>
                  <a:gd name="T18" fmla="*/ 20 w 30"/>
                  <a:gd name="T19" fmla="*/ 30 h 30"/>
                  <a:gd name="T20" fmla="*/ 16 w 30"/>
                  <a:gd name="T21" fmla="*/ 30 h 30"/>
                  <a:gd name="T22" fmla="*/ 11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1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8" y="7"/>
                    </a:lnTo>
                    <a:lnTo>
                      <a:pt x="29" y="11"/>
                    </a:lnTo>
                    <a:lnTo>
                      <a:pt x="30" y="15"/>
                    </a:lnTo>
                    <a:lnTo>
                      <a:pt x="29" y="20"/>
                    </a:lnTo>
                    <a:lnTo>
                      <a:pt x="28" y="24"/>
                    </a:lnTo>
                    <a:lnTo>
                      <a:pt x="25" y="27"/>
                    </a:lnTo>
                    <a:lnTo>
                      <a:pt x="20" y="30"/>
                    </a:lnTo>
                    <a:lnTo>
                      <a:pt x="16" y="30"/>
                    </a:lnTo>
                    <a:lnTo>
                      <a:pt x="11" y="30"/>
                    </a:lnTo>
                    <a:lnTo>
                      <a:pt x="7" y="27"/>
                    </a:lnTo>
                    <a:lnTo>
                      <a:pt x="4" y="24"/>
                    </a:lnTo>
                    <a:lnTo>
                      <a:pt x="1" y="20"/>
                    </a:lnTo>
                    <a:lnTo>
                      <a:pt x="0" y="15"/>
                    </a:lnTo>
                    <a:lnTo>
                      <a:pt x="1" y="11"/>
                    </a:lnTo>
                    <a:lnTo>
                      <a:pt x="4" y="7"/>
                    </a:lnTo>
                    <a:lnTo>
                      <a:pt x="7" y="3"/>
                    </a:lnTo>
                    <a:lnTo>
                      <a:pt x="11" y="1"/>
                    </a:lnTo>
                    <a:lnTo>
                      <a:pt x="16" y="0"/>
                    </a:lnTo>
                    <a:close/>
                  </a:path>
                </a:pathLst>
              </a:custGeom>
              <a:solidFill>
                <a:schemeClr val="accent5"/>
              </a:solidFill>
              <a:ln>
                <a:noFill/>
              </a:ln>
            </p:spPr>
            <p:txBody>
              <a:bodyPr/>
              <a:lstStyle/>
              <a:p>
                <a:endParaRPr lang="de-DE" dirty="0"/>
              </a:p>
            </p:txBody>
          </p:sp>
          <p:sp>
            <p:nvSpPr>
              <p:cNvPr id="1913" name="Freeform 674"/>
              <p:cNvSpPr>
                <a:spLocks/>
              </p:cNvSpPr>
              <p:nvPr/>
            </p:nvSpPr>
            <p:spPr bwMode="auto">
              <a:xfrm>
                <a:off x="111219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914" name="Freeform 675"/>
              <p:cNvSpPr>
                <a:spLocks/>
              </p:cNvSpPr>
              <p:nvPr/>
            </p:nvSpPr>
            <p:spPr bwMode="auto">
              <a:xfrm>
                <a:off x="11136257"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915" name="Freeform 676"/>
              <p:cNvSpPr>
                <a:spLocks/>
              </p:cNvSpPr>
              <p:nvPr/>
            </p:nvSpPr>
            <p:spPr bwMode="auto">
              <a:xfrm>
                <a:off x="11148956"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916" name="Freeform 677"/>
              <p:cNvSpPr>
                <a:spLocks/>
              </p:cNvSpPr>
              <p:nvPr/>
            </p:nvSpPr>
            <p:spPr bwMode="auto">
              <a:xfrm>
                <a:off x="11163242" y="6004534"/>
                <a:ext cx="4762" cy="4763"/>
              </a:xfrm>
              <a:custGeom>
                <a:avLst/>
                <a:gdLst>
                  <a:gd name="T0" fmla="*/ 16 w 30"/>
                  <a:gd name="T1" fmla="*/ 0 h 30"/>
                  <a:gd name="T2" fmla="*/ 20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4" y="3"/>
                    </a:lnTo>
                    <a:lnTo>
                      <a:pt x="27" y="7"/>
                    </a:lnTo>
                    <a:lnTo>
                      <a:pt x="29" y="11"/>
                    </a:lnTo>
                    <a:lnTo>
                      <a:pt x="30" y="15"/>
                    </a:lnTo>
                    <a:lnTo>
                      <a:pt x="29" y="20"/>
                    </a:lnTo>
                    <a:lnTo>
                      <a:pt x="27" y="24"/>
                    </a:lnTo>
                    <a:lnTo>
                      <a:pt x="24"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917" name="Freeform 678"/>
              <p:cNvSpPr>
                <a:spLocks/>
              </p:cNvSpPr>
              <p:nvPr/>
            </p:nvSpPr>
            <p:spPr bwMode="auto">
              <a:xfrm>
                <a:off x="11177528" y="6004534"/>
                <a:ext cx="4762" cy="4763"/>
              </a:xfrm>
              <a:custGeom>
                <a:avLst/>
                <a:gdLst>
                  <a:gd name="T0" fmla="*/ 15 w 29"/>
                  <a:gd name="T1" fmla="*/ 0 h 30"/>
                  <a:gd name="T2" fmla="*/ 19 w 29"/>
                  <a:gd name="T3" fmla="*/ 1 h 30"/>
                  <a:gd name="T4" fmla="*/ 24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4 w 29"/>
                  <a:gd name="T17" fmla="*/ 27 h 30"/>
                  <a:gd name="T18" fmla="*/ 19 w 29"/>
                  <a:gd name="T19" fmla="*/ 30 h 30"/>
                  <a:gd name="T20" fmla="*/ 15 w 29"/>
                  <a:gd name="T21" fmla="*/ 30 h 30"/>
                  <a:gd name="T22" fmla="*/ 11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11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9" y="11"/>
                    </a:lnTo>
                    <a:lnTo>
                      <a:pt x="29" y="15"/>
                    </a:lnTo>
                    <a:lnTo>
                      <a:pt x="29" y="20"/>
                    </a:lnTo>
                    <a:lnTo>
                      <a:pt x="27" y="24"/>
                    </a:lnTo>
                    <a:lnTo>
                      <a:pt x="24" y="27"/>
                    </a:lnTo>
                    <a:lnTo>
                      <a:pt x="19"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918" name="Freeform 679"/>
              <p:cNvSpPr>
                <a:spLocks/>
              </p:cNvSpPr>
              <p:nvPr/>
            </p:nvSpPr>
            <p:spPr bwMode="auto">
              <a:xfrm>
                <a:off x="11190227"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919" name="Freeform 680"/>
              <p:cNvSpPr>
                <a:spLocks/>
              </p:cNvSpPr>
              <p:nvPr/>
            </p:nvSpPr>
            <p:spPr bwMode="auto">
              <a:xfrm>
                <a:off x="112045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920" name="Freeform 681"/>
              <p:cNvSpPr>
                <a:spLocks/>
              </p:cNvSpPr>
              <p:nvPr/>
            </p:nvSpPr>
            <p:spPr bwMode="auto">
              <a:xfrm>
                <a:off x="11218799"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3" y="24"/>
                    </a:lnTo>
                    <a:lnTo>
                      <a:pt x="1" y="20"/>
                    </a:lnTo>
                    <a:lnTo>
                      <a:pt x="0" y="15"/>
                    </a:lnTo>
                    <a:lnTo>
                      <a:pt x="1" y="11"/>
                    </a:lnTo>
                    <a:lnTo>
                      <a:pt x="3" y="7"/>
                    </a:lnTo>
                    <a:lnTo>
                      <a:pt x="5" y="3"/>
                    </a:lnTo>
                    <a:lnTo>
                      <a:pt x="10" y="1"/>
                    </a:lnTo>
                    <a:lnTo>
                      <a:pt x="14" y="0"/>
                    </a:lnTo>
                    <a:close/>
                  </a:path>
                </a:pathLst>
              </a:custGeom>
              <a:solidFill>
                <a:schemeClr val="accent5"/>
              </a:solidFill>
              <a:ln>
                <a:noFill/>
              </a:ln>
            </p:spPr>
            <p:txBody>
              <a:bodyPr/>
              <a:lstStyle/>
              <a:p>
                <a:endParaRPr lang="de-DE" dirty="0"/>
              </a:p>
            </p:txBody>
          </p:sp>
          <p:sp>
            <p:nvSpPr>
              <p:cNvPr id="1921" name="Freeform 682"/>
              <p:cNvSpPr>
                <a:spLocks/>
              </p:cNvSpPr>
              <p:nvPr/>
            </p:nvSpPr>
            <p:spPr bwMode="auto">
              <a:xfrm>
                <a:off x="11233085"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922" name="Freeform 683"/>
              <p:cNvSpPr>
                <a:spLocks/>
              </p:cNvSpPr>
              <p:nvPr/>
            </p:nvSpPr>
            <p:spPr bwMode="auto">
              <a:xfrm>
                <a:off x="11247371"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923" name="Freeform 684"/>
              <p:cNvSpPr>
                <a:spLocks/>
              </p:cNvSpPr>
              <p:nvPr/>
            </p:nvSpPr>
            <p:spPr bwMode="auto">
              <a:xfrm>
                <a:off x="11260070" y="6004534"/>
                <a:ext cx="4762" cy="4763"/>
              </a:xfrm>
              <a:custGeom>
                <a:avLst/>
                <a:gdLst>
                  <a:gd name="T0" fmla="*/ 15 w 29"/>
                  <a:gd name="T1" fmla="*/ 0 h 30"/>
                  <a:gd name="T2" fmla="*/ 19 w 29"/>
                  <a:gd name="T3" fmla="*/ 1 h 30"/>
                  <a:gd name="T4" fmla="*/ 23 w 29"/>
                  <a:gd name="T5" fmla="*/ 3 h 30"/>
                  <a:gd name="T6" fmla="*/ 27 w 29"/>
                  <a:gd name="T7" fmla="*/ 7 h 30"/>
                  <a:gd name="T8" fmla="*/ 29 w 29"/>
                  <a:gd name="T9" fmla="*/ 11 h 30"/>
                  <a:gd name="T10" fmla="*/ 29 w 29"/>
                  <a:gd name="T11" fmla="*/ 15 h 30"/>
                  <a:gd name="T12" fmla="*/ 29 w 29"/>
                  <a:gd name="T13" fmla="*/ 20 h 30"/>
                  <a:gd name="T14" fmla="*/ 27 w 29"/>
                  <a:gd name="T15" fmla="*/ 24 h 30"/>
                  <a:gd name="T16" fmla="*/ 23 w 29"/>
                  <a:gd name="T17" fmla="*/ 27 h 30"/>
                  <a:gd name="T18" fmla="*/ 19 w 29"/>
                  <a:gd name="T19" fmla="*/ 30 h 30"/>
                  <a:gd name="T20" fmla="*/ 15 w 29"/>
                  <a:gd name="T21" fmla="*/ 30 h 30"/>
                  <a:gd name="T22" fmla="*/ 10 w 29"/>
                  <a:gd name="T23" fmla="*/ 30 h 30"/>
                  <a:gd name="T24" fmla="*/ 6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6 w 29"/>
                  <a:gd name="T37" fmla="*/ 3 h 30"/>
                  <a:gd name="T38" fmla="*/ 10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3" y="3"/>
                    </a:lnTo>
                    <a:lnTo>
                      <a:pt x="27" y="7"/>
                    </a:lnTo>
                    <a:lnTo>
                      <a:pt x="29" y="11"/>
                    </a:lnTo>
                    <a:lnTo>
                      <a:pt x="29" y="15"/>
                    </a:lnTo>
                    <a:lnTo>
                      <a:pt x="29" y="20"/>
                    </a:lnTo>
                    <a:lnTo>
                      <a:pt x="27" y="24"/>
                    </a:lnTo>
                    <a:lnTo>
                      <a:pt x="23"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924" name="Freeform 685"/>
              <p:cNvSpPr>
                <a:spLocks/>
              </p:cNvSpPr>
              <p:nvPr/>
            </p:nvSpPr>
            <p:spPr bwMode="auto">
              <a:xfrm>
                <a:off x="11274356" y="6004534"/>
                <a:ext cx="4762" cy="4763"/>
              </a:xfrm>
              <a:custGeom>
                <a:avLst/>
                <a:gdLst>
                  <a:gd name="T0" fmla="*/ 14 w 29"/>
                  <a:gd name="T1" fmla="*/ 0 h 30"/>
                  <a:gd name="T2" fmla="*/ 19 w 29"/>
                  <a:gd name="T3" fmla="*/ 1 h 30"/>
                  <a:gd name="T4" fmla="*/ 23 w 29"/>
                  <a:gd name="T5" fmla="*/ 3 h 30"/>
                  <a:gd name="T6" fmla="*/ 26 w 29"/>
                  <a:gd name="T7" fmla="*/ 7 h 30"/>
                  <a:gd name="T8" fmla="*/ 28 w 29"/>
                  <a:gd name="T9" fmla="*/ 11 h 30"/>
                  <a:gd name="T10" fmla="*/ 29 w 29"/>
                  <a:gd name="T11" fmla="*/ 15 h 30"/>
                  <a:gd name="T12" fmla="*/ 28 w 29"/>
                  <a:gd name="T13" fmla="*/ 20 h 30"/>
                  <a:gd name="T14" fmla="*/ 26 w 29"/>
                  <a:gd name="T15" fmla="*/ 24 h 30"/>
                  <a:gd name="T16" fmla="*/ 23 w 29"/>
                  <a:gd name="T17" fmla="*/ 27 h 30"/>
                  <a:gd name="T18" fmla="*/ 19 w 29"/>
                  <a:gd name="T19" fmla="*/ 30 h 30"/>
                  <a:gd name="T20" fmla="*/ 14 w 29"/>
                  <a:gd name="T21" fmla="*/ 30 h 30"/>
                  <a:gd name="T22" fmla="*/ 10 w 29"/>
                  <a:gd name="T23" fmla="*/ 30 h 30"/>
                  <a:gd name="T24" fmla="*/ 5 w 29"/>
                  <a:gd name="T25" fmla="*/ 27 h 30"/>
                  <a:gd name="T26" fmla="*/ 2 w 29"/>
                  <a:gd name="T27" fmla="*/ 24 h 30"/>
                  <a:gd name="T28" fmla="*/ 0 w 29"/>
                  <a:gd name="T29" fmla="*/ 20 h 30"/>
                  <a:gd name="T30" fmla="*/ 0 w 29"/>
                  <a:gd name="T31" fmla="*/ 15 h 30"/>
                  <a:gd name="T32" fmla="*/ 0 w 29"/>
                  <a:gd name="T33" fmla="*/ 11 h 30"/>
                  <a:gd name="T34" fmla="*/ 2 w 29"/>
                  <a:gd name="T35" fmla="*/ 7 h 30"/>
                  <a:gd name="T36" fmla="*/ 5 w 29"/>
                  <a:gd name="T37" fmla="*/ 3 h 30"/>
                  <a:gd name="T38" fmla="*/ 10 w 29"/>
                  <a:gd name="T39" fmla="*/ 1 h 30"/>
                  <a:gd name="T40" fmla="*/ 14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4" y="0"/>
                    </a:moveTo>
                    <a:lnTo>
                      <a:pt x="19" y="1"/>
                    </a:lnTo>
                    <a:lnTo>
                      <a:pt x="23" y="3"/>
                    </a:lnTo>
                    <a:lnTo>
                      <a:pt x="26" y="7"/>
                    </a:lnTo>
                    <a:lnTo>
                      <a:pt x="28" y="11"/>
                    </a:lnTo>
                    <a:lnTo>
                      <a:pt x="29" y="15"/>
                    </a:lnTo>
                    <a:lnTo>
                      <a:pt x="28" y="20"/>
                    </a:lnTo>
                    <a:lnTo>
                      <a:pt x="26" y="24"/>
                    </a:lnTo>
                    <a:lnTo>
                      <a:pt x="23" y="27"/>
                    </a:lnTo>
                    <a:lnTo>
                      <a:pt x="19"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925" name="Freeform 686"/>
              <p:cNvSpPr>
                <a:spLocks/>
              </p:cNvSpPr>
              <p:nvPr/>
            </p:nvSpPr>
            <p:spPr bwMode="auto">
              <a:xfrm>
                <a:off x="11288642" y="6004534"/>
                <a:ext cx="4762" cy="4763"/>
              </a:xfrm>
              <a:custGeom>
                <a:avLst/>
                <a:gdLst>
                  <a:gd name="T0" fmla="*/ 15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5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3" y="3"/>
                    </a:lnTo>
                    <a:lnTo>
                      <a:pt x="27" y="7"/>
                    </a:lnTo>
                    <a:lnTo>
                      <a:pt x="29" y="11"/>
                    </a:lnTo>
                    <a:lnTo>
                      <a:pt x="30" y="15"/>
                    </a:lnTo>
                    <a:lnTo>
                      <a:pt x="29" y="20"/>
                    </a:lnTo>
                    <a:lnTo>
                      <a:pt x="27" y="24"/>
                    </a:lnTo>
                    <a:lnTo>
                      <a:pt x="23" y="27"/>
                    </a:lnTo>
                    <a:lnTo>
                      <a:pt x="20" y="30"/>
                    </a:lnTo>
                    <a:lnTo>
                      <a:pt x="15" y="30"/>
                    </a:lnTo>
                    <a:lnTo>
                      <a:pt x="10" y="30"/>
                    </a:lnTo>
                    <a:lnTo>
                      <a:pt x="7" y="27"/>
                    </a:lnTo>
                    <a:lnTo>
                      <a:pt x="3" y="24"/>
                    </a:lnTo>
                    <a:lnTo>
                      <a:pt x="1" y="20"/>
                    </a:lnTo>
                    <a:lnTo>
                      <a:pt x="0" y="15"/>
                    </a:lnTo>
                    <a:lnTo>
                      <a:pt x="1" y="11"/>
                    </a:lnTo>
                    <a:lnTo>
                      <a:pt x="3" y="7"/>
                    </a:lnTo>
                    <a:lnTo>
                      <a:pt x="7" y="3"/>
                    </a:lnTo>
                    <a:lnTo>
                      <a:pt x="10" y="1"/>
                    </a:lnTo>
                    <a:lnTo>
                      <a:pt x="15" y="0"/>
                    </a:lnTo>
                    <a:close/>
                  </a:path>
                </a:pathLst>
              </a:custGeom>
              <a:solidFill>
                <a:schemeClr val="accent5"/>
              </a:solidFill>
              <a:ln>
                <a:noFill/>
              </a:ln>
            </p:spPr>
            <p:txBody>
              <a:bodyPr/>
              <a:lstStyle/>
              <a:p>
                <a:endParaRPr lang="de-DE" dirty="0"/>
              </a:p>
            </p:txBody>
          </p:sp>
          <p:sp>
            <p:nvSpPr>
              <p:cNvPr id="1926" name="Freeform 687"/>
              <p:cNvSpPr>
                <a:spLocks/>
              </p:cNvSpPr>
              <p:nvPr/>
            </p:nvSpPr>
            <p:spPr bwMode="auto">
              <a:xfrm>
                <a:off x="113029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927" name="Freeform 688"/>
              <p:cNvSpPr>
                <a:spLocks/>
              </p:cNvSpPr>
              <p:nvPr/>
            </p:nvSpPr>
            <p:spPr bwMode="auto">
              <a:xfrm>
                <a:off x="113156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sp>
            <p:nvSpPr>
              <p:cNvPr id="1928" name="Freeform 689"/>
              <p:cNvSpPr>
                <a:spLocks/>
              </p:cNvSpPr>
              <p:nvPr/>
            </p:nvSpPr>
            <p:spPr bwMode="auto">
              <a:xfrm>
                <a:off x="11329913"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2" y="24"/>
                    </a:lnTo>
                    <a:lnTo>
                      <a:pt x="0" y="20"/>
                    </a:lnTo>
                    <a:lnTo>
                      <a:pt x="0" y="15"/>
                    </a:lnTo>
                    <a:lnTo>
                      <a:pt x="0" y="11"/>
                    </a:lnTo>
                    <a:lnTo>
                      <a:pt x="2" y="7"/>
                    </a:lnTo>
                    <a:lnTo>
                      <a:pt x="6" y="3"/>
                    </a:lnTo>
                    <a:lnTo>
                      <a:pt x="10" y="1"/>
                    </a:lnTo>
                    <a:lnTo>
                      <a:pt x="15" y="0"/>
                    </a:lnTo>
                    <a:close/>
                  </a:path>
                </a:pathLst>
              </a:custGeom>
              <a:solidFill>
                <a:schemeClr val="accent5"/>
              </a:solidFill>
              <a:ln>
                <a:noFill/>
              </a:ln>
            </p:spPr>
            <p:txBody>
              <a:bodyPr/>
              <a:lstStyle/>
              <a:p>
                <a:endParaRPr lang="de-DE" dirty="0"/>
              </a:p>
            </p:txBody>
          </p:sp>
          <p:sp>
            <p:nvSpPr>
              <p:cNvPr id="1929" name="Freeform 690"/>
              <p:cNvSpPr>
                <a:spLocks/>
              </p:cNvSpPr>
              <p:nvPr/>
            </p:nvSpPr>
            <p:spPr bwMode="auto">
              <a:xfrm>
                <a:off x="11344199" y="6004534"/>
                <a:ext cx="4762" cy="4763"/>
              </a:xfrm>
              <a:custGeom>
                <a:avLst/>
                <a:gdLst>
                  <a:gd name="T0" fmla="*/ 14 w 30"/>
                  <a:gd name="T1" fmla="*/ 0 h 30"/>
                  <a:gd name="T2" fmla="*/ 20 w 30"/>
                  <a:gd name="T3" fmla="*/ 1 h 30"/>
                  <a:gd name="T4" fmla="*/ 23 w 30"/>
                  <a:gd name="T5" fmla="*/ 3 h 30"/>
                  <a:gd name="T6" fmla="*/ 26 w 30"/>
                  <a:gd name="T7" fmla="*/ 7 h 30"/>
                  <a:gd name="T8" fmla="*/ 28 w 30"/>
                  <a:gd name="T9" fmla="*/ 11 h 30"/>
                  <a:gd name="T10" fmla="*/ 30 w 30"/>
                  <a:gd name="T11" fmla="*/ 15 h 30"/>
                  <a:gd name="T12" fmla="*/ 28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0 w 30"/>
                  <a:gd name="T29" fmla="*/ 20 h 30"/>
                  <a:gd name="T30" fmla="*/ 0 w 30"/>
                  <a:gd name="T31" fmla="*/ 15 h 30"/>
                  <a:gd name="T32" fmla="*/ 0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8" y="11"/>
                    </a:lnTo>
                    <a:lnTo>
                      <a:pt x="30" y="15"/>
                    </a:lnTo>
                    <a:lnTo>
                      <a:pt x="28" y="20"/>
                    </a:lnTo>
                    <a:lnTo>
                      <a:pt x="26" y="24"/>
                    </a:lnTo>
                    <a:lnTo>
                      <a:pt x="23" y="27"/>
                    </a:lnTo>
                    <a:lnTo>
                      <a:pt x="20" y="30"/>
                    </a:lnTo>
                    <a:lnTo>
                      <a:pt x="14" y="30"/>
                    </a:lnTo>
                    <a:lnTo>
                      <a:pt x="10" y="30"/>
                    </a:lnTo>
                    <a:lnTo>
                      <a:pt x="5" y="27"/>
                    </a:lnTo>
                    <a:lnTo>
                      <a:pt x="2" y="24"/>
                    </a:lnTo>
                    <a:lnTo>
                      <a:pt x="0" y="20"/>
                    </a:lnTo>
                    <a:lnTo>
                      <a:pt x="0" y="15"/>
                    </a:lnTo>
                    <a:lnTo>
                      <a:pt x="0"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930" name="Freeform 691"/>
              <p:cNvSpPr>
                <a:spLocks/>
              </p:cNvSpPr>
              <p:nvPr/>
            </p:nvSpPr>
            <p:spPr bwMode="auto">
              <a:xfrm>
                <a:off x="11358485" y="6004534"/>
                <a:ext cx="4762" cy="4763"/>
              </a:xfrm>
              <a:custGeom>
                <a:avLst/>
                <a:gdLst>
                  <a:gd name="T0" fmla="*/ 16 w 30"/>
                  <a:gd name="T1" fmla="*/ 0 h 30"/>
                  <a:gd name="T2" fmla="*/ 20 w 30"/>
                  <a:gd name="T3" fmla="*/ 1 h 30"/>
                  <a:gd name="T4" fmla="*/ 23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3 w 30"/>
                  <a:gd name="T17" fmla="*/ 27 h 30"/>
                  <a:gd name="T18" fmla="*/ 20 w 30"/>
                  <a:gd name="T19" fmla="*/ 30 h 30"/>
                  <a:gd name="T20" fmla="*/ 16 w 30"/>
                  <a:gd name="T21" fmla="*/ 30 h 30"/>
                  <a:gd name="T22" fmla="*/ 10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3" y="3"/>
                    </a:lnTo>
                    <a:lnTo>
                      <a:pt x="27" y="7"/>
                    </a:lnTo>
                    <a:lnTo>
                      <a:pt x="29" y="11"/>
                    </a:lnTo>
                    <a:lnTo>
                      <a:pt x="30" y="15"/>
                    </a:lnTo>
                    <a:lnTo>
                      <a:pt x="29" y="20"/>
                    </a:lnTo>
                    <a:lnTo>
                      <a:pt x="27" y="24"/>
                    </a:lnTo>
                    <a:lnTo>
                      <a:pt x="23" y="27"/>
                    </a:lnTo>
                    <a:lnTo>
                      <a:pt x="20" y="30"/>
                    </a:lnTo>
                    <a:lnTo>
                      <a:pt x="16" y="30"/>
                    </a:lnTo>
                    <a:lnTo>
                      <a:pt x="10" y="30"/>
                    </a:lnTo>
                    <a:lnTo>
                      <a:pt x="7" y="27"/>
                    </a:lnTo>
                    <a:lnTo>
                      <a:pt x="3" y="24"/>
                    </a:lnTo>
                    <a:lnTo>
                      <a:pt x="1" y="20"/>
                    </a:lnTo>
                    <a:lnTo>
                      <a:pt x="0" y="15"/>
                    </a:lnTo>
                    <a:lnTo>
                      <a:pt x="1" y="11"/>
                    </a:lnTo>
                    <a:lnTo>
                      <a:pt x="3" y="7"/>
                    </a:lnTo>
                    <a:lnTo>
                      <a:pt x="7" y="3"/>
                    </a:lnTo>
                    <a:lnTo>
                      <a:pt x="10" y="1"/>
                    </a:lnTo>
                    <a:lnTo>
                      <a:pt x="16" y="0"/>
                    </a:lnTo>
                    <a:close/>
                  </a:path>
                </a:pathLst>
              </a:custGeom>
              <a:solidFill>
                <a:schemeClr val="accent5"/>
              </a:solidFill>
              <a:ln>
                <a:noFill/>
              </a:ln>
            </p:spPr>
            <p:txBody>
              <a:bodyPr/>
              <a:lstStyle/>
              <a:p>
                <a:endParaRPr lang="de-DE" dirty="0"/>
              </a:p>
            </p:txBody>
          </p:sp>
          <p:sp>
            <p:nvSpPr>
              <p:cNvPr id="1931" name="Freeform 692"/>
              <p:cNvSpPr>
                <a:spLocks/>
              </p:cNvSpPr>
              <p:nvPr/>
            </p:nvSpPr>
            <p:spPr bwMode="auto">
              <a:xfrm>
                <a:off x="11371184" y="6004534"/>
                <a:ext cx="4762" cy="4763"/>
              </a:xfrm>
              <a:custGeom>
                <a:avLst/>
                <a:gdLst>
                  <a:gd name="T0" fmla="*/ 15 w 29"/>
                  <a:gd name="T1" fmla="*/ 0 h 30"/>
                  <a:gd name="T2" fmla="*/ 19 w 29"/>
                  <a:gd name="T3" fmla="*/ 1 h 30"/>
                  <a:gd name="T4" fmla="*/ 24 w 29"/>
                  <a:gd name="T5" fmla="*/ 3 h 30"/>
                  <a:gd name="T6" fmla="*/ 27 w 29"/>
                  <a:gd name="T7" fmla="*/ 7 h 30"/>
                  <a:gd name="T8" fmla="*/ 28 w 29"/>
                  <a:gd name="T9" fmla="*/ 11 h 30"/>
                  <a:gd name="T10" fmla="*/ 29 w 29"/>
                  <a:gd name="T11" fmla="*/ 15 h 30"/>
                  <a:gd name="T12" fmla="*/ 28 w 29"/>
                  <a:gd name="T13" fmla="*/ 20 h 30"/>
                  <a:gd name="T14" fmla="*/ 27 w 29"/>
                  <a:gd name="T15" fmla="*/ 24 h 30"/>
                  <a:gd name="T16" fmla="*/ 24 w 29"/>
                  <a:gd name="T17" fmla="*/ 27 h 30"/>
                  <a:gd name="T18" fmla="*/ 19 w 29"/>
                  <a:gd name="T19" fmla="*/ 30 h 30"/>
                  <a:gd name="T20" fmla="*/ 15 w 29"/>
                  <a:gd name="T21" fmla="*/ 30 h 30"/>
                  <a:gd name="T22" fmla="*/ 9 w 29"/>
                  <a:gd name="T23" fmla="*/ 30 h 30"/>
                  <a:gd name="T24" fmla="*/ 6 w 29"/>
                  <a:gd name="T25" fmla="*/ 27 h 30"/>
                  <a:gd name="T26" fmla="*/ 3 w 29"/>
                  <a:gd name="T27" fmla="*/ 24 h 30"/>
                  <a:gd name="T28" fmla="*/ 1 w 29"/>
                  <a:gd name="T29" fmla="*/ 20 h 30"/>
                  <a:gd name="T30" fmla="*/ 0 w 29"/>
                  <a:gd name="T31" fmla="*/ 15 h 30"/>
                  <a:gd name="T32" fmla="*/ 1 w 29"/>
                  <a:gd name="T33" fmla="*/ 11 h 30"/>
                  <a:gd name="T34" fmla="*/ 3 w 29"/>
                  <a:gd name="T35" fmla="*/ 7 h 30"/>
                  <a:gd name="T36" fmla="*/ 6 w 29"/>
                  <a:gd name="T37" fmla="*/ 3 h 30"/>
                  <a:gd name="T38" fmla="*/ 9 w 29"/>
                  <a:gd name="T39" fmla="*/ 1 h 30"/>
                  <a:gd name="T40" fmla="*/ 15 w 29"/>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30">
                    <a:moveTo>
                      <a:pt x="15" y="0"/>
                    </a:moveTo>
                    <a:lnTo>
                      <a:pt x="19" y="1"/>
                    </a:lnTo>
                    <a:lnTo>
                      <a:pt x="24" y="3"/>
                    </a:lnTo>
                    <a:lnTo>
                      <a:pt x="27" y="7"/>
                    </a:lnTo>
                    <a:lnTo>
                      <a:pt x="28" y="11"/>
                    </a:lnTo>
                    <a:lnTo>
                      <a:pt x="29" y="15"/>
                    </a:lnTo>
                    <a:lnTo>
                      <a:pt x="28" y="20"/>
                    </a:lnTo>
                    <a:lnTo>
                      <a:pt x="27" y="24"/>
                    </a:lnTo>
                    <a:lnTo>
                      <a:pt x="24" y="27"/>
                    </a:lnTo>
                    <a:lnTo>
                      <a:pt x="19" y="30"/>
                    </a:lnTo>
                    <a:lnTo>
                      <a:pt x="15" y="30"/>
                    </a:lnTo>
                    <a:lnTo>
                      <a:pt x="9" y="30"/>
                    </a:lnTo>
                    <a:lnTo>
                      <a:pt x="6" y="27"/>
                    </a:lnTo>
                    <a:lnTo>
                      <a:pt x="3" y="24"/>
                    </a:lnTo>
                    <a:lnTo>
                      <a:pt x="1" y="20"/>
                    </a:lnTo>
                    <a:lnTo>
                      <a:pt x="0" y="15"/>
                    </a:lnTo>
                    <a:lnTo>
                      <a:pt x="1" y="11"/>
                    </a:lnTo>
                    <a:lnTo>
                      <a:pt x="3" y="7"/>
                    </a:lnTo>
                    <a:lnTo>
                      <a:pt x="6" y="3"/>
                    </a:lnTo>
                    <a:lnTo>
                      <a:pt x="9" y="1"/>
                    </a:lnTo>
                    <a:lnTo>
                      <a:pt x="15" y="0"/>
                    </a:lnTo>
                    <a:close/>
                  </a:path>
                </a:pathLst>
              </a:custGeom>
              <a:solidFill>
                <a:schemeClr val="accent5"/>
              </a:solidFill>
              <a:ln>
                <a:noFill/>
              </a:ln>
            </p:spPr>
            <p:txBody>
              <a:bodyPr/>
              <a:lstStyle/>
              <a:p>
                <a:endParaRPr lang="de-DE" dirty="0"/>
              </a:p>
            </p:txBody>
          </p:sp>
          <p:sp>
            <p:nvSpPr>
              <p:cNvPr id="1932" name="Freeform 693"/>
              <p:cNvSpPr>
                <a:spLocks/>
              </p:cNvSpPr>
              <p:nvPr/>
            </p:nvSpPr>
            <p:spPr bwMode="auto">
              <a:xfrm>
                <a:off x="11385470" y="6004534"/>
                <a:ext cx="4762" cy="4763"/>
              </a:xfrm>
              <a:custGeom>
                <a:avLst/>
                <a:gdLst>
                  <a:gd name="T0" fmla="*/ 15 w 30"/>
                  <a:gd name="T1" fmla="*/ 0 h 30"/>
                  <a:gd name="T2" fmla="*/ 20 w 30"/>
                  <a:gd name="T3" fmla="*/ 1 h 30"/>
                  <a:gd name="T4" fmla="*/ 24 w 30"/>
                  <a:gd name="T5" fmla="*/ 3 h 30"/>
                  <a:gd name="T6" fmla="*/ 28 w 30"/>
                  <a:gd name="T7" fmla="*/ 7 h 30"/>
                  <a:gd name="T8" fmla="*/ 30 w 30"/>
                  <a:gd name="T9" fmla="*/ 11 h 30"/>
                  <a:gd name="T10" fmla="*/ 30 w 30"/>
                  <a:gd name="T11" fmla="*/ 15 h 30"/>
                  <a:gd name="T12" fmla="*/ 30 w 30"/>
                  <a:gd name="T13" fmla="*/ 20 h 30"/>
                  <a:gd name="T14" fmla="*/ 28 w 30"/>
                  <a:gd name="T15" fmla="*/ 24 h 30"/>
                  <a:gd name="T16" fmla="*/ 24 w 30"/>
                  <a:gd name="T17" fmla="*/ 27 h 30"/>
                  <a:gd name="T18" fmla="*/ 20 w 30"/>
                  <a:gd name="T19" fmla="*/ 30 h 30"/>
                  <a:gd name="T20" fmla="*/ 15 w 30"/>
                  <a:gd name="T21" fmla="*/ 30 h 30"/>
                  <a:gd name="T22" fmla="*/ 11 w 30"/>
                  <a:gd name="T23" fmla="*/ 30 h 30"/>
                  <a:gd name="T24" fmla="*/ 7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7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8" y="7"/>
                    </a:lnTo>
                    <a:lnTo>
                      <a:pt x="30" y="11"/>
                    </a:lnTo>
                    <a:lnTo>
                      <a:pt x="30" y="15"/>
                    </a:lnTo>
                    <a:lnTo>
                      <a:pt x="30" y="20"/>
                    </a:lnTo>
                    <a:lnTo>
                      <a:pt x="28" y="24"/>
                    </a:lnTo>
                    <a:lnTo>
                      <a:pt x="24" y="27"/>
                    </a:lnTo>
                    <a:lnTo>
                      <a:pt x="20" y="30"/>
                    </a:lnTo>
                    <a:lnTo>
                      <a:pt x="15" y="30"/>
                    </a:lnTo>
                    <a:lnTo>
                      <a:pt x="11" y="30"/>
                    </a:lnTo>
                    <a:lnTo>
                      <a:pt x="7" y="27"/>
                    </a:lnTo>
                    <a:lnTo>
                      <a:pt x="3" y="24"/>
                    </a:lnTo>
                    <a:lnTo>
                      <a:pt x="1" y="20"/>
                    </a:lnTo>
                    <a:lnTo>
                      <a:pt x="0" y="15"/>
                    </a:lnTo>
                    <a:lnTo>
                      <a:pt x="1" y="11"/>
                    </a:lnTo>
                    <a:lnTo>
                      <a:pt x="3" y="7"/>
                    </a:lnTo>
                    <a:lnTo>
                      <a:pt x="7" y="3"/>
                    </a:lnTo>
                    <a:lnTo>
                      <a:pt x="11" y="1"/>
                    </a:lnTo>
                    <a:lnTo>
                      <a:pt x="15" y="0"/>
                    </a:lnTo>
                    <a:close/>
                  </a:path>
                </a:pathLst>
              </a:custGeom>
              <a:solidFill>
                <a:schemeClr val="accent5"/>
              </a:solidFill>
              <a:ln>
                <a:noFill/>
              </a:ln>
            </p:spPr>
            <p:txBody>
              <a:bodyPr/>
              <a:lstStyle/>
              <a:p>
                <a:endParaRPr lang="de-DE" dirty="0"/>
              </a:p>
            </p:txBody>
          </p:sp>
          <p:sp>
            <p:nvSpPr>
              <p:cNvPr id="1933" name="Freeform 694"/>
              <p:cNvSpPr>
                <a:spLocks/>
              </p:cNvSpPr>
              <p:nvPr/>
            </p:nvSpPr>
            <p:spPr bwMode="auto">
              <a:xfrm>
                <a:off x="11399756" y="6004534"/>
                <a:ext cx="4762" cy="4763"/>
              </a:xfrm>
              <a:custGeom>
                <a:avLst/>
                <a:gdLst>
                  <a:gd name="T0" fmla="*/ 15 w 30"/>
                  <a:gd name="T1" fmla="*/ 0 h 30"/>
                  <a:gd name="T2" fmla="*/ 19 w 30"/>
                  <a:gd name="T3" fmla="*/ 1 h 30"/>
                  <a:gd name="T4" fmla="*/ 24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4 w 30"/>
                  <a:gd name="T17" fmla="*/ 27 h 30"/>
                  <a:gd name="T18" fmla="*/ 19 w 30"/>
                  <a:gd name="T19" fmla="*/ 30 h 30"/>
                  <a:gd name="T20" fmla="*/ 15 w 30"/>
                  <a:gd name="T21" fmla="*/ 30 h 30"/>
                  <a:gd name="T22" fmla="*/ 10 w 30"/>
                  <a:gd name="T23" fmla="*/ 30 h 30"/>
                  <a:gd name="T24" fmla="*/ 6 w 30"/>
                  <a:gd name="T25" fmla="*/ 27 h 30"/>
                  <a:gd name="T26" fmla="*/ 3 w 30"/>
                  <a:gd name="T27" fmla="*/ 24 h 30"/>
                  <a:gd name="T28" fmla="*/ 0 w 30"/>
                  <a:gd name="T29" fmla="*/ 20 h 30"/>
                  <a:gd name="T30" fmla="*/ 0 w 30"/>
                  <a:gd name="T31" fmla="*/ 15 h 30"/>
                  <a:gd name="T32" fmla="*/ 0 w 30"/>
                  <a:gd name="T33" fmla="*/ 11 h 30"/>
                  <a:gd name="T34" fmla="*/ 3 w 30"/>
                  <a:gd name="T35" fmla="*/ 7 h 30"/>
                  <a:gd name="T36" fmla="*/ 6 w 30"/>
                  <a:gd name="T37" fmla="*/ 3 h 30"/>
                  <a:gd name="T38" fmla="*/ 10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19" y="1"/>
                    </a:lnTo>
                    <a:lnTo>
                      <a:pt x="24" y="3"/>
                    </a:lnTo>
                    <a:lnTo>
                      <a:pt x="27" y="7"/>
                    </a:lnTo>
                    <a:lnTo>
                      <a:pt x="29" y="11"/>
                    </a:lnTo>
                    <a:lnTo>
                      <a:pt x="30" y="15"/>
                    </a:lnTo>
                    <a:lnTo>
                      <a:pt x="29" y="20"/>
                    </a:lnTo>
                    <a:lnTo>
                      <a:pt x="27" y="24"/>
                    </a:lnTo>
                    <a:lnTo>
                      <a:pt x="24" y="27"/>
                    </a:lnTo>
                    <a:lnTo>
                      <a:pt x="19" y="30"/>
                    </a:lnTo>
                    <a:lnTo>
                      <a:pt x="15" y="30"/>
                    </a:lnTo>
                    <a:lnTo>
                      <a:pt x="10" y="30"/>
                    </a:lnTo>
                    <a:lnTo>
                      <a:pt x="6" y="27"/>
                    </a:lnTo>
                    <a:lnTo>
                      <a:pt x="3" y="24"/>
                    </a:lnTo>
                    <a:lnTo>
                      <a:pt x="0" y="20"/>
                    </a:lnTo>
                    <a:lnTo>
                      <a:pt x="0" y="15"/>
                    </a:lnTo>
                    <a:lnTo>
                      <a:pt x="0" y="11"/>
                    </a:lnTo>
                    <a:lnTo>
                      <a:pt x="3" y="7"/>
                    </a:lnTo>
                    <a:lnTo>
                      <a:pt x="6" y="3"/>
                    </a:lnTo>
                    <a:lnTo>
                      <a:pt x="10" y="1"/>
                    </a:lnTo>
                    <a:lnTo>
                      <a:pt x="15" y="0"/>
                    </a:lnTo>
                    <a:close/>
                  </a:path>
                </a:pathLst>
              </a:custGeom>
              <a:solidFill>
                <a:schemeClr val="accent5"/>
              </a:solidFill>
              <a:ln>
                <a:noFill/>
              </a:ln>
            </p:spPr>
            <p:txBody>
              <a:bodyPr/>
              <a:lstStyle/>
              <a:p>
                <a:endParaRPr lang="de-DE" dirty="0"/>
              </a:p>
            </p:txBody>
          </p:sp>
          <p:sp>
            <p:nvSpPr>
              <p:cNvPr id="1934" name="Freeform 695"/>
              <p:cNvSpPr>
                <a:spLocks/>
              </p:cNvSpPr>
              <p:nvPr/>
            </p:nvSpPr>
            <p:spPr bwMode="auto">
              <a:xfrm>
                <a:off x="11414042" y="6004534"/>
                <a:ext cx="4762" cy="4763"/>
              </a:xfrm>
              <a:custGeom>
                <a:avLst/>
                <a:gdLst>
                  <a:gd name="T0" fmla="*/ 14 w 30"/>
                  <a:gd name="T1" fmla="*/ 0 h 30"/>
                  <a:gd name="T2" fmla="*/ 20 w 30"/>
                  <a:gd name="T3" fmla="*/ 1 h 30"/>
                  <a:gd name="T4" fmla="*/ 23 w 30"/>
                  <a:gd name="T5" fmla="*/ 3 h 30"/>
                  <a:gd name="T6" fmla="*/ 26 w 30"/>
                  <a:gd name="T7" fmla="*/ 7 h 30"/>
                  <a:gd name="T8" fmla="*/ 29 w 30"/>
                  <a:gd name="T9" fmla="*/ 11 h 30"/>
                  <a:gd name="T10" fmla="*/ 30 w 30"/>
                  <a:gd name="T11" fmla="*/ 15 h 30"/>
                  <a:gd name="T12" fmla="*/ 29 w 30"/>
                  <a:gd name="T13" fmla="*/ 20 h 30"/>
                  <a:gd name="T14" fmla="*/ 26 w 30"/>
                  <a:gd name="T15" fmla="*/ 24 h 30"/>
                  <a:gd name="T16" fmla="*/ 23 w 30"/>
                  <a:gd name="T17" fmla="*/ 27 h 30"/>
                  <a:gd name="T18" fmla="*/ 20 w 30"/>
                  <a:gd name="T19" fmla="*/ 30 h 30"/>
                  <a:gd name="T20" fmla="*/ 14 w 30"/>
                  <a:gd name="T21" fmla="*/ 30 h 30"/>
                  <a:gd name="T22" fmla="*/ 10 w 30"/>
                  <a:gd name="T23" fmla="*/ 30 h 30"/>
                  <a:gd name="T24" fmla="*/ 5 w 30"/>
                  <a:gd name="T25" fmla="*/ 27 h 30"/>
                  <a:gd name="T26" fmla="*/ 2 w 30"/>
                  <a:gd name="T27" fmla="*/ 24 h 30"/>
                  <a:gd name="T28" fmla="*/ 1 w 30"/>
                  <a:gd name="T29" fmla="*/ 20 h 30"/>
                  <a:gd name="T30" fmla="*/ 0 w 30"/>
                  <a:gd name="T31" fmla="*/ 15 h 30"/>
                  <a:gd name="T32" fmla="*/ 1 w 30"/>
                  <a:gd name="T33" fmla="*/ 11 h 30"/>
                  <a:gd name="T34" fmla="*/ 2 w 30"/>
                  <a:gd name="T35" fmla="*/ 7 h 30"/>
                  <a:gd name="T36" fmla="*/ 5 w 30"/>
                  <a:gd name="T37" fmla="*/ 3 h 30"/>
                  <a:gd name="T38" fmla="*/ 10 w 30"/>
                  <a:gd name="T39" fmla="*/ 1 h 30"/>
                  <a:gd name="T40" fmla="*/ 14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4" y="0"/>
                    </a:moveTo>
                    <a:lnTo>
                      <a:pt x="20" y="1"/>
                    </a:lnTo>
                    <a:lnTo>
                      <a:pt x="23" y="3"/>
                    </a:lnTo>
                    <a:lnTo>
                      <a:pt x="26" y="7"/>
                    </a:lnTo>
                    <a:lnTo>
                      <a:pt x="29" y="11"/>
                    </a:lnTo>
                    <a:lnTo>
                      <a:pt x="30" y="15"/>
                    </a:lnTo>
                    <a:lnTo>
                      <a:pt x="29" y="20"/>
                    </a:lnTo>
                    <a:lnTo>
                      <a:pt x="26" y="24"/>
                    </a:lnTo>
                    <a:lnTo>
                      <a:pt x="23" y="27"/>
                    </a:lnTo>
                    <a:lnTo>
                      <a:pt x="20" y="30"/>
                    </a:lnTo>
                    <a:lnTo>
                      <a:pt x="14" y="30"/>
                    </a:lnTo>
                    <a:lnTo>
                      <a:pt x="10" y="30"/>
                    </a:lnTo>
                    <a:lnTo>
                      <a:pt x="5" y="27"/>
                    </a:lnTo>
                    <a:lnTo>
                      <a:pt x="2" y="24"/>
                    </a:lnTo>
                    <a:lnTo>
                      <a:pt x="1" y="20"/>
                    </a:lnTo>
                    <a:lnTo>
                      <a:pt x="0" y="15"/>
                    </a:lnTo>
                    <a:lnTo>
                      <a:pt x="1" y="11"/>
                    </a:lnTo>
                    <a:lnTo>
                      <a:pt x="2" y="7"/>
                    </a:lnTo>
                    <a:lnTo>
                      <a:pt x="5" y="3"/>
                    </a:lnTo>
                    <a:lnTo>
                      <a:pt x="10" y="1"/>
                    </a:lnTo>
                    <a:lnTo>
                      <a:pt x="14" y="0"/>
                    </a:lnTo>
                    <a:close/>
                  </a:path>
                </a:pathLst>
              </a:custGeom>
              <a:solidFill>
                <a:schemeClr val="accent5"/>
              </a:solidFill>
              <a:ln>
                <a:noFill/>
              </a:ln>
            </p:spPr>
            <p:txBody>
              <a:bodyPr/>
              <a:lstStyle/>
              <a:p>
                <a:endParaRPr lang="de-DE" dirty="0"/>
              </a:p>
            </p:txBody>
          </p:sp>
          <p:sp>
            <p:nvSpPr>
              <p:cNvPr id="1935" name="Freeform 696"/>
              <p:cNvSpPr>
                <a:spLocks/>
              </p:cNvSpPr>
              <p:nvPr/>
            </p:nvSpPr>
            <p:spPr bwMode="auto">
              <a:xfrm>
                <a:off x="11428328" y="6004534"/>
                <a:ext cx="4762" cy="4763"/>
              </a:xfrm>
              <a:custGeom>
                <a:avLst/>
                <a:gdLst>
                  <a:gd name="T0" fmla="*/ 16 w 30"/>
                  <a:gd name="T1" fmla="*/ 0 h 30"/>
                  <a:gd name="T2" fmla="*/ 20 w 30"/>
                  <a:gd name="T3" fmla="*/ 1 h 30"/>
                  <a:gd name="T4" fmla="*/ 25 w 30"/>
                  <a:gd name="T5" fmla="*/ 3 h 30"/>
                  <a:gd name="T6" fmla="*/ 27 w 30"/>
                  <a:gd name="T7" fmla="*/ 7 h 30"/>
                  <a:gd name="T8" fmla="*/ 29 w 30"/>
                  <a:gd name="T9" fmla="*/ 11 h 30"/>
                  <a:gd name="T10" fmla="*/ 30 w 30"/>
                  <a:gd name="T11" fmla="*/ 15 h 30"/>
                  <a:gd name="T12" fmla="*/ 29 w 30"/>
                  <a:gd name="T13" fmla="*/ 20 h 30"/>
                  <a:gd name="T14" fmla="*/ 27 w 30"/>
                  <a:gd name="T15" fmla="*/ 24 h 30"/>
                  <a:gd name="T16" fmla="*/ 25 w 30"/>
                  <a:gd name="T17" fmla="*/ 27 h 30"/>
                  <a:gd name="T18" fmla="*/ 20 w 30"/>
                  <a:gd name="T19" fmla="*/ 30 h 30"/>
                  <a:gd name="T20" fmla="*/ 16 w 30"/>
                  <a:gd name="T21" fmla="*/ 30 h 30"/>
                  <a:gd name="T22" fmla="*/ 10 w 30"/>
                  <a:gd name="T23" fmla="*/ 30 h 30"/>
                  <a:gd name="T24" fmla="*/ 7 w 30"/>
                  <a:gd name="T25" fmla="*/ 27 h 30"/>
                  <a:gd name="T26" fmla="*/ 4 w 30"/>
                  <a:gd name="T27" fmla="*/ 24 h 30"/>
                  <a:gd name="T28" fmla="*/ 1 w 30"/>
                  <a:gd name="T29" fmla="*/ 20 h 30"/>
                  <a:gd name="T30" fmla="*/ 0 w 30"/>
                  <a:gd name="T31" fmla="*/ 15 h 30"/>
                  <a:gd name="T32" fmla="*/ 1 w 30"/>
                  <a:gd name="T33" fmla="*/ 11 h 30"/>
                  <a:gd name="T34" fmla="*/ 4 w 30"/>
                  <a:gd name="T35" fmla="*/ 7 h 30"/>
                  <a:gd name="T36" fmla="*/ 7 w 30"/>
                  <a:gd name="T37" fmla="*/ 3 h 30"/>
                  <a:gd name="T38" fmla="*/ 10 w 30"/>
                  <a:gd name="T39" fmla="*/ 1 h 30"/>
                  <a:gd name="T40" fmla="*/ 16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6" y="0"/>
                    </a:moveTo>
                    <a:lnTo>
                      <a:pt x="20" y="1"/>
                    </a:lnTo>
                    <a:lnTo>
                      <a:pt x="25" y="3"/>
                    </a:lnTo>
                    <a:lnTo>
                      <a:pt x="27" y="7"/>
                    </a:lnTo>
                    <a:lnTo>
                      <a:pt x="29" y="11"/>
                    </a:lnTo>
                    <a:lnTo>
                      <a:pt x="30" y="15"/>
                    </a:lnTo>
                    <a:lnTo>
                      <a:pt x="29" y="20"/>
                    </a:lnTo>
                    <a:lnTo>
                      <a:pt x="27" y="24"/>
                    </a:lnTo>
                    <a:lnTo>
                      <a:pt x="25" y="27"/>
                    </a:lnTo>
                    <a:lnTo>
                      <a:pt x="20" y="30"/>
                    </a:lnTo>
                    <a:lnTo>
                      <a:pt x="16" y="30"/>
                    </a:lnTo>
                    <a:lnTo>
                      <a:pt x="10" y="30"/>
                    </a:lnTo>
                    <a:lnTo>
                      <a:pt x="7" y="27"/>
                    </a:lnTo>
                    <a:lnTo>
                      <a:pt x="4" y="24"/>
                    </a:lnTo>
                    <a:lnTo>
                      <a:pt x="1" y="20"/>
                    </a:lnTo>
                    <a:lnTo>
                      <a:pt x="0" y="15"/>
                    </a:lnTo>
                    <a:lnTo>
                      <a:pt x="1" y="11"/>
                    </a:lnTo>
                    <a:lnTo>
                      <a:pt x="4" y="7"/>
                    </a:lnTo>
                    <a:lnTo>
                      <a:pt x="7" y="3"/>
                    </a:lnTo>
                    <a:lnTo>
                      <a:pt x="10" y="1"/>
                    </a:lnTo>
                    <a:lnTo>
                      <a:pt x="16" y="0"/>
                    </a:lnTo>
                    <a:close/>
                  </a:path>
                </a:pathLst>
              </a:custGeom>
              <a:solidFill>
                <a:schemeClr val="accent5"/>
              </a:solidFill>
              <a:ln>
                <a:noFill/>
              </a:ln>
            </p:spPr>
            <p:txBody>
              <a:bodyPr/>
              <a:lstStyle/>
              <a:p>
                <a:endParaRPr lang="de-DE" dirty="0"/>
              </a:p>
            </p:txBody>
          </p:sp>
          <p:sp>
            <p:nvSpPr>
              <p:cNvPr id="1936" name="Freeform 697"/>
              <p:cNvSpPr>
                <a:spLocks/>
              </p:cNvSpPr>
              <p:nvPr/>
            </p:nvSpPr>
            <p:spPr bwMode="auto">
              <a:xfrm>
                <a:off x="11441027" y="6004534"/>
                <a:ext cx="4762" cy="4763"/>
              </a:xfrm>
              <a:custGeom>
                <a:avLst/>
                <a:gdLst>
                  <a:gd name="T0" fmla="*/ 15 w 30"/>
                  <a:gd name="T1" fmla="*/ 0 h 30"/>
                  <a:gd name="T2" fmla="*/ 20 w 30"/>
                  <a:gd name="T3" fmla="*/ 1 h 30"/>
                  <a:gd name="T4" fmla="*/ 24 w 30"/>
                  <a:gd name="T5" fmla="*/ 3 h 30"/>
                  <a:gd name="T6" fmla="*/ 27 w 30"/>
                  <a:gd name="T7" fmla="*/ 7 h 30"/>
                  <a:gd name="T8" fmla="*/ 30 w 30"/>
                  <a:gd name="T9" fmla="*/ 11 h 30"/>
                  <a:gd name="T10" fmla="*/ 30 w 30"/>
                  <a:gd name="T11" fmla="*/ 15 h 30"/>
                  <a:gd name="T12" fmla="*/ 30 w 30"/>
                  <a:gd name="T13" fmla="*/ 20 h 30"/>
                  <a:gd name="T14" fmla="*/ 27 w 30"/>
                  <a:gd name="T15" fmla="*/ 24 h 30"/>
                  <a:gd name="T16" fmla="*/ 24 w 30"/>
                  <a:gd name="T17" fmla="*/ 27 h 30"/>
                  <a:gd name="T18" fmla="*/ 20 w 30"/>
                  <a:gd name="T19" fmla="*/ 30 h 30"/>
                  <a:gd name="T20" fmla="*/ 15 w 30"/>
                  <a:gd name="T21" fmla="*/ 30 h 30"/>
                  <a:gd name="T22" fmla="*/ 11 w 30"/>
                  <a:gd name="T23" fmla="*/ 30 h 30"/>
                  <a:gd name="T24" fmla="*/ 6 w 30"/>
                  <a:gd name="T25" fmla="*/ 27 h 30"/>
                  <a:gd name="T26" fmla="*/ 3 w 30"/>
                  <a:gd name="T27" fmla="*/ 24 h 30"/>
                  <a:gd name="T28" fmla="*/ 1 w 30"/>
                  <a:gd name="T29" fmla="*/ 20 h 30"/>
                  <a:gd name="T30" fmla="*/ 0 w 30"/>
                  <a:gd name="T31" fmla="*/ 15 h 30"/>
                  <a:gd name="T32" fmla="*/ 1 w 30"/>
                  <a:gd name="T33" fmla="*/ 11 h 30"/>
                  <a:gd name="T34" fmla="*/ 3 w 30"/>
                  <a:gd name="T35" fmla="*/ 7 h 30"/>
                  <a:gd name="T36" fmla="*/ 6 w 30"/>
                  <a:gd name="T37" fmla="*/ 3 h 30"/>
                  <a:gd name="T38" fmla="*/ 11 w 30"/>
                  <a:gd name="T39" fmla="*/ 1 h 30"/>
                  <a:gd name="T40" fmla="*/ 15 w 30"/>
                  <a:gd name="T4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30">
                    <a:moveTo>
                      <a:pt x="15" y="0"/>
                    </a:moveTo>
                    <a:lnTo>
                      <a:pt x="20" y="1"/>
                    </a:lnTo>
                    <a:lnTo>
                      <a:pt x="24" y="3"/>
                    </a:lnTo>
                    <a:lnTo>
                      <a:pt x="27" y="7"/>
                    </a:lnTo>
                    <a:lnTo>
                      <a:pt x="30" y="11"/>
                    </a:lnTo>
                    <a:lnTo>
                      <a:pt x="30" y="15"/>
                    </a:lnTo>
                    <a:lnTo>
                      <a:pt x="30" y="20"/>
                    </a:lnTo>
                    <a:lnTo>
                      <a:pt x="27" y="24"/>
                    </a:lnTo>
                    <a:lnTo>
                      <a:pt x="24" y="27"/>
                    </a:lnTo>
                    <a:lnTo>
                      <a:pt x="20" y="30"/>
                    </a:lnTo>
                    <a:lnTo>
                      <a:pt x="15" y="30"/>
                    </a:lnTo>
                    <a:lnTo>
                      <a:pt x="11" y="30"/>
                    </a:lnTo>
                    <a:lnTo>
                      <a:pt x="6" y="27"/>
                    </a:lnTo>
                    <a:lnTo>
                      <a:pt x="3" y="24"/>
                    </a:lnTo>
                    <a:lnTo>
                      <a:pt x="1" y="20"/>
                    </a:lnTo>
                    <a:lnTo>
                      <a:pt x="0" y="15"/>
                    </a:lnTo>
                    <a:lnTo>
                      <a:pt x="1" y="11"/>
                    </a:lnTo>
                    <a:lnTo>
                      <a:pt x="3" y="7"/>
                    </a:lnTo>
                    <a:lnTo>
                      <a:pt x="6" y="3"/>
                    </a:lnTo>
                    <a:lnTo>
                      <a:pt x="11" y="1"/>
                    </a:lnTo>
                    <a:lnTo>
                      <a:pt x="15" y="0"/>
                    </a:lnTo>
                    <a:close/>
                  </a:path>
                </a:pathLst>
              </a:custGeom>
              <a:solidFill>
                <a:schemeClr val="accent5"/>
              </a:solidFill>
              <a:ln>
                <a:noFill/>
              </a:ln>
            </p:spPr>
            <p:txBody>
              <a:bodyPr/>
              <a:lstStyle/>
              <a:p>
                <a:endParaRPr lang="de-DE" dirty="0"/>
              </a:p>
            </p:txBody>
          </p:sp>
        </p:grpSp>
        <p:sp>
          <p:nvSpPr>
            <p:cNvPr id="1562" name="Textfeld 1561">
              <a:extLst>
                <a:ext uri="{FF2B5EF4-FFF2-40B4-BE49-F238E27FC236}">
                  <a16:creationId xmlns:a16="http://schemas.microsoft.com/office/drawing/2014/main" id="{A89AA882-1BAC-40ED-9B66-213BB26D9FD0}"/>
                </a:ext>
              </a:extLst>
            </p:cNvPr>
            <p:cNvSpPr txBox="1"/>
            <p:nvPr/>
          </p:nvSpPr>
          <p:spPr>
            <a:xfrm>
              <a:off x="5372148" y="6236712"/>
              <a:ext cx="576000" cy="195814"/>
            </a:xfrm>
            <a:prstGeom prst="rect">
              <a:avLst/>
            </a:prstGeom>
            <a:noFill/>
          </p:spPr>
          <p:txBody>
            <a:bodyPr wrap="square" lIns="0" tIns="0" rIns="0" bIns="0" rtlCol="0">
              <a:noAutofit/>
            </a:bodyPr>
            <a:lstStyle>
              <a:defPPr>
                <a:defRPr lang="en-US"/>
              </a:defPPr>
              <a:lvl1pPr algn="ctr">
                <a:defRPr sz="800">
                  <a:latin typeface="+mn-lt"/>
                </a:defRPr>
              </a:lvl1pPr>
            </a:lstStyle>
            <a:p>
              <a:r>
                <a:rPr lang="de-DE" dirty="0"/>
                <a:t>Register</a:t>
              </a:r>
            </a:p>
          </p:txBody>
        </p:sp>
        <p:cxnSp>
          <p:nvCxnSpPr>
            <p:cNvPr id="1563" name="Gerade Verbindung mit Pfeil 1562">
              <a:extLst>
                <a:ext uri="{FF2B5EF4-FFF2-40B4-BE49-F238E27FC236}">
                  <a16:creationId xmlns:a16="http://schemas.microsoft.com/office/drawing/2014/main" id="{B2324294-942D-4C26-A53C-FF6E7C932AA7}"/>
                </a:ext>
              </a:extLst>
            </p:cNvPr>
            <p:cNvCxnSpPr/>
            <p:nvPr/>
          </p:nvCxnSpPr>
          <p:spPr>
            <a:xfrm rot="5400000">
              <a:off x="5498148" y="5630453"/>
              <a:ext cx="324000" cy="0"/>
            </a:xfrm>
            <a:prstGeom prst="straightConnector1">
              <a:avLst/>
            </a:prstGeom>
            <a:ln w="38100">
              <a:solidFill>
                <a:schemeClr val="tx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1943" name="Rechteck 1942"/>
          <p:cNvSpPr/>
          <p:nvPr/>
        </p:nvSpPr>
        <p:spPr>
          <a:xfrm>
            <a:off x="3654806" y="2349762"/>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1944" name="Rechteck 1943"/>
          <p:cNvSpPr/>
          <p:nvPr/>
        </p:nvSpPr>
        <p:spPr>
          <a:xfrm>
            <a:off x="4916987" y="2349762"/>
            <a:ext cx="108000" cy="1092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cxnSp>
        <p:nvCxnSpPr>
          <p:cNvPr id="1947" name="Gerade Verbindung mit Pfeil 577">
            <a:extLst>
              <a:ext uri="{FF2B5EF4-FFF2-40B4-BE49-F238E27FC236}">
                <a16:creationId xmlns:a16="http://schemas.microsoft.com/office/drawing/2014/main" id="{38B0924C-20BE-4D8D-B469-468710F508FD}"/>
              </a:ext>
            </a:extLst>
          </p:cNvPr>
          <p:cNvCxnSpPr>
            <a:stCxn id="1944" idx="0"/>
            <a:endCxn id="1136" idx="6"/>
          </p:cNvCxnSpPr>
          <p:nvPr/>
        </p:nvCxnSpPr>
        <p:spPr>
          <a:xfrm rot="16200000" flipV="1">
            <a:off x="4672502" y="2051276"/>
            <a:ext cx="85801" cy="511171"/>
          </a:xfrm>
          <a:prstGeom prst="bentConnector2">
            <a:avLst/>
          </a:prstGeom>
          <a:ln w="28575">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6503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693210" y="2597645"/>
            <a:ext cx="1674000" cy="1673761"/>
          </a:xfrm>
          <a:prstGeom prst="rect">
            <a:avLst/>
          </a:prstGeom>
          <a:solidFill>
            <a:schemeClr val="accent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dirty="0">
              <a:solidFill>
                <a:schemeClr val="tx1"/>
              </a:solidFill>
            </a:endParaRPr>
          </a:p>
        </p:txBody>
      </p:sp>
      <p:graphicFrame>
        <p:nvGraphicFramePr>
          <p:cNvPr id="13" name="Objekt 12" hidden="1"/>
          <p:cNvGraphicFramePr>
            <a:graphicFrameLocks noChangeAspect="1"/>
          </p:cNvGraphicFramePr>
          <p:nvPr>
            <p:custDataLst>
              <p:tags r:id="rId1"/>
            </p:custDataLst>
            <p:extLst>
              <p:ext uri="{D42A27DB-BD31-4B8C-83A1-F6EECF244321}">
                <p14:modId xmlns:p14="http://schemas.microsoft.com/office/powerpoint/2010/main" val="1775786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278" imgH="278" progId="TCLayout.ActiveDocument.1">
                  <p:embed/>
                </p:oleObj>
              </mc:Choice>
              <mc:Fallback>
                <p:oleObj name="think-cell Folie" r:id="rId6" imgW="278" imgH="278" progId="TCLayout.ActiveDocument.1">
                  <p:embed/>
                  <p:pic>
                    <p:nvPicPr>
                      <p:cNvPr id="13" name="Objek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Beim Widerspruchsverfahren sollten hochstandardisierte Templates für Widerspruch-Formulare genutzt werden, die bei Bedarf auf den Kontext adaptiert werden können</a:t>
            </a:r>
          </a:p>
        </p:txBody>
      </p:sp>
      <p:sp>
        <p:nvSpPr>
          <p:cNvPr id="5" name="Foliennummernplatzhalter 4"/>
          <p:cNvSpPr>
            <a:spLocks noGrp="1"/>
          </p:cNvSpPr>
          <p:nvPr>
            <p:ph type="sldNum" sz="quarter" idx="12"/>
          </p:nvPr>
        </p:nvSpPr>
        <p:spPr/>
        <p:txBody>
          <a:bodyPr/>
          <a:lstStyle/>
          <a:p>
            <a:fld id="{D4A18DF9-8FF6-4BA5-BC52-5FB4772E2292}" type="slidenum">
              <a:rPr lang="de-DE" smtClean="0"/>
              <a:pPr/>
              <a:t>4</a:t>
            </a:fld>
            <a:endParaRPr lang="de-DE" dirty="0"/>
          </a:p>
        </p:txBody>
      </p:sp>
      <p:sp>
        <p:nvSpPr>
          <p:cNvPr id="6" name="Textplatzhalter 5"/>
          <p:cNvSpPr>
            <a:spLocks noGrp="1"/>
          </p:cNvSpPr>
          <p:nvPr>
            <p:ph type="body" sz="quarter" idx="14"/>
          </p:nvPr>
        </p:nvSpPr>
        <p:spPr/>
        <p:txBody>
          <a:bodyPr/>
          <a:lstStyle/>
          <a:p>
            <a:r>
              <a:rPr lang="de-DE" dirty="0"/>
              <a:t>Plattformbasierte Verwaltungsdigitalisierung</a:t>
            </a:r>
          </a:p>
        </p:txBody>
      </p:sp>
      <p:sp>
        <p:nvSpPr>
          <p:cNvPr id="7" name="Textplatzhalter 6"/>
          <p:cNvSpPr>
            <a:spLocks noGrp="1"/>
          </p:cNvSpPr>
          <p:nvPr>
            <p:ph type="body" sz="quarter" idx="13"/>
          </p:nvPr>
        </p:nvSpPr>
        <p:spPr/>
        <p:txBody>
          <a:bodyPr/>
          <a:lstStyle/>
          <a:p>
            <a:r>
              <a:rPr lang="de-DE" dirty="0"/>
              <a:t>Widerspruchsverfahren</a:t>
            </a:r>
          </a:p>
        </p:txBody>
      </p:sp>
      <p:sp>
        <p:nvSpPr>
          <p:cNvPr id="9" name="Inhaltsplatzhalter 1"/>
          <p:cNvSpPr txBox="1">
            <a:spLocks/>
          </p:cNvSpPr>
          <p:nvPr/>
        </p:nvSpPr>
        <p:spPr>
          <a:xfrm>
            <a:off x="2920181" y="1688994"/>
            <a:ext cx="8574229" cy="4464313"/>
          </a:xfrm>
          <a:prstGeom prst="rect">
            <a:avLst/>
          </a:prstGeom>
          <a:solidFill>
            <a:schemeClr val="bg1"/>
          </a:solidFill>
        </p:spPr>
        <p:txBody>
          <a:bodyPr anchor="ctr"/>
          <a:lstStyle>
            <a:lvl1pPr marL="27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1pPr>
            <a:lvl2pPr marL="54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2pPr>
            <a:lvl3pPr marL="81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3pPr>
            <a:lvl4pPr marL="108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buFont typeface="Wingdings" panose="05000000000000000000" pitchFamily="2" charset="2"/>
              <a:buChar char="§"/>
            </a:pPr>
            <a:r>
              <a:rPr lang="de-DE" sz="1300" dirty="0"/>
              <a:t>Die Umsetzung des Widerspruchsverfahren ist Teil des Reifegradmodells (Reifegrad 3) und somit Pflicht für die Umsetzungsprojekte. Insbesondere bei Sozialleistungen (und allen „zahlungsrelevanten Leistungen“) sollte die Einbindung eines Widerspruchsverfahrens prioritär umgesetzt werden (und nicht erst am Ende des Entwicklungszyklus eingeplant werden).</a:t>
            </a:r>
          </a:p>
          <a:p>
            <a:pPr>
              <a:buClr>
                <a:schemeClr val="accent2"/>
              </a:buClr>
              <a:buFont typeface="Wingdings" panose="05000000000000000000" pitchFamily="2" charset="2"/>
              <a:buChar char="§"/>
            </a:pPr>
            <a:r>
              <a:rPr lang="de-DE" sz="1300" dirty="0"/>
              <a:t>Dabei gilt es zu beachten, dass je nach Verortung der Ausgangsbehörde des zugrundliegenden Bescheids ein Widerspruchsverfahren gar nicht möglich ist (Beispiel, in HE ist die Ausgangsbehörde eine oberste Landesbehörde, dann gibt es hier kein Widerspruchsverfahren, lediglich der Klageweg ist der statthafte Rechtsbehelf.</a:t>
            </a:r>
          </a:p>
          <a:p>
            <a:pPr>
              <a:buClr>
                <a:schemeClr val="accent2"/>
              </a:buClr>
              <a:buFont typeface="Wingdings" panose="05000000000000000000" pitchFamily="2" charset="2"/>
              <a:buChar char="§"/>
            </a:pPr>
            <a:r>
              <a:rPr lang="de-DE" sz="1300" dirty="0"/>
              <a:t>Neben Widerspruch und Klage ist der einstweilige Rechtsschutz ein zentraler Rechtsmittelbehelf. Dieser ist immer zulässig, wenn eine Behörde den Bescheid als sofort vollziehbar erklärt hat oder die sofortige Vollziehbarkeit sich aus dem Gesetz ergibt. (Wegfall der aufschiebenden Wirkung, siehe  § 80 Abs. 2 und 4 VwGO).</a:t>
            </a:r>
          </a:p>
          <a:p>
            <a:pPr>
              <a:buClr>
                <a:schemeClr val="accent2"/>
              </a:buClr>
              <a:buFont typeface="Wingdings" panose="05000000000000000000" pitchFamily="2" charset="2"/>
              <a:buChar char="§"/>
            </a:pPr>
            <a:r>
              <a:rPr lang="de-DE" sz="1300" dirty="0"/>
              <a:t>Technisch empfiehlt sich, für jede Verwaltungsleistung ein Online-Formular für den Widerspruch zu erstellen. Dies reduziert die Komplexität im Vergleich zu einem integrierten, </a:t>
            </a:r>
            <a:r>
              <a:rPr lang="de-DE" sz="1300" dirty="0" err="1"/>
              <a:t>querschnittlichen</a:t>
            </a:r>
            <a:r>
              <a:rPr lang="de-DE" sz="1300" dirty="0"/>
              <a:t> Widerspruchsdienst.</a:t>
            </a:r>
          </a:p>
          <a:p>
            <a:pPr>
              <a:buClr>
                <a:schemeClr val="accent2"/>
              </a:buClr>
              <a:buFont typeface="Wingdings" panose="05000000000000000000" pitchFamily="2" charset="2"/>
              <a:buChar char="§"/>
            </a:pPr>
            <a:r>
              <a:rPr lang="de-DE" sz="1300" dirty="0"/>
              <a:t>Für das Widerspruchsverfahren sollte, wie für alle anderen Verrichtung einer Verwaltungsleistung, durch den Online-Dienst die Möglichkeit zur Anbindung eines Rückkanals (Einverständnis zur elektronischen Bescheidung, Übernahme Postkorb-Handle aus dem Konto) sichergestellt werden.</a:t>
            </a:r>
          </a:p>
          <a:p>
            <a:pPr>
              <a:buClr>
                <a:schemeClr val="accent2"/>
              </a:buClr>
              <a:buFont typeface="Wingdings" panose="05000000000000000000" pitchFamily="2" charset="2"/>
              <a:buChar char="§"/>
            </a:pPr>
            <a:r>
              <a:rPr lang="de-DE" sz="1300" dirty="0"/>
              <a:t>Aufgrund der Schriftformerfordernis empfiehlt sich die Nutzung der </a:t>
            </a:r>
            <a:r>
              <a:rPr lang="de-DE" sz="1300" dirty="0" err="1"/>
              <a:t>bundID</a:t>
            </a:r>
            <a:r>
              <a:rPr lang="de-DE" sz="1300" dirty="0"/>
              <a:t> mit den VN-Mittel </a:t>
            </a:r>
            <a:r>
              <a:rPr lang="de-DE" sz="1300" dirty="0" err="1"/>
              <a:t>nPA</a:t>
            </a:r>
            <a:r>
              <a:rPr lang="de-DE" sz="1300" dirty="0"/>
              <a:t> (siehe Empfehlungen für die Zuordnung von Vertrauensniveaus in der Kommunikation zwischen Verwaltung und Bürgerinnen und Bürgern)</a:t>
            </a:r>
          </a:p>
          <a:p>
            <a:pPr>
              <a:buClr>
                <a:schemeClr val="accent2"/>
              </a:buClr>
              <a:buFont typeface="Wingdings" panose="05000000000000000000" pitchFamily="2" charset="2"/>
              <a:buChar char="§"/>
            </a:pPr>
            <a:r>
              <a:rPr lang="de-DE" sz="1300" dirty="0"/>
              <a:t>Für den Rückkanal (die effektive elektronische Bescheidung des Widerspruchbescheids) und dessen Anbindung ist die angebundene, nachnutzende Behörde  zuständig.</a:t>
            </a:r>
          </a:p>
        </p:txBody>
      </p:sp>
      <p:sp>
        <p:nvSpPr>
          <p:cNvPr id="37" name="Rahmen">
            <a:extLst>
              <a:ext uri="{FF2B5EF4-FFF2-40B4-BE49-F238E27FC236}">
                <a16:creationId xmlns:a16="http://schemas.microsoft.com/office/drawing/2014/main" id="{12A524A8-D367-4717-963A-1FC487F27007}"/>
              </a:ext>
            </a:extLst>
          </p:cNvPr>
          <p:cNvSpPr/>
          <p:nvPr>
            <p:custDataLst>
              <p:tags r:id="rId2"/>
            </p:custDataLst>
          </p:nvPr>
        </p:nvSpPr>
        <p:spPr>
          <a:xfrm>
            <a:off x="2920181" y="1622047"/>
            <a:ext cx="8581523" cy="246726"/>
          </a:xfrm>
          <a:custGeom>
            <a:avLst/>
            <a:gdLst>
              <a:gd name="connsiteX0" fmla="*/ 0 w 9753600"/>
              <a:gd name="connsiteY0" fmla="*/ 74676000 h 74777600"/>
              <a:gd name="connsiteX1" fmla="*/ 0 w 9753600"/>
              <a:gd name="connsiteY1" fmla="*/ 0 h 74777600"/>
              <a:gd name="connsiteX2" fmla="*/ 9753600 w 9753600"/>
              <a:gd name="connsiteY2" fmla="*/ 0 h 74777600"/>
              <a:gd name="connsiteX3" fmla="*/ 9753600 w 9753600"/>
              <a:gd name="connsiteY3" fmla="*/ 74777600 h 74777600"/>
            </a:gdLst>
            <a:ahLst/>
            <a:cxnLst>
              <a:cxn ang="0">
                <a:pos x="connsiteX0" y="connsiteY0"/>
              </a:cxn>
              <a:cxn ang="0">
                <a:pos x="connsiteX1" y="connsiteY1"/>
              </a:cxn>
              <a:cxn ang="0">
                <a:pos x="connsiteX2" y="connsiteY2"/>
              </a:cxn>
              <a:cxn ang="0">
                <a:pos x="connsiteX3" y="connsiteY3"/>
              </a:cxn>
            </a:cxnLst>
            <a:rect l="l" t="t" r="r" b="b"/>
            <a:pathLst>
              <a:path w="9753600" h="74777600">
                <a:moveTo>
                  <a:pt x="0" y="74676000"/>
                </a:moveTo>
                <a:lnTo>
                  <a:pt x="0" y="0"/>
                </a:lnTo>
                <a:lnTo>
                  <a:pt x="9753600" y="0"/>
                </a:lnTo>
                <a:lnTo>
                  <a:pt x="9753600" y="74777600"/>
                </a:lnTo>
              </a:path>
            </a:pathLst>
          </a:custGeom>
          <a:noFill/>
          <a:ln w="19050"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38" name="Rahmen">
            <a:extLst>
              <a:ext uri="{FF2B5EF4-FFF2-40B4-BE49-F238E27FC236}">
                <a16:creationId xmlns:a16="http://schemas.microsoft.com/office/drawing/2014/main" id="{3DAEB92D-EA82-42CC-959C-80846FA73F75}"/>
              </a:ext>
            </a:extLst>
          </p:cNvPr>
          <p:cNvSpPr/>
          <p:nvPr>
            <p:custDataLst>
              <p:tags r:id="rId3"/>
            </p:custDataLst>
          </p:nvPr>
        </p:nvSpPr>
        <p:spPr>
          <a:xfrm>
            <a:off x="2920181" y="6128981"/>
            <a:ext cx="8566935" cy="182546"/>
          </a:xfrm>
          <a:custGeom>
            <a:avLst/>
            <a:gdLst>
              <a:gd name="connsiteX0" fmla="*/ 0 w 31800800"/>
              <a:gd name="connsiteY0" fmla="*/ 0 h 70205600"/>
              <a:gd name="connsiteX1" fmla="*/ 0 w 31800800"/>
              <a:gd name="connsiteY1" fmla="*/ 70205600 h 70205600"/>
              <a:gd name="connsiteX2" fmla="*/ 31800800 w 31800800"/>
              <a:gd name="connsiteY2" fmla="*/ 70205600 h 70205600"/>
              <a:gd name="connsiteX3" fmla="*/ 31800800 w 31800800"/>
              <a:gd name="connsiteY3" fmla="*/ 0 h 70205600"/>
            </a:gdLst>
            <a:ahLst/>
            <a:cxnLst>
              <a:cxn ang="0">
                <a:pos x="connsiteX0" y="connsiteY0"/>
              </a:cxn>
              <a:cxn ang="0">
                <a:pos x="connsiteX1" y="connsiteY1"/>
              </a:cxn>
              <a:cxn ang="0">
                <a:pos x="connsiteX2" y="connsiteY2"/>
              </a:cxn>
              <a:cxn ang="0">
                <a:pos x="connsiteX3" y="connsiteY3"/>
              </a:cxn>
            </a:cxnLst>
            <a:rect l="l" t="t" r="r" b="b"/>
            <a:pathLst>
              <a:path w="31800800" h="70205600">
                <a:moveTo>
                  <a:pt x="0" y="0"/>
                </a:moveTo>
                <a:lnTo>
                  <a:pt x="0" y="70205600"/>
                </a:lnTo>
                <a:lnTo>
                  <a:pt x="31800800" y="70205600"/>
                </a:lnTo>
                <a:lnTo>
                  <a:pt x="31800800" y="0"/>
                </a:lnTo>
              </a:path>
            </a:pathLst>
          </a:custGeom>
          <a:noFill/>
          <a:ln w="1587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grpSp>
        <p:nvGrpSpPr>
          <p:cNvPr id="15" name="Gruppieren 14">
            <a:extLst>
              <a:ext uri="{FF2B5EF4-FFF2-40B4-BE49-F238E27FC236}">
                <a16:creationId xmlns:a16="http://schemas.microsoft.com/office/drawing/2014/main" id="{65744B97-6F93-462E-8204-A0A53C614B45}"/>
              </a:ext>
            </a:extLst>
          </p:cNvPr>
          <p:cNvGrpSpPr>
            <a:grpSpLocks noChangeAspect="1"/>
          </p:cNvGrpSpPr>
          <p:nvPr/>
        </p:nvGrpSpPr>
        <p:grpSpPr>
          <a:xfrm>
            <a:off x="1073930" y="2999889"/>
            <a:ext cx="912569" cy="869261"/>
            <a:chOff x="796202" y="1133839"/>
            <a:chExt cx="609601" cy="580671"/>
          </a:xfrm>
          <a:solidFill>
            <a:schemeClr val="bg1"/>
          </a:solidFill>
        </p:grpSpPr>
        <p:grpSp>
          <p:nvGrpSpPr>
            <p:cNvPr id="16" name="noun_project_00296.eps">
              <a:extLst>
                <a:ext uri="{FF2B5EF4-FFF2-40B4-BE49-F238E27FC236}">
                  <a16:creationId xmlns:a16="http://schemas.microsoft.com/office/drawing/2014/main" id="{26DE7EA3-8E73-4E73-880A-8E50A5A2359F}"/>
                </a:ext>
              </a:extLst>
            </p:cNvPr>
            <p:cNvGrpSpPr>
              <a:grpSpLocks/>
            </p:cNvGrpSpPr>
            <p:nvPr/>
          </p:nvGrpSpPr>
          <p:grpSpPr bwMode="auto">
            <a:xfrm>
              <a:off x="796202" y="1276359"/>
              <a:ext cx="609601" cy="438151"/>
              <a:chOff x="722" y="3058"/>
              <a:chExt cx="384" cy="276"/>
            </a:xfrm>
            <a:grpFill/>
          </p:grpSpPr>
          <p:sp>
            <p:nvSpPr>
              <p:cNvPr id="22" name="Freeform 421">
                <a:extLst>
                  <a:ext uri="{FF2B5EF4-FFF2-40B4-BE49-F238E27FC236}">
                    <a16:creationId xmlns:a16="http://schemas.microsoft.com/office/drawing/2014/main" id="{DD4855E0-43D3-4388-AAD1-7ECCB799F252}"/>
                  </a:ext>
                </a:extLst>
              </p:cNvPr>
              <p:cNvSpPr>
                <a:spLocks/>
              </p:cNvSpPr>
              <p:nvPr/>
            </p:nvSpPr>
            <p:spPr bwMode="auto">
              <a:xfrm>
                <a:off x="925" y="3207"/>
                <a:ext cx="181" cy="127"/>
              </a:xfrm>
              <a:custGeom>
                <a:avLst/>
                <a:gdLst>
                  <a:gd name="T0" fmla="*/ 196 w 1631"/>
                  <a:gd name="T1" fmla="*/ 0 h 1146"/>
                  <a:gd name="T2" fmla="*/ 622 w 1631"/>
                  <a:gd name="T3" fmla="*/ 426 h 1146"/>
                  <a:gd name="T4" fmla="*/ 648 w 1631"/>
                  <a:gd name="T5" fmla="*/ 451 h 1146"/>
                  <a:gd name="T6" fmla="*/ 674 w 1631"/>
                  <a:gd name="T7" fmla="*/ 476 h 1146"/>
                  <a:gd name="T8" fmla="*/ 702 w 1631"/>
                  <a:gd name="T9" fmla="*/ 502 h 1146"/>
                  <a:gd name="T10" fmla="*/ 732 w 1631"/>
                  <a:gd name="T11" fmla="*/ 529 h 1146"/>
                  <a:gd name="T12" fmla="*/ 765 w 1631"/>
                  <a:gd name="T13" fmla="*/ 555 h 1146"/>
                  <a:gd name="T14" fmla="*/ 799 w 1631"/>
                  <a:gd name="T15" fmla="*/ 580 h 1146"/>
                  <a:gd name="T16" fmla="*/ 835 w 1631"/>
                  <a:gd name="T17" fmla="*/ 602 h 1146"/>
                  <a:gd name="T18" fmla="*/ 873 w 1631"/>
                  <a:gd name="T19" fmla="*/ 622 h 1146"/>
                  <a:gd name="T20" fmla="*/ 913 w 1631"/>
                  <a:gd name="T21" fmla="*/ 638 h 1146"/>
                  <a:gd name="T22" fmla="*/ 954 w 1631"/>
                  <a:gd name="T23" fmla="*/ 651 h 1146"/>
                  <a:gd name="T24" fmla="*/ 998 w 1631"/>
                  <a:gd name="T25" fmla="*/ 659 h 1146"/>
                  <a:gd name="T26" fmla="*/ 1043 w 1631"/>
                  <a:gd name="T27" fmla="*/ 662 h 1146"/>
                  <a:gd name="T28" fmla="*/ 1182 w 1631"/>
                  <a:gd name="T29" fmla="*/ 662 h 1146"/>
                  <a:gd name="T30" fmla="*/ 1182 w 1631"/>
                  <a:gd name="T31" fmla="*/ 455 h 1146"/>
                  <a:gd name="T32" fmla="*/ 1451 w 1631"/>
                  <a:gd name="T33" fmla="*/ 662 h 1146"/>
                  <a:gd name="T34" fmla="*/ 1631 w 1631"/>
                  <a:gd name="T35" fmla="*/ 801 h 1146"/>
                  <a:gd name="T36" fmla="*/ 1451 w 1631"/>
                  <a:gd name="T37" fmla="*/ 939 h 1146"/>
                  <a:gd name="T38" fmla="*/ 1182 w 1631"/>
                  <a:gd name="T39" fmla="*/ 1146 h 1146"/>
                  <a:gd name="T40" fmla="*/ 1182 w 1631"/>
                  <a:gd name="T41" fmla="*/ 939 h 1146"/>
                  <a:gd name="T42" fmla="*/ 1043 w 1631"/>
                  <a:gd name="T43" fmla="*/ 939 h 1146"/>
                  <a:gd name="T44" fmla="*/ 985 w 1631"/>
                  <a:gd name="T45" fmla="*/ 936 h 1146"/>
                  <a:gd name="T46" fmla="*/ 928 w 1631"/>
                  <a:gd name="T47" fmla="*/ 928 h 1146"/>
                  <a:gd name="T48" fmla="*/ 875 w 1631"/>
                  <a:gd name="T49" fmla="*/ 916 h 1146"/>
                  <a:gd name="T50" fmla="*/ 824 w 1631"/>
                  <a:gd name="T51" fmla="*/ 900 h 1146"/>
                  <a:gd name="T52" fmla="*/ 775 w 1631"/>
                  <a:gd name="T53" fmla="*/ 881 h 1146"/>
                  <a:gd name="T54" fmla="*/ 729 w 1631"/>
                  <a:gd name="T55" fmla="*/ 859 h 1146"/>
                  <a:gd name="T56" fmla="*/ 685 w 1631"/>
                  <a:gd name="T57" fmla="*/ 834 h 1146"/>
                  <a:gd name="T58" fmla="*/ 644 w 1631"/>
                  <a:gd name="T59" fmla="*/ 808 h 1146"/>
                  <a:gd name="T60" fmla="*/ 606 w 1631"/>
                  <a:gd name="T61" fmla="*/ 781 h 1146"/>
                  <a:gd name="T62" fmla="*/ 570 w 1631"/>
                  <a:gd name="T63" fmla="*/ 752 h 1146"/>
                  <a:gd name="T64" fmla="*/ 537 w 1631"/>
                  <a:gd name="T65" fmla="*/ 725 h 1146"/>
                  <a:gd name="T66" fmla="*/ 505 w 1631"/>
                  <a:gd name="T67" fmla="*/ 697 h 1146"/>
                  <a:gd name="T68" fmla="*/ 477 w 1631"/>
                  <a:gd name="T69" fmla="*/ 670 h 1146"/>
                  <a:gd name="T70" fmla="*/ 451 w 1631"/>
                  <a:gd name="T71" fmla="*/ 645 h 1146"/>
                  <a:gd name="T72" fmla="*/ 428 w 1631"/>
                  <a:gd name="T73" fmla="*/ 622 h 1146"/>
                  <a:gd name="T74" fmla="*/ 0 w 1631"/>
                  <a:gd name="T75" fmla="*/ 196 h 1146"/>
                  <a:gd name="T76" fmla="*/ 196 w 1631"/>
                  <a:gd name="T7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1" h="1146">
                    <a:moveTo>
                      <a:pt x="196" y="0"/>
                    </a:moveTo>
                    <a:lnTo>
                      <a:pt x="622" y="426"/>
                    </a:lnTo>
                    <a:lnTo>
                      <a:pt x="648" y="451"/>
                    </a:lnTo>
                    <a:lnTo>
                      <a:pt x="674" y="476"/>
                    </a:lnTo>
                    <a:lnTo>
                      <a:pt x="702" y="502"/>
                    </a:lnTo>
                    <a:lnTo>
                      <a:pt x="732" y="529"/>
                    </a:lnTo>
                    <a:lnTo>
                      <a:pt x="765" y="555"/>
                    </a:lnTo>
                    <a:lnTo>
                      <a:pt x="799" y="580"/>
                    </a:lnTo>
                    <a:lnTo>
                      <a:pt x="835" y="602"/>
                    </a:lnTo>
                    <a:lnTo>
                      <a:pt x="873" y="622"/>
                    </a:lnTo>
                    <a:lnTo>
                      <a:pt x="913" y="638"/>
                    </a:lnTo>
                    <a:lnTo>
                      <a:pt x="954" y="651"/>
                    </a:lnTo>
                    <a:lnTo>
                      <a:pt x="998" y="659"/>
                    </a:lnTo>
                    <a:lnTo>
                      <a:pt x="1043" y="662"/>
                    </a:lnTo>
                    <a:lnTo>
                      <a:pt x="1182" y="662"/>
                    </a:lnTo>
                    <a:lnTo>
                      <a:pt x="1182" y="455"/>
                    </a:lnTo>
                    <a:lnTo>
                      <a:pt x="1451" y="662"/>
                    </a:lnTo>
                    <a:lnTo>
                      <a:pt x="1631" y="801"/>
                    </a:lnTo>
                    <a:lnTo>
                      <a:pt x="1451" y="939"/>
                    </a:lnTo>
                    <a:lnTo>
                      <a:pt x="1182" y="1146"/>
                    </a:lnTo>
                    <a:lnTo>
                      <a:pt x="1182" y="939"/>
                    </a:lnTo>
                    <a:lnTo>
                      <a:pt x="1043" y="939"/>
                    </a:lnTo>
                    <a:lnTo>
                      <a:pt x="985" y="936"/>
                    </a:lnTo>
                    <a:lnTo>
                      <a:pt x="928" y="928"/>
                    </a:lnTo>
                    <a:lnTo>
                      <a:pt x="875" y="916"/>
                    </a:lnTo>
                    <a:lnTo>
                      <a:pt x="824" y="900"/>
                    </a:lnTo>
                    <a:lnTo>
                      <a:pt x="775" y="881"/>
                    </a:lnTo>
                    <a:lnTo>
                      <a:pt x="729" y="859"/>
                    </a:lnTo>
                    <a:lnTo>
                      <a:pt x="685" y="834"/>
                    </a:lnTo>
                    <a:lnTo>
                      <a:pt x="644" y="808"/>
                    </a:lnTo>
                    <a:lnTo>
                      <a:pt x="606" y="781"/>
                    </a:lnTo>
                    <a:lnTo>
                      <a:pt x="570" y="752"/>
                    </a:lnTo>
                    <a:lnTo>
                      <a:pt x="537" y="725"/>
                    </a:lnTo>
                    <a:lnTo>
                      <a:pt x="505" y="697"/>
                    </a:lnTo>
                    <a:lnTo>
                      <a:pt x="477" y="670"/>
                    </a:lnTo>
                    <a:lnTo>
                      <a:pt x="451" y="645"/>
                    </a:lnTo>
                    <a:lnTo>
                      <a:pt x="428" y="622"/>
                    </a:lnTo>
                    <a:lnTo>
                      <a:pt x="0" y="196"/>
                    </a:lnTo>
                    <a:lnTo>
                      <a:pt x="19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3" name="Freeform 422">
                <a:extLst>
                  <a:ext uri="{FF2B5EF4-FFF2-40B4-BE49-F238E27FC236}">
                    <a16:creationId xmlns:a16="http://schemas.microsoft.com/office/drawing/2014/main" id="{A405BAE6-7593-4764-BBDB-F735B556D419}"/>
                  </a:ext>
                </a:extLst>
              </p:cNvPr>
              <p:cNvSpPr>
                <a:spLocks/>
              </p:cNvSpPr>
              <p:nvPr/>
            </p:nvSpPr>
            <p:spPr bwMode="auto">
              <a:xfrm>
                <a:off x="722" y="3081"/>
                <a:ext cx="181" cy="104"/>
              </a:xfrm>
              <a:custGeom>
                <a:avLst/>
                <a:gdLst>
                  <a:gd name="T0" fmla="*/ 0 w 1631"/>
                  <a:gd name="T1" fmla="*/ 0 h 938"/>
                  <a:gd name="T2" fmla="*/ 588 w 1631"/>
                  <a:gd name="T3" fmla="*/ 0 h 938"/>
                  <a:gd name="T4" fmla="*/ 646 w 1631"/>
                  <a:gd name="T5" fmla="*/ 2 h 938"/>
                  <a:gd name="T6" fmla="*/ 703 w 1631"/>
                  <a:gd name="T7" fmla="*/ 9 h 938"/>
                  <a:gd name="T8" fmla="*/ 756 w 1631"/>
                  <a:gd name="T9" fmla="*/ 22 h 938"/>
                  <a:gd name="T10" fmla="*/ 807 w 1631"/>
                  <a:gd name="T11" fmla="*/ 38 h 938"/>
                  <a:gd name="T12" fmla="*/ 856 w 1631"/>
                  <a:gd name="T13" fmla="*/ 58 h 938"/>
                  <a:gd name="T14" fmla="*/ 902 w 1631"/>
                  <a:gd name="T15" fmla="*/ 80 h 938"/>
                  <a:gd name="T16" fmla="*/ 946 w 1631"/>
                  <a:gd name="T17" fmla="*/ 104 h 938"/>
                  <a:gd name="T18" fmla="*/ 987 w 1631"/>
                  <a:gd name="T19" fmla="*/ 130 h 938"/>
                  <a:gd name="T20" fmla="*/ 1025 w 1631"/>
                  <a:gd name="T21" fmla="*/ 157 h 938"/>
                  <a:gd name="T22" fmla="*/ 1061 w 1631"/>
                  <a:gd name="T23" fmla="*/ 185 h 938"/>
                  <a:gd name="T24" fmla="*/ 1094 w 1631"/>
                  <a:gd name="T25" fmla="*/ 214 h 938"/>
                  <a:gd name="T26" fmla="*/ 1126 w 1631"/>
                  <a:gd name="T27" fmla="*/ 241 h 938"/>
                  <a:gd name="T28" fmla="*/ 1154 w 1631"/>
                  <a:gd name="T29" fmla="*/ 268 h 938"/>
                  <a:gd name="T30" fmla="*/ 1180 w 1631"/>
                  <a:gd name="T31" fmla="*/ 293 h 938"/>
                  <a:gd name="T32" fmla="*/ 1203 w 1631"/>
                  <a:gd name="T33" fmla="*/ 316 h 938"/>
                  <a:gd name="T34" fmla="*/ 1631 w 1631"/>
                  <a:gd name="T35" fmla="*/ 743 h 938"/>
                  <a:gd name="T36" fmla="*/ 1435 w 1631"/>
                  <a:gd name="T37" fmla="*/ 938 h 938"/>
                  <a:gd name="T38" fmla="*/ 1009 w 1631"/>
                  <a:gd name="T39" fmla="*/ 512 h 938"/>
                  <a:gd name="T40" fmla="*/ 983 w 1631"/>
                  <a:gd name="T41" fmla="*/ 488 h 938"/>
                  <a:gd name="T42" fmla="*/ 957 w 1631"/>
                  <a:gd name="T43" fmla="*/ 462 h 938"/>
                  <a:gd name="T44" fmla="*/ 929 w 1631"/>
                  <a:gd name="T45" fmla="*/ 436 h 938"/>
                  <a:gd name="T46" fmla="*/ 899 w 1631"/>
                  <a:gd name="T47" fmla="*/ 409 h 938"/>
                  <a:gd name="T48" fmla="*/ 866 w 1631"/>
                  <a:gd name="T49" fmla="*/ 383 h 938"/>
                  <a:gd name="T50" fmla="*/ 832 w 1631"/>
                  <a:gd name="T51" fmla="*/ 359 h 938"/>
                  <a:gd name="T52" fmla="*/ 796 w 1631"/>
                  <a:gd name="T53" fmla="*/ 336 h 938"/>
                  <a:gd name="T54" fmla="*/ 758 w 1631"/>
                  <a:gd name="T55" fmla="*/ 316 h 938"/>
                  <a:gd name="T56" fmla="*/ 718 w 1631"/>
                  <a:gd name="T57" fmla="*/ 299 h 938"/>
                  <a:gd name="T58" fmla="*/ 677 w 1631"/>
                  <a:gd name="T59" fmla="*/ 287 h 938"/>
                  <a:gd name="T60" fmla="*/ 633 w 1631"/>
                  <a:gd name="T61" fmla="*/ 278 h 938"/>
                  <a:gd name="T62" fmla="*/ 588 w 1631"/>
                  <a:gd name="T63" fmla="*/ 276 h 938"/>
                  <a:gd name="T64" fmla="*/ 0 w 1631"/>
                  <a:gd name="T65" fmla="*/ 276 h 938"/>
                  <a:gd name="T66" fmla="*/ 0 w 1631"/>
                  <a:gd name="T6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1" h="938">
                    <a:moveTo>
                      <a:pt x="0" y="0"/>
                    </a:moveTo>
                    <a:lnTo>
                      <a:pt x="588" y="0"/>
                    </a:lnTo>
                    <a:lnTo>
                      <a:pt x="646" y="2"/>
                    </a:lnTo>
                    <a:lnTo>
                      <a:pt x="703" y="9"/>
                    </a:lnTo>
                    <a:lnTo>
                      <a:pt x="756" y="22"/>
                    </a:lnTo>
                    <a:lnTo>
                      <a:pt x="807" y="38"/>
                    </a:lnTo>
                    <a:lnTo>
                      <a:pt x="856" y="58"/>
                    </a:lnTo>
                    <a:lnTo>
                      <a:pt x="902" y="80"/>
                    </a:lnTo>
                    <a:lnTo>
                      <a:pt x="946" y="104"/>
                    </a:lnTo>
                    <a:lnTo>
                      <a:pt x="987" y="130"/>
                    </a:lnTo>
                    <a:lnTo>
                      <a:pt x="1025" y="157"/>
                    </a:lnTo>
                    <a:lnTo>
                      <a:pt x="1061" y="185"/>
                    </a:lnTo>
                    <a:lnTo>
                      <a:pt x="1094" y="214"/>
                    </a:lnTo>
                    <a:lnTo>
                      <a:pt x="1126" y="241"/>
                    </a:lnTo>
                    <a:lnTo>
                      <a:pt x="1154" y="268"/>
                    </a:lnTo>
                    <a:lnTo>
                      <a:pt x="1180" y="293"/>
                    </a:lnTo>
                    <a:lnTo>
                      <a:pt x="1203" y="316"/>
                    </a:lnTo>
                    <a:lnTo>
                      <a:pt x="1631" y="743"/>
                    </a:lnTo>
                    <a:lnTo>
                      <a:pt x="1435" y="938"/>
                    </a:lnTo>
                    <a:lnTo>
                      <a:pt x="1009" y="512"/>
                    </a:lnTo>
                    <a:lnTo>
                      <a:pt x="983" y="488"/>
                    </a:lnTo>
                    <a:lnTo>
                      <a:pt x="957" y="462"/>
                    </a:lnTo>
                    <a:lnTo>
                      <a:pt x="929" y="436"/>
                    </a:lnTo>
                    <a:lnTo>
                      <a:pt x="899" y="409"/>
                    </a:lnTo>
                    <a:lnTo>
                      <a:pt x="866" y="383"/>
                    </a:lnTo>
                    <a:lnTo>
                      <a:pt x="832" y="359"/>
                    </a:lnTo>
                    <a:lnTo>
                      <a:pt x="796" y="336"/>
                    </a:lnTo>
                    <a:lnTo>
                      <a:pt x="758" y="316"/>
                    </a:lnTo>
                    <a:lnTo>
                      <a:pt x="718" y="299"/>
                    </a:lnTo>
                    <a:lnTo>
                      <a:pt x="677" y="287"/>
                    </a:lnTo>
                    <a:lnTo>
                      <a:pt x="633" y="278"/>
                    </a:lnTo>
                    <a:lnTo>
                      <a:pt x="588" y="276"/>
                    </a:lnTo>
                    <a:lnTo>
                      <a:pt x="0" y="276"/>
                    </a:lnTo>
                    <a:lnTo>
                      <a:pt x="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4" name="Freeform 423">
                <a:extLst>
                  <a:ext uri="{FF2B5EF4-FFF2-40B4-BE49-F238E27FC236}">
                    <a16:creationId xmlns:a16="http://schemas.microsoft.com/office/drawing/2014/main" id="{095EE9AD-114D-496A-8376-106EEBDCBD6C}"/>
                  </a:ext>
                </a:extLst>
              </p:cNvPr>
              <p:cNvSpPr>
                <a:spLocks/>
              </p:cNvSpPr>
              <p:nvPr/>
            </p:nvSpPr>
            <p:spPr bwMode="auto">
              <a:xfrm>
                <a:off x="722" y="3058"/>
                <a:ext cx="384" cy="253"/>
              </a:xfrm>
              <a:custGeom>
                <a:avLst/>
                <a:gdLst>
                  <a:gd name="T0" fmla="*/ 3007 w 3456"/>
                  <a:gd name="T1" fmla="*/ 0 h 2280"/>
                  <a:gd name="T2" fmla="*/ 3456 w 3456"/>
                  <a:gd name="T3" fmla="*/ 345 h 2280"/>
                  <a:gd name="T4" fmla="*/ 3007 w 3456"/>
                  <a:gd name="T5" fmla="*/ 691 h 2280"/>
                  <a:gd name="T6" fmla="*/ 2868 w 3456"/>
                  <a:gd name="T7" fmla="*/ 483 h 2280"/>
                  <a:gd name="T8" fmla="*/ 2779 w 3456"/>
                  <a:gd name="T9" fmla="*/ 494 h 2280"/>
                  <a:gd name="T10" fmla="*/ 2698 w 3456"/>
                  <a:gd name="T11" fmla="*/ 523 h 2280"/>
                  <a:gd name="T12" fmla="*/ 2624 w 3456"/>
                  <a:gd name="T13" fmla="*/ 566 h 2280"/>
                  <a:gd name="T14" fmla="*/ 2557 w 3456"/>
                  <a:gd name="T15" fmla="*/ 616 h 2280"/>
                  <a:gd name="T16" fmla="*/ 2499 w 3456"/>
                  <a:gd name="T17" fmla="*/ 669 h 2280"/>
                  <a:gd name="T18" fmla="*/ 2447 w 3456"/>
                  <a:gd name="T19" fmla="*/ 719 h 2280"/>
                  <a:gd name="T20" fmla="*/ 1180 w 3456"/>
                  <a:gd name="T21" fmla="*/ 1986 h 2280"/>
                  <a:gd name="T22" fmla="*/ 1126 w 3456"/>
                  <a:gd name="T23" fmla="*/ 2038 h 2280"/>
                  <a:gd name="T24" fmla="*/ 1061 w 3456"/>
                  <a:gd name="T25" fmla="*/ 2093 h 2280"/>
                  <a:gd name="T26" fmla="*/ 987 w 3456"/>
                  <a:gd name="T27" fmla="*/ 2149 h 2280"/>
                  <a:gd name="T28" fmla="*/ 902 w 3456"/>
                  <a:gd name="T29" fmla="*/ 2200 h 2280"/>
                  <a:gd name="T30" fmla="*/ 807 w 3456"/>
                  <a:gd name="T31" fmla="*/ 2241 h 2280"/>
                  <a:gd name="T32" fmla="*/ 703 w 3456"/>
                  <a:gd name="T33" fmla="*/ 2269 h 2280"/>
                  <a:gd name="T34" fmla="*/ 588 w 3456"/>
                  <a:gd name="T35" fmla="*/ 2280 h 2280"/>
                  <a:gd name="T36" fmla="*/ 0 w 3456"/>
                  <a:gd name="T37" fmla="*/ 2003 h 2280"/>
                  <a:gd name="T38" fmla="*/ 633 w 3456"/>
                  <a:gd name="T39" fmla="*/ 2000 h 2280"/>
                  <a:gd name="T40" fmla="*/ 718 w 3456"/>
                  <a:gd name="T41" fmla="*/ 1979 h 2280"/>
                  <a:gd name="T42" fmla="*/ 796 w 3456"/>
                  <a:gd name="T43" fmla="*/ 1943 h 2280"/>
                  <a:gd name="T44" fmla="*/ 866 w 3456"/>
                  <a:gd name="T45" fmla="*/ 1896 h 2280"/>
                  <a:gd name="T46" fmla="*/ 929 w 3456"/>
                  <a:gd name="T47" fmla="*/ 1843 h 2280"/>
                  <a:gd name="T48" fmla="*/ 983 w 3456"/>
                  <a:gd name="T49" fmla="*/ 1792 h 2280"/>
                  <a:gd name="T50" fmla="*/ 2253 w 3456"/>
                  <a:gd name="T51" fmla="*/ 523 h 2280"/>
                  <a:gd name="T52" fmla="*/ 2302 w 3456"/>
                  <a:gd name="T53" fmla="*/ 475 h 2280"/>
                  <a:gd name="T54" fmla="*/ 2362 w 3456"/>
                  <a:gd name="T55" fmla="*/ 421 h 2280"/>
                  <a:gd name="T56" fmla="*/ 2431 w 3456"/>
                  <a:gd name="T57" fmla="*/ 364 h 2280"/>
                  <a:gd name="T58" fmla="*/ 2510 w 3456"/>
                  <a:gd name="T59" fmla="*/ 311 h 2280"/>
                  <a:gd name="T60" fmla="*/ 2600 w 3456"/>
                  <a:gd name="T61" fmla="*/ 265 h 2280"/>
                  <a:gd name="T62" fmla="*/ 2700 w 3456"/>
                  <a:gd name="T63" fmla="*/ 229 h 2280"/>
                  <a:gd name="T64" fmla="*/ 2810 w 3456"/>
                  <a:gd name="T65" fmla="*/ 209 h 2280"/>
                  <a:gd name="T66" fmla="*/ 3007 w 3456"/>
                  <a:gd name="T67" fmla="*/ 207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2280">
                    <a:moveTo>
                      <a:pt x="3007" y="0"/>
                    </a:moveTo>
                    <a:lnTo>
                      <a:pt x="3007" y="0"/>
                    </a:lnTo>
                    <a:lnTo>
                      <a:pt x="3276" y="207"/>
                    </a:lnTo>
                    <a:lnTo>
                      <a:pt x="3456" y="345"/>
                    </a:lnTo>
                    <a:lnTo>
                      <a:pt x="3276" y="483"/>
                    </a:lnTo>
                    <a:lnTo>
                      <a:pt x="3007" y="691"/>
                    </a:lnTo>
                    <a:lnTo>
                      <a:pt x="3007" y="483"/>
                    </a:lnTo>
                    <a:lnTo>
                      <a:pt x="2868" y="483"/>
                    </a:lnTo>
                    <a:lnTo>
                      <a:pt x="2823" y="485"/>
                    </a:lnTo>
                    <a:lnTo>
                      <a:pt x="2779" y="494"/>
                    </a:lnTo>
                    <a:lnTo>
                      <a:pt x="2738" y="506"/>
                    </a:lnTo>
                    <a:lnTo>
                      <a:pt x="2698" y="523"/>
                    </a:lnTo>
                    <a:lnTo>
                      <a:pt x="2660" y="543"/>
                    </a:lnTo>
                    <a:lnTo>
                      <a:pt x="2624" y="566"/>
                    </a:lnTo>
                    <a:lnTo>
                      <a:pt x="2590" y="590"/>
                    </a:lnTo>
                    <a:lnTo>
                      <a:pt x="2557" y="616"/>
                    </a:lnTo>
                    <a:lnTo>
                      <a:pt x="2527" y="643"/>
                    </a:lnTo>
                    <a:lnTo>
                      <a:pt x="2499" y="669"/>
                    </a:lnTo>
                    <a:lnTo>
                      <a:pt x="2473" y="695"/>
                    </a:lnTo>
                    <a:lnTo>
                      <a:pt x="2447" y="719"/>
                    </a:lnTo>
                    <a:lnTo>
                      <a:pt x="1203" y="1963"/>
                    </a:lnTo>
                    <a:lnTo>
                      <a:pt x="1180" y="1986"/>
                    </a:lnTo>
                    <a:lnTo>
                      <a:pt x="1154" y="2011"/>
                    </a:lnTo>
                    <a:lnTo>
                      <a:pt x="1126" y="2038"/>
                    </a:lnTo>
                    <a:lnTo>
                      <a:pt x="1094" y="2066"/>
                    </a:lnTo>
                    <a:lnTo>
                      <a:pt x="1061" y="2093"/>
                    </a:lnTo>
                    <a:lnTo>
                      <a:pt x="1025" y="2122"/>
                    </a:lnTo>
                    <a:lnTo>
                      <a:pt x="987" y="2149"/>
                    </a:lnTo>
                    <a:lnTo>
                      <a:pt x="946" y="2175"/>
                    </a:lnTo>
                    <a:lnTo>
                      <a:pt x="902" y="2200"/>
                    </a:lnTo>
                    <a:lnTo>
                      <a:pt x="856" y="2222"/>
                    </a:lnTo>
                    <a:lnTo>
                      <a:pt x="807" y="2241"/>
                    </a:lnTo>
                    <a:lnTo>
                      <a:pt x="756" y="2257"/>
                    </a:lnTo>
                    <a:lnTo>
                      <a:pt x="703" y="2269"/>
                    </a:lnTo>
                    <a:lnTo>
                      <a:pt x="646" y="2277"/>
                    </a:lnTo>
                    <a:lnTo>
                      <a:pt x="588" y="2280"/>
                    </a:lnTo>
                    <a:lnTo>
                      <a:pt x="0" y="2280"/>
                    </a:lnTo>
                    <a:lnTo>
                      <a:pt x="0" y="2003"/>
                    </a:lnTo>
                    <a:lnTo>
                      <a:pt x="588" y="2003"/>
                    </a:lnTo>
                    <a:lnTo>
                      <a:pt x="633" y="2000"/>
                    </a:lnTo>
                    <a:lnTo>
                      <a:pt x="677" y="1992"/>
                    </a:lnTo>
                    <a:lnTo>
                      <a:pt x="718" y="1979"/>
                    </a:lnTo>
                    <a:lnTo>
                      <a:pt x="758" y="1963"/>
                    </a:lnTo>
                    <a:lnTo>
                      <a:pt x="796" y="1943"/>
                    </a:lnTo>
                    <a:lnTo>
                      <a:pt x="832" y="1921"/>
                    </a:lnTo>
                    <a:lnTo>
                      <a:pt x="866" y="1896"/>
                    </a:lnTo>
                    <a:lnTo>
                      <a:pt x="899" y="1870"/>
                    </a:lnTo>
                    <a:lnTo>
                      <a:pt x="929" y="1843"/>
                    </a:lnTo>
                    <a:lnTo>
                      <a:pt x="957" y="1817"/>
                    </a:lnTo>
                    <a:lnTo>
                      <a:pt x="983" y="1792"/>
                    </a:lnTo>
                    <a:lnTo>
                      <a:pt x="1009" y="1767"/>
                    </a:lnTo>
                    <a:lnTo>
                      <a:pt x="2253" y="523"/>
                    </a:lnTo>
                    <a:lnTo>
                      <a:pt x="2276" y="500"/>
                    </a:lnTo>
                    <a:lnTo>
                      <a:pt x="2302" y="475"/>
                    </a:lnTo>
                    <a:lnTo>
                      <a:pt x="2330" y="448"/>
                    </a:lnTo>
                    <a:lnTo>
                      <a:pt x="2362" y="421"/>
                    </a:lnTo>
                    <a:lnTo>
                      <a:pt x="2395" y="392"/>
                    </a:lnTo>
                    <a:lnTo>
                      <a:pt x="2431" y="364"/>
                    </a:lnTo>
                    <a:lnTo>
                      <a:pt x="2469" y="337"/>
                    </a:lnTo>
                    <a:lnTo>
                      <a:pt x="2510" y="311"/>
                    </a:lnTo>
                    <a:lnTo>
                      <a:pt x="2554" y="287"/>
                    </a:lnTo>
                    <a:lnTo>
                      <a:pt x="2600" y="265"/>
                    </a:lnTo>
                    <a:lnTo>
                      <a:pt x="2649" y="245"/>
                    </a:lnTo>
                    <a:lnTo>
                      <a:pt x="2700" y="229"/>
                    </a:lnTo>
                    <a:lnTo>
                      <a:pt x="2753" y="216"/>
                    </a:lnTo>
                    <a:lnTo>
                      <a:pt x="2810" y="209"/>
                    </a:lnTo>
                    <a:lnTo>
                      <a:pt x="2868" y="207"/>
                    </a:lnTo>
                    <a:lnTo>
                      <a:pt x="3007" y="207"/>
                    </a:lnTo>
                    <a:lnTo>
                      <a:pt x="3007"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nvGrpSpPr>
            <p:cNvPr id="17" name="noun_project_01063.eps">
              <a:extLst>
                <a:ext uri="{FF2B5EF4-FFF2-40B4-BE49-F238E27FC236}">
                  <a16:creationId xmlns:a16="http://schemas.microsoft.com/office/drawing/2014/main" id="{0375278A-96D3-4C15-B50E-8DD3E280D4F5}"/>
                </a:ext>
              </a:extLst>
            </p:cNvPr>
            <p:cNvGrpSpPr>
              <a:grpSpLocks noChangeAspect="1"/>
            </p:cNvGrpSpPr>
            <p:nvPr/>
          </p:nvGrpSpPr>
          <p:grpSpPr bwMode="auto">
            <a:xfrm>
              <a:off x="996054" y="1133839"/>
              <a:ext cx="244833" cy="261574"/>
              <a:chOff x="2223" y="3060"/>
              <a:chExt cx="351" cy="375"/>
            </a:xfrm>
            <a:grpFill/>
          </p:grpSpPr>
          <p:sp>
            <p:nvSpPr>
              <p:cNvPr id="18" name="Freeform 405">
                <a:extLst>
                  <a:ext uri="{FF2B5EF4-FFF2-40B4-BE49-F238E27FC236}">
                    <a16:creationId xmlns:a16="http://schemas.microsoft.com/office/drawing/2014/main" id="{2F1AE96F-0A52-4104-956C-4D245EB473EB}"/>
                  </a:ext>
                </a:extLst>
              </p:cNvPr>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9" name="Freeform 406">
                <a:extLst>
                  <a:ext uri="{FF2B5EF4-FFF2-40B4-BE49-F238E27FC236}">
                    <a16:creationId xmlns:a16="http://schemas.microsoft.com/office/drawing/2014/main" id="{84A7CBAD-2D66-4DDC-B4A8-07A04BEDE058}"/>
                  </a:ext>
                </a:extLst>
              </p:cNvPr>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0" name="Freeform 407">
                <a:extLst>
                  <a:ext uri="{FF2B5EF4-FFF2-40B4-BE49-F238E27FC236}">
                    <a16:creationId xmlns:a16="http://schemas.microsoft.com/office/drawing/2014/main" id="{A4D45EA1-897B-4095-AAAE-50101E7C183B}"/>
                  </a:ext>
                </a:extLst>
              </p:cNvPr>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1" name="Freeform 408">
                <a:extLst>
                  <a:ext uri="{FF2B5EF4-FFF2-40B4-BE49-F238E27FC236}">
                    <a16:creationId xmlns:a16="http://schemas.microsoft.com/office/drawing/2014/main" id="{8428A7E8-C3EA-4955-B092-DF775808765B}"/>
                  </a:ext>
                </a:extLst>
              </p:cNvPr>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spTree>
    <p:extLst>
      <p:ext uri="{BB962C8B-B14F-4D97-AF65-F5344CB8AC3E}">
        <p14:creationId xmlns:p14="http://schemas.microsoft.com/office/powerpoint/2010/main" val="102611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p:cNvGraphicFramePr>
            <a:graphicFrameLocks noChangeAspect="1"/>
          </p:cNvGraphicFramePr>
          <p:nvPr>
            <p:custDataLst>
              <p:tags r:id="rId1"/>
            </p:custDataLst>
            <p:extLst>
              <p:ext uri="{D42A27DB-BD31-4B8C-83A1-F6EECF244321}">
                <p14:modId xmlns:p14="http://schemas.microsoft.com/office/powerpoint/2010/main" val="212041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8" imgH="347" progId="TCLayout.ActiveDocument.1">
                  <p:embed/>
                </p:oleObj>
              </mc:Choice>
              <mc:Fallback>
                <p:oleObj name="think-cell Folie" r:id="rId5" imgW="348" imgH="34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Die Nutzung der bundID durch Verwaltungskunde ist freiwillig. Die Technik-komponente bundID ermöglich dies durch den Gastzugang</a:t>
            </a:r>
          </a:p>
        </p:txBody>
      </p:sp>
      <p:sp>
        <p:nvSpPr>
          <p:cNvPr id="3" name="Fußzeilenplatzhalter 2"/>
          <p:cNvSpPr>
            <a:spLocks noGrp="1"/>
          </p:cNvSpPr>
          <p:nvPr>
            <p:ph type="ftr" sz="quarter" idx="10"/>
          </p:nvPr>
        </p:nvSpPr>
        <p:spPr/>
        <p:txBody>
          <a:bodyPr/>
          <a:lstStyle/>
          <a:p>
            <a:pPr>
              <a:defRPr/>
            </a:pPr>
            <a:r>
              <a:rPr lang="de-DE"/>
              <a:t>Factbook Verwaltungsdigitalisierung</a:t>
            </a:r>
            <a:endParaRPr lang="de-DE" dirty="0"/>
          </a:p>
        </p:txBody>
      </p:sp>
      <p:sp>
        <p:nvSpPr>
          <p:cNvPr id="4" name="Foliennummernplatzhalter 3"/>
          <p:cNvSpPr>
            <a:spLocks noGrp="1"/>
          </p:cNvSpPr>
          <p:nvPr>
            <p:ph type="sldNum" sz="quarter" idx="12"/>
          </p:nvPr>
        </p:nvSpPr>
        <p:spPr/>
        <p:txBody>
          <a:bodyPr/>
          <a:lstStyle/>
          <a:p>
            <a:fld id="{D4A18DF9-8FF6-4BA5-BC52-5FB4772E2292}" type="slidenum">
              <a:rPr lang="de-DE" smtClean="0"/>
              <a:pPr/>
              <a:t>5</a:t>
            </a:fld>
            <a:endParaRPr lang="de-DE" dirty="0"/>
          </a:p>
        </p:txBody>
      </p:sp>
      <p:sp>
        <p:nvSpPr>
          <p:cNvPr id="5" name="Textplatzhalter 4"/>
          <p:cNvSpPr>
            <a:spLocks noGrp="1"/>
          </p:cNvSpPr>
          <p:nvPr>
            <p:ph type="body" sz="quarter" idx="14"/>
          </p:nvPr>
        </p:nvSpPr>
        <p:spPr/>
        <p:txBody>
          <a:bodyPr/>
          <a:lstStyle/>
          <a:p>
            <a:endParaRPr lang="de-DE"/>
          </a:p>
        </p:txBody>
      </p:sp>
      <p:sp>
        <p:nvSpPr>
          <p:cNvPr id="6" name="Textplatzhalter 5"/>
          <p:cNvSpPr>
            <a:spLocks noGrp="1"/>
          </p:cNvSpPr>
          <p:nvPr>
            <p:ph type="body" sz="quarter" idx="13"/>
          </p:nvPr>
        </p:nvSpPr>
        <p:spPr/>
        <p:txBody>
          <a:bodyPr/>
          <a:lstStyle/>
          <a:p>
            <a:r>
              <a:rPr lang="de-DE" dirty="0"/>
              <a:t>Nutzung der bundID</a:t>
            </a:r>
          </a:p>
        </p:txBody>
      </p:sp>
      <p:sp>
        <p:nvSpPr>
          <p:cNvPr id="8" name="Inhaltsplatzhalter 1"/>
          <p:cNvSpPr txBox="1">
            <a:spLocks/>
          </p:cNvSpPr>
          <p:nvPr/>
        </p:nvSpPr>
        <p:spPr>
          <a:xfrm>
            <a:off x="2927475" y="1691159"/>
            <a:ext cx="8574229" cy="4464313"/>
          </a:xfrm>
          <a:prstGeom prst="rect">
            <a:avLst/>
          </a:prstGeom>
          <a:solidFill>
            <a:schemeClr val="bg1"/>
          </a:solidFill>
        </p:spPr>
        <p:txBody>
          <a:bodyPr anchor="ctr"/>
          <a:lstStyle>
            <a:lvl1pPr marL="27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1pPr>
            <a:lvl2pPr marL="54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2pPr>
            <a:lvl3pPr marL="81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3pPr>
            <a:lvl4pPr marL="108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
              </a:spcAft>
              <a:buClr>
                <a:schemeClr val="accent2"/>
              </a:buClr>
              <a:buFont typeface="Wingdings" panose="05000000000000000000" pitchFamily="2" charset="2"/>
              <a:buChar char="§"/>
            </a:pPr>
            <a:r>
              <a:rPr lang="de-DE" sz="1400" dirty="0"/>
              <a:t>Die Nutzung der bundID durch Bürgerinnen und Bürger ist freiwillig und kann durch Online-Dienste nicht erzwungen werden.</a:t>
            </a:r>
          </a:p>
          <a:p>
            <a:pPr>
              <a:spcAft>
                <a:spcPts val="100"/>
              </a:spcAft>
              <a:buClr>
                <a:schemeClr val="accent2"/>
              </a:buClr>
              <a:buFont typeface="Wingdings" panose="05000000000000000000" pitchFamily="2" charset="2"/>
              <a:buChar char="§"/>
            </a:pPr>
            <a:r>
              <a:rPr lang="de-DE" sz="1400" dirty="0"/>
              <a:t>Die bundID hat hierfür die Funktion „Gastzugang“ geschaffen, um die Authentifizierung im entsprechenden Vertrauensniveau durch Bürgerinnen und Bürger trotzdem zu ermöglichen (z. B. Hoch auf Basis </a:t>
            </a:r>
            <a:r>
              <a:rPr lang="de-DE" sz="1400" dirty="0" err="1"/>
              <a:t>eID</a:t>
            </a:r>
            <a:r>
              <a:rPr lang="de-DE" sz="1400" dirty="0"/>
              <a:t>/AusweisApp2).</a:t>
            </a:r>
          </a:p>
          <a:p>
            <a:pPr>
              <a:spcAft>
                <a:spcPts val="100"/>
              </a:spcAft>
              <a:buClr>
                <a:schemeClr val="accent2"/>
              </a:buClr>
              <a:buFont typeface="Wingdings" panose="05000000000000000000" pitchFamily="2" charset="2"/>
              <a:buChar char="§"/>
            </a:pPr>
            <a:r>
              <a:rPr lang="de-DE" sz="1400" dirty="0"/>
              <a:t>In diesem Fall ist eine digitale Bescheidung nicht über das Postfach der bundID auf Basis § 9 OZG möglich, da kein Postfach-Handle vorliegt, sondern lediglich als Download über § 41 Abs. 2a VwVfG.</a:t>
            </a:r>
          </a:p>
          <a:p>
            <a:pPr>
              <a:spcAft>
                <a:spcPts val="100"/>
              </a:spcAft>
              <a:buClr>
                <a:schemeClr val="accent2"/>
              </a:buClr>
              <a:buFont typeface="Wingdings" panose="05000000000000000000" pitchFamily="2" charset="2"/>
              <a:buChar char="§"/>
            </a:pPr>
            <a:r>
              <a:rPr lang="de-DE" sz="1400" dirty="0"/>
              <a:t>Gleiches gilt, wenn sich ein Verwaltungskunde die bundID mit einem FINK-interoperablen Landeskonto nutzt.</a:t>
            </a:r>
          </a:p>
        </p:txBody>
      </p:sp>
      <p:sp>
        <p:nvSpPr>
          <p:cNvPr id="9" name="Rahmen">
            <a:extLst>
              <a:ext uri="{FF2B5EF4-FFF2-40B4-BE49-F238E27FC236}">
                <a16:creationId xmlns:a16="http://schemas.microsoft.com/office/drawing/2014/main" id="{12A524A8-D367-4717-963A-1FC487F27007}"/>
              </a:ext>
            </a:extLst>
          </p:cNvPr>
          <p:cNvSpPr/>
          <p:nvPr>
            <p:custDataLst>
              <p:tags r:id="rId2"/>
            </p:custDataLst>
          </p:nvPr>
        </p:nvSpPr>
        <p:spPr>
          <a:xfrm>
            <a:off x="2920181" y="1622047"/>
            <a:ext cx="8581523" cy="246726"/>
          </a:xfrm>
          <a:custGeom>
            <a:avLst/>
            <a:gdLst>
              <a:gd name="connsiteX0" fmla="*/ 0 w 9753600"/>
              <a:gd name="connsiteY0" fmla="*/ 74676000 h 74777600"/>
              <a:gd name="connsiteX1" fmla="*/ 0 w 9753600"/>
              <a:gd name="connsiteY1" fmla="*/ 0 h 74777600"/>
              <a:gd name="connsiteX2" fmla="*/ 9753600 w 9753600"/>
              <a:gd name="connsiteY2" fmla="*/ 0 h 74777600"/>
              <a:gd name="connsiteX3" fmla="*/ 9753600 w 9753600"/>
              <a:gd name="connsiteY3" fmla="*/ 74777600 h 74777600"/>
            </a:gdLst>
            <a:ahLst/>
            <a:cxnLst>
              <a:cxn ang="0">
                <a:pos x="connsiteX0" y="connsiteY0"/>
              </a:cxn>
              <a:cxn ang="0">
                <a:pos x="connsiteX1" y="connsiteY1"/>
              </a:cxn>
              <a:cxn ang="0">
                <a:pos x="connsiteX2" y="connsiteY2"/>
              </a:cxn>
              <a:cxn ang="0">
                <a:pos x="connsiteX3" y="connsiteY3"/>
              </a:cxn>
            </a:cxnLst>
            <a:rect l="l" t="t" r="r" b="b"/>
            <a:pathLst>
              <a:path w="9753600" h="74777600">
                <a:moveTo>
                  <a:pt x="0" y="74676000"/>
                </a:moveTo>
                <a:lnTo>
                  <a:pt x="0" y="0"/>
                </a:lnTo>
                <a:lnTo>
                  <a:pt x="9753600" y="0"/>
                </a:lnTo>
                <a:lnTo>
                  <a:pt x="9753600" y="74777600"/>
                </a:lnTo>
              </a:path>
            </a:pathLst>
          </a:custGeom>
          <a:noFill/>
          <a:ln w="19050"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10" name="Rahmen">
            <a:extLst>
              <a:ext uri="{FF2B5EF4-FFF2-40B4-BE49-F238E27FC236}">
                <a16:creationId xmlns:a16="http://schemas.microsoft.com/office/drawing/2014/main" id="{3DAEB92D-EA82-42CC-959C-80846FA73F75}"/>
              </a:ext>
            </a:extLst>
          </p:cNvPr>
          <p:cNvSpPr/>
          <p:nvPr>
            <p:custDataLst>
              <p:tags r:id="rId3"/>
            </p:custDataLst>
          </p:nvPr>
        </p:nvSpPr>
        <p:spPr>
          <a:xfrm>
            <a:off x="2920181" y="6128981"/>
            <a:ext cx="8566935" cy="182546"/>
          </a:xfrm>
          <a:custGeom>
            <a:avLst/>
            <a:gdLst>
              <a:gd name="connsiteX0" fmla="*/ 0 w 31800800"/>
              <a:gd name="connsiteY0" fmla="*/ 0 h 70205600"/>
              <a:gd name="connsiteX1" fmla="*/ 0 w 31800800"/>
              <a:gd name="connsiteY1" fmla="*/ 70205600 h 70205600"/>
              <a:gd name="connsiteX2" fmla="*/ 31800800 w 31800800"/>
              <a:gd name="connsiteY2" fmla="*/ 70205600 h 70205600"/>
              <a:gd name="connsiteX3" fmla="*/ 31800800 w 31800800"/>
              <a:gd name="connsiteY3" fmla="*/ 0 h 70205600"/>
            </a:gdLst>
            <a:ahLst/>
            <a:cxnLst>
              <a:cxn ang="0">
                <a:pos x="connsiteX0" y="connsiteY0"/>
              </a:cxn>
              <a:cxn ang="0">
                <a:pos x="connsiteX1" y="connsiteY1"/>
              </a:cxn>
              <a:cxn ang="0">
                <a:pos x="connsiteX2" y="connsiteY2"/>
              </a:cxn>
              <a:cxn ang="0">
                <a:pos x="connsiteX3" y="connsiteY3"/>
              </a:cxn>
            </a:cxnLst>
            <a:rect l="l" t="t" r="r" b="b"/>
            <a:pathLst>
              <a:path w="31800800" h="70205600">
                <a:moveTo>
                  <a:pt x="0" y="0"/>
                </a:moveTo>
                <a:lnTo>
                  <a:pt x="0" y="70205600"/>
                </a:lnTo>
                <a:lnTo>
                  <a:pt x="31800800" y="70205600"/>
                </a:lnTo>
                <a:lnTo>
                  <a:pt x="31800800" y="0"/>
                </a:lnTo>
              </a:path>
            </a:pathLst>
          </a:custGeom>
          <a:noFill/>
          <a:ln w="1587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11" name="Rechteck 10"/>
          <p:cNvSpPr/>
          <p:nvPr/>
        </p:nvSpPr>
        <p:spPr>
          <a:xfrm>
            <a:off x="693210" y="2597645"/>
            <a:ext cx="1674000" cy="1673761"/>
          </a:xfrm>
          <a:prstGeom prst="rect">
            <a:avLst/>
          </a:prstGeom>
          <a:solidFill>
            <a:schemeClr val="accent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dirty="0">
              <a:solidFill>
                <a:schemeClr val="tx1"/>
              </a:solidFill>
            </a:endParaRPr>
          </a:p>
        </p:txBody>
      </p:sp>
      <p:grpSp>
        <p:nvGrpSpPr>
          <p:cNvPr id="28" name="noun_project_00566.eps"/>
          <p:cNvGrpSpPr>
            <a:grpSpLocks noChangeAspect="1"/>
          </p:cNvGrpSpPr>
          <p:nvPr/>
        </p:nvGrpSpPr>
        <p:grpSpPr bwMode="auto">
          <a:xfrm>
            <a:off x="986830" y="2786525"/>
            <a:ext cx="1086760" cy="1296000"/>
            <a:chOff x="4858" y="816"/>
            <a:chExt cx="322" cy="384"/>
          </a:xfrm>
          <a:solidFill>
            <a:schemeClr val="bg1"/>
          </a:solidFill>
        </p:grpSpPr>
        <p:sp>
          <p:nvSpPr>
            <p:cNvPr id="29" name="Freeform 74"/>
            <p:cNvSpPr>
              <a:spLocks/>
            </p:cNvSpPr>
            <p:nvPr/>
          </p:nvSpPr>
          <p:spPr bwMode="auto">
            <a:xfrm>
              <a:off x="5066" y="910"/>
              <a:ext cx="31" cy="31"/>
            </a:xfrm>
            <a:custGeom>
              <a:avLst/>
              <a:gdLst>
                <a:gd name="T0" fmla="*/ 138 w 276"/>
                <a:gd name="T1" fmla="*/ 0 h 277"/>
                <a:gd name="T2" fmla="*/ 166 w 276"/>
                <a:gd name="T3" fmla="*/ 3 h 277"/>
                <a:gd name="T4" fmla="*/ 192 w 276"/>
                <a:gd name="T5" fmla="*/ 11 h 277"/>
                <a:gd name="T6" fmla="*/ 216 w 276"/>
                <a:gd name="T7" fmla="*/ 23 h 277"/>
                <a:gd name="T8" fmla="*/ 236 w 276"/>
                <a:gd name="T9" fmla="*/ 41 h 277"/>
                <a:gd name="T10" fmla="*/ 252 w 276"/>
                <a:gd name="T11" fmla="*/ 61 h 277"/>
                <a:gd name="T12" fmla="*/ 265 w 276"/>
                <a:gd name="T13" fmla="*/ 85 h 277"/>
                <a:gd name="T14" fmla="*/ 273 w 276"/>
                <a:gd name="T15" fmla="*/ 110 h 277"/>
                <a:gd name="T16" fmla="*/ 276 w 276"/>
                <a:gd name="T17" fmla="*/ 138 h 277"/>
                <a:gd name="T18" fmla="*/ 273 w 276"/>
                <a:gd name="T19" fmla="*/ 167 h 277"/>
                <a:gd name="T20" fmla="*/ 265 w 276"/>
                <a:gd name="T21" fmla="*/ 193 h 277"/>
                <a:gd name="T22" fmla="*/ 252 w 276"/>
                <a:gd name="T23" fmla="*/ 216 h 277"/>
                <a:gd name="T24" fmla="*/ 236 w 276"/>
                <a:gd name="T25" fmla="*/ 237 h 277"/>
                <a:gd name="T26" fmla="*/ 216 w 276"/>
                <a:gd name="T27" fmla="*/ 254 h 277"/>
                <a:gd name="T28" fmla="*/ 192 w 276"/>
                <a:gd name="T29" fmla="*/ 266 h 277"/>
                <a:gd name="T30" fmla="*/ 166 w 276"/>
                <a:gd name="T31" fmla="*/ 274 h 277"/>
                <a:gd name="T32" fmla="*/ 138 w 276"/>
                <a:gd name="T33" fmla="*/ 277 h 277"/>
                <a:gd name="T34" fmla="*/ 110 w 276"/>
                <a:gd name="T35" fmla="*/ 274 h 277"/>
                <a:gd name="T36" fmla="*/ 85 w 276"/>
                <a:gd name="T37" fmla="*/ 266 h 277"/>
                <a:gd name="T38" fmla="*/ 61 w 276"/>
                <a:gd name="T39" fmla="*/ 254 h 277"/>
                <a:gd name="T40" fmla="*/ 41 w 276"/>
                <a:gd name="T41" fmla="*/ 237 h 277"/>
                <a:gd name="T42" fmla="*/ 24 w 276"/>
                <a:gd name="T43" fmla="*/ 216 h 277"/>
                <a:gd name="T44" fmla="*/ 11 w 276"/>
                <a:gd name="T45" fmla="*/ 193 h 277"/>
                <a:gd name="T46" fmla="*/ 3 w 276"/>
                <a:gd name="T47" fmla="*/ 167 h 277"/>
                <a:gd name="T48" fmla="*/ 0 w 276"/>
                <a:gd name="T49" fmla="*/ 138 h 277"/>
                <a:gd name="T50" fmla="*/ 3 w 276"/>
                <a:gd name="T51" fmla="*/ 110 h 277"/>
                <a:gd name="T52" fmla="*/ 11 w 276"/>
                <a:gd name="T53" fmla="*/ 85 h 277"/>
                <a:gd name="T54" fmla="*/ 24 w 276"/>
                <a:gd name="T55" fmla="*/ 61 h 277"/>
                <a:gd name="T56" fmla="*/ 41 w 276"/>
                <a:gd name="T57" fmla="*/ 41 h 277"/>
                <a:gd name="T58" fmla="*/ 61 w 276"/>
                <a:gd name="T59" fmla="*/ 23 h 277"/>
                <a:gd name="T60" fmla="*/ 85 w 276"/>
                <a:gd name="T61" fmla="*/ 11 h 277"/>
                <a:gd name="T62" fmla="*/ 110 w 276"/>
                <a:gd name="T63" fmla="*/ 3 h 277"/>
                <a:gd name="T64" fmla="*/ 138 w 276"/>
                <a:gd name="T6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277">
                  <a:moveTo>
                    <a:pt x="138" y="0"/>
                  </a:moveTo>
                  <a:lnTo>
                    <a:pt x="166" y="3"/>
                  </a:lnTo>
                  <a:lnTo>
                    <a:pt x="192" y="11"/>
                  </a:lnTo>
                  <a:lnTo>
                    <a:pt x="216" y="23"/>
                  </a:lnTo>
                  <a:lnTo>
                    <a:pt x="236" y="41"/>
                  </a:lnTo>
                  <a:lnTo>
                    <a:pt x="252" y="61"/>
                  </a:lnTo>
                  <a:lnTo>
                    <a:pt x="265" y="85"/>
                  </a:lnTo>
                  <a:lnTo>
                    <a:pt x="273" y="110"/>
                  </a:lnTo>
                  <a:lnTo>
                    <a:pt x="276" y="138"/>
                  </a:lnTo>
                  <a:lnTo>
                    <a:pt x="273" y="167"/>
                  </a:lnTo>
                  <a:lnTo>
                    <a:pt x="265" y="193"/>
                  </a:lnTo>
                  <a:lnTo>
                    <a:pt x="252" y="216"/>
                  </a:lnTo>
                  <a:lnTo>
                    <a:pt x="236" y="237"/>
                  </a:lnTo>
                  <a:lnTo>
                    <a:pt x="216" y="254"/>
                  </a:lnTo>
                  <a:lnTo>
                    <a:pt x="192" y="266"/>
                  </a:lnTo>
                  <a:lnTo>
                    <a:pt x="166" y="274"/>
                  </a:lnTo>
                  <a:lnTo>
                    <a:pt x="138" y="277"/>
                  </a:lnTo>
                  <a:lnTo>
                    <a:pt x="110" y="274"/>
                  </a:lnTo>
                  <a:lnTo>
                    <a:pt x="85" y="266"/>
                  </a:lnTo>
                  <a:lnTo>
                    <a:pt x="61" y="254"/>
                  </a:lnTo>
                  <a:lnTo>
                    <a:pt x="41" y="237"/>
                  </a:lnTo>
                  <a:lnTo>
                    <a:pt x="24" y="216"/>
                  </a:lnTo>
                  <a:lnTo>
                    <a:pt x="11" y="193"/>
                  </a:lnTo>
                  <a:lnTo>
                    <a:pt x="3" y="167"/>
                  </a:lnTo>
                  <a:lnTo>
                    <a:pt x="0" y="138"/>
                  </a:lnTo>
                  <a:lnTo>
                    <a:pt x="3" y="110"/>
                  </a:lnTo>
                  <a:lnTo>
                    <a:pt x="11" y="85"/>
                  </a:lnTo>
                  <a:lnTo>
                    <a:pt x="24" y="61"/>
                  </a:lnTo>
                  <a:lnTo>
                    <a:pt x="41" y="41"/>
                  </a:lnTo>
                  <a:lnTo>
                    <a:pt x="61" y="23"/>
                  </a:lnTo>
                  <a:lnTo>
                    <a:pt x="85" y="11"/>
                  </a:lnTo>
                  <a:lnTo>
                    <a:pt x="110" y="3"/>
                  </a:lnTo>
                  <a:lnTo>
                    <a:pt x="13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30" name="Freeform 75"/>
            <p:cNvSpPr>
              <a:spLocks/>
            </p:cNvSpPr>
            <p:nvPr/>
          </p:nvSpPr>
          <p:spPr bwMode="auto">
            <a:xfrm>
              <a:off x="5078" y="1021"/>
              <a:ext cx="30" cy="30"/>
            </a:xfrm>
            <a:custGeom>
              <a:avLst/>
              <a:gdLst>
                <a:gd name="T0" fmla="*/ 138 w 276"/>
                <a:gd name="T1" fmla="*/ 0 h 277"/>
                <a:gd name="T2" fmla="*/ 166 w 276"/>
                <a:gd name="T3" fmla="*/ 2 h 277"/>
                <a:gd name="T4" fmla="*/ 191 w 276"/>
                <a:gd name="T5" fmla="*/ 11 h 277"/>
                <a:gd name="T6" fmla="*/ 215 w 276"/>
                <a:gd name="T7" fmla="*/ 23 h 277"/>
                <a:gd name="T8" fmla="*/ 235 w 276"/>
                <a:gd name="T9" fmla="*/ 40 h 277"/>
                <a:gd name="T10" fmla="*/ 252 w 276"/>
                <a:gd name="T11" fmla="*/ 61 h 277"/>
                <a:gd name="T12" fmla="*/ 266 w 276"/>
                <a:gd name="T13" fmla="*/ 84 h 277"/>
                <a:gd name="T14" fmla="*/ 273 w 276"/>
                <a:gd name="T15" fmla="*/ 110 h 277"/>
                <a:gd name="T16" fmla="*/ 276 w 276"/>
                <a:gd name="T17" fmla="*/ 138 h 277"/>
                <a:gd name="T18" fmla="*/ 273 w 276"/>
                <a:gd name="T19" fmla="*/ 166 h 277"/>
                <a:gd name="T20" fmla="*/ 266 w 276"/>
                <a:gd name="T21" fmla="*/ 192 h 277"/>
                <a:gd name="T22" fmla="*/ 252 w 276"/>
                <a:gd name="T23" fmla="*/ 216 h 277"/>
                <a:gd name="T24" fmla="*/ 235 w 276"/>
                <a:gd name="T25" fmla="*/ 236 h 277"/>
                <a:gd name="T26" fmla="*/ 215 w 276"/>
                <a:gd name="T27" fmla="*/ 253 h 277"/>
                <a:gd name="T28" fmla="*/ 191 w 276"/>
                <a:gd name="T29" fmla="*/ 265 h 277"/>
                <a:gd name="T30" fmla="*/ 166 w 276"/>
                <a:gd name="T31" fmla="*/ 273 h 277"/>
                <a:gd name="T32" fmla="*/ 138 w 276"/>
                <a:gd name="T33" fmla="*/ 277 h 277"/>
                <a:gd name="T34" fmla="*/ 111 w 276"/>
                <a:gd name="T35" fmla="*/ 273 h 277"/>
                <a:gd name="T36" fmla="*/ 85 w 276"/>
                <a:gd name="T37" fmla="*/ 265 h 277"/>
                <a:gd name="T38" fmla="*/ 61 w 276"/>
                <a:gd name="T39" fmla="*/ 253 h 277"/>
                <a:gd name="T40" fmla="*/ 41 w 276"/>
                <a:gd name="T41" fmla="*/ 236 h 277"/>
                <a:gd name="T42" fmla="*/ 24 w 276"/>
                <a:gd name="T43" fmla="*/ 216 h 277"/>
                <a:gd name="T44" fmla="*/ 10 w 276"/>
                <a:gd name="T45" fmla="*/ 192 h 277"/>
                <a:gd name="T46" fmla="*/ 3 w 276"/>
                <a:gd name="T47" fmla="*/ 166 h 277"/>
                <a:gd name="T48" fmla="*/ 0 w 276"/>
                <a:gd name="T49" fmla="*/ 138 h 277"/>
                <a:gd name="T50" fmla="*/ 3 w 276"/>
                <a:gd name="T51" fmla="*/ 110 h 277"/>
                <a:gd name="T52" fmla="*/ 10 w 276"/>
                <a:gd name="T53" fmla="*/ 84 h 277"/>
                <a:gd name="T54" fmla="*/ 24 w 276"/>
                <a:gd name="T55" fmla="*/ 61 h 277"/>
                <a:gd name="T56" fmla="*/ 41 w 276"/>
                <a:gd name="T57" fmla="*/ 40 h 277"/>
                <a:gd name="T58" fmla="*/ 61 w 276"/>
                <a:gd name="T59" fmla="*/ 23 h 277"/>
                <a:gd name="T60" fmla="*/ 85 w 276"/>
                <a:gd name="T61" fmla="*/ 11 h 277"/>
                <a:gd name="T62" fmla="*/ 111 w 276"/>
                <a:gd name="T63" fmla="*/ 2 h 277"/>
                <a:gd name="T64" fmla="*/ 138 w 276"/>
                <a:gd name="T6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 h="277">
                  <a:moveTo>
                    <a:pt x="138" y="0"/>
                  </a:moveTo>
                  <a:lnTo>
                    <a:pt x="166" y="2"/>
                  </a:lnTo>
                  <a:lnTo>
                    <a:pt x="191" y="11"/>
                  </a:lnTo>
                  <a:lnTo>
                    <a:pt x="215" y="23"/>
                  </a:lnTo>
                  <a:lnTo>
                    <a:pt x="235" y="40"/>
                  </a:lnTo>
                  <a:lnTo>
                    <a:pt x="252" y="61"/>
                  </a:lnTo>
                  <a:lnTo>
                    <a:pt x="266" y="84"/>
                  </a:lnTo>
                  <a:lnTo>
                    <a:pt x="273" y="110"/>
                  </a:lnTo>
                  <a:lnTo>
                    <a:pt x="276" y="138"/>
                  </a:lnTo>
                  <a:lnTo>
                    <a:pt x="273" y="166"/>
                  </a:lnTo>
                  <a:lnTo>
                    <a:pt x="266" y="192"/>
                  </a:lnTo>
                  <a:lnTo>
                    <a:pt x="252" y="216"/>
                  </a:lnTo>
                  <a:lnTo>
                    <a:pt x="235" y="236"/>
                  </a:lnTo>
                  <a:lnTo>
                    <a:pt x="215" y="253"/>
                  </a:lnTo>
                  <a:lnTo>
                    <a:pt x="191" y="265"/>
                  </a:lnTo>
                  <a:lnTo>
                    <a:pt x="166" y="273"/>
                  </a:lnTo>
                  <a:lnTo>
                    <a:pt x="138" y="277"/>
                  </a:lnTo>
                  <a:lnTo>
                    <a:pt x="111" y="273"/>
                  </a:lnTo>
                  <a:lnTo>
                    <a:pt x="85" y="265"/>
                  </a:lnTo>
                  <a:lnTo>
                    <a:pt x="61" y="253"/>
                  </a:lnTo>
                  <a:lnTo>
                    <a:pt x="41" y="236"/>
                  </a:lnTo>
                  <a:lnTo>
                    <a:pt x="24" y="216"/>
                  </a:lnTo>
                  <a:lnTo>
                    <a:pt x="10" y="192"/>
                  </a:lnTo>
                  <a:lnTo>
                    <a:pt x="3" y="166"/>
                  </a:lnTo>
                  <a:lnTo>
                    <a:pt x="0" y="138"/>
                  </a:lnTo>
                  <a:lnTo>
                    <a:pt x="3" y="110"/>
                  </a:lnTo>
                  <a:lnTo>
                    <a:pt x="10" y="84"/>
                  </a:lnTo>
                  <a:lnTo>
                    <a:pt x="24" y="61"/>
                  </a:lnTo>
                  <a:lnTo>
                    <a:pt x="41" y="40"/>
                  </a:lnTo>
                  <a:lnTo>
                    <a:pt x="61" y="23"/>
                  </a:lnTo>
                  <a:lnTo>
                    <a:pt x="85" y="11"/>
                  </a:lnTo>
                  <a:lnTo>
                    <a:pt x="111" y="2"/>
                  </a:lnTo>
                  <a:lnTo>
                    <a:pt x="13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31" name="Freeform 76"/>
            <p:cNvSpPr>
              <a:spLocks/>
            </p:cNvSpPr>
            <p:nvPr/>
          </p:nvSpPr>
          <p:spPr bwMode="auto">
            <a:xfrm>
              <a:off x="4950" y="893"/>
              <a:ext cx="31" cy="31"/>
            </a:xfrm>
            <a:custGeom>
              <a:avLst/>
              <a:gdLst>
                <a:gd name="T0" fmla="*/ 139 w 277"/>
                <a:gd name="T1" fmla="*/ 0 h 278"/>
                <a:gd name="T2" fmla="*/ 167 w 277"/>
                <a:gd name="T3" fmla="*/ 4 h 278"/>
                <a:gd name="T4" fmla="*/ 193 w 277"/>
                <a:gd name="T5" fmla="*/ 12 h 278"/>
                <a:gd name="T6" fmla="*/ 216 w 277"/>
                <a:gd name="T7" fmla="*/ 24 h 278"/>
                <a:gd name="T8" fmla="*/ 237 w 277"/>
                <a:gd name="T9" fmla="*/ 41 h 278"/>
                <a:gd name="T10" fmla="*/ 254 w 277"/>
                <a:gd name="T11" fmla="*/ 62 h 278"/>
                <a:gd name="T12" fmla="*/ 266 w 277"/>
                <a:gd name="T13" fmla="*/ 85 h 278"/>
                <a:gd name="T14" fmla="*/ 275 w 277"/>
                <a:gd name="T15" fmla="*/ 111 h 278"/>
                <a:gd name="T16" fmla="*/ 277 w 277"/>
                <a:gd name="T17" fmla="*/ 140 h 278"/>
                <a:gd name="T18" fmla="*/ 275 w 277"/>
                <a:gd name="T19" fmla="*/ 168 h 278"/>
                <a:gd name="T20" fmla="*/ 266 w 277"/>
                <a:gd name="T21" fmla="*/ 193 h 278"/>
                <a:gd name="T22" fmla="*/ 254 w 277"/>
                <a:gd name="T23" fmla="*/ 217 h 278"/>
                <a:gd name="T24" fmla="*/ 237 w 277"/>
                <a:gd name="T25" fmla="*/ 237 h 278"/>
                <a:gd name="T26" fmla="*/ 216 w 277"/>
                <a:gd name="T27" fmla="*/ 254 h 278"/>
                <a:gd name="T28" fmla="*/ 193 w 277"/>
                <a:gd name="T29" fmla="*/ 267 h 278"/>
                <a:gd name="T30" fmla="*/ 167 w 277"/>
                <a:gd name="T31" fmla="*/ 275 h 278"/>
                <a:gd name="T32" fmla="*/ 139 w 277"/>
                <a:gd name="T33" fmla="*/ 278 h 278"/>
                <a:gd name="T34" fmla="*/ 110 w 277"/>
                <a:gd name="T35" fmla="*/ 275 h 278"/>
                <a:gd name="T36" fmla="*/ 85 w 277"/>
                <a:gd name="T37" fmla="*/ 267 h 278"/>
                <a:gd name="T38" fmla="*/ 61 w 277"/>
                <a:gd name="T39" fmla="*/ 254 h 278"/>
                <a:gd name="T40" fmla="*/ 40 w 277"/>
                <a:gd name="T41" fmla="*/ 237 h 278"/>
                <a:gd name="T42" fmla="*/ 23 w 277"/>
                <a:gd name="T43" fmla="*/ 217 h 278"/>
                <a:gd name="T44" fmla="*/ 11 w 277"/>
                <a:gd name="T45" fmla="*/ 193 h 278"/>
                <a:gd name="T46" fmla="*/ 3 w 277"/>
                <a:gd name="T47" fmla="*/ 168 h 278"/>
                <a:gd name="T48" fmla="*/ 0 w 277"/>
                <a:gd name="T49" fmla="*/ 140 h 278"/>
                <a:gd name="T50" fmla="*/ 3 w 277"/>
                <a:gd name="T51" fmla="*/ 111 h 278"/>
                <a:gd name="T52" fmla="*/ 11 w 277"/>
                <a:gd name="T53" fmla="*/ 85 h 278"/>
                <a:gd name="T54" fmla="*/ 23 w 277"/>
                <a:gd name="T55" fmla="*/ 62 h 278"/>
                <a:gd name="T56" fmla="*/ 40 w 277"/>
                <a:gd name="T57" fmla="*/ 41 h 278"/>
                <a:gd name="T58" fmla="*/ 61 w 277"/>
                <a:gd name="T59" fmla="*/ 24 h 278"/>
                <a:gd name="T60" fmla="*/ 85 w 277"/>
                <a:gd name="T61" fmla="*/ 12 h 278"/>
                <a:gd name="T62" fmla="*/ 110 w 277"/>
                <a:gd name="T63" fmla="*/ 4 h 278"/>
                <a:gd name="T64" fmla="*/ 139 w 277"/>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7" h="278">
                  <a:moveTo>
                    <a:pt x="139" y="0"/>
                  </a:moveTo>
                  <a:lnTo>
                    <a:pt x="167" y="4"/>
                  </a:lnTo>
                  <a:lnTo>
                    <a:pt x="193" y="12"/>
                  </a:lnTo>
                  <a:lnTo>
                    <a:pt x="216" y="24"/>
                  </a:lnTo>
                  <a:lnTo>
                    <a:pt x="237" y="41"/>
                  </a:lnTo>
                  <a:lnTo>
                    <a:pt x="254" y="62"/>
                  </a:lnTo>
                  <a:lnTo>
                    <a:pt x="266" y="85"/>
                  </a:lnTo>
                  <a:lnTo>
                    <a:pt x="275" y="111"/>
                  </a:lnTo>
                  <a:lnTo>
                    <a:pt x="277" y="140"/>
                  </a:lnTo>
                  <a:lnTo>
                    <a:pt x="275" y="168"/>
                  </a:lnTo>
                  <a:lnTo>
                    <a:pt x="266" y="193"/>
                  </a:lnTo>
                  <a:lnTo>
                    <a:pt x="254" y="217"/>
                  </a:lnTo>
                  <a:lnTo>
                    <a:pt x="237" y="237"/>
                  </a:lnTo>
                  <a:lnTo>
                    <a:pt x="216" y="254"/>
                  </a:lnTo>
                  <a:lnTo>
                    <a:pt x="193" y="267"/>
                  </a:lnTo>
                  <a:lnTo>
                    <a:pt x="167" y="275"/>
                  </a:lnTo>
                  <a:lnTo>
                    <a:pt x="139" y="278"/>
                  </a:lnTo>
                  <a:lnTo>
                    <a:pt x="110" y="275"/>
                  </a:lnTo>
                  <a:lnTo>
                    <a:pt x="85" y="267"/>
                  </a:lnTo>
                  <a:lnTo>
                    <a:pt x="61" y="254"/>
                  </a:lnTo>
                  <a:lnTo>
                    <a:pt x="40" y="237"/>
                  </a:lnTo>
                  <a:lnTo>
                    <a:pt x="23" y="217"/>
                  </a:lnTo>
                  <a:lnTo>
                    <a:pt x="11" y="193"/>
                  </a:lnTo>
                  <a:lnTo>
                    <a:pt x="3" y="168"/>
                  </a:lnTo>
                  <a:lnTo>
                    <a:pt x="0" y="140"/>
                  </a:lnTo>
                  <a:lnTo>
                    <a:pt x="3" y="111"/>
                  </a:lnTo>
                  <a:lnTo>
                    <a:pt x="11" y="85"/>
                  </a:lnTo>
                  <a:lnTo>
                    <a:pt x="23" y="62"/>
                  </a:lnTo>
                  <a:lnTo>
                    <a:pt x="40" y="41"/>
                  </a:lnTo>
                  <a:lnTo>
                    <a:pt x="61" y="24"/>
                  </a:lnTo>
                  <a:lnTo>
                    <a:pt x="85" y="12"/>
                  </a:lnTo>
                  <a:lnTo>
                    <a:pt x="110" y="4"/>
                  </a:lnTo>
                  <a:lnTo>
                    <a:pt x="139"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32" name="Freeform 77"/>
            <p:cNvSpPr>
              <a:spLocks noEditPoints="1"/>
            </p:cNvSpPr>
            <p:nvPr/>
          </p:nvSpPr>
          <p:spPr bwMode="auto">
            <a:xfrm>
              <a:off x="4858" y="816"/>
              <a:ext cx="322" cy="384"/>
            </a:xfrm>
            <a:custGeom>
              <a:avLst/>
              <a:gdLst>
                <a:gd name="T0" fmla="*/ 501 w 2902"/>
                <a:gd name="T1" fmla="*/ 1346 h 3456"/>
                <a:gd name="T2" fmla="*/ 461 w 2902"/>
                <a:gd name="T3" fmla="*/ 1479 h 3456"/>
                <a:gd name="T4" fmla="*/ 547 w 2902"/>
                <a:gd name="T5" fmla="*/ 1585 h 3456"/>
                <a:gd name="T6" fmla="*/ 686 w 2902"/>
                <a:gd name="T7" fmla="*/ 1571 h 3456"/>
                <a:gd name="T8" fmla="*/ 750 w 2902"/>
                <a:gd name="T9" fmla="*/ 1448 h 3456"/>
                <a:gd name="T10" fmla="*/ 686 w 2902"/>
                <a:gd name="T11" fmla="*/ 1328 h 3456"/>
                <a:gd name="T12" fmla="*/ 1897 w 2902"/>
                <a:gd name="T13" fmla="*/ 536 h 3456"/>
                <a:gd name="T14" fmla="*/ 1494 w 2902"/>
                <a:gd name="T15" fmla="*/ 595 h 3456"/>
                <a:gd name="T16" fmla="*/ 1398 w 2902"/>
                <a:gd name="T17" fmla="*/ 882 h 3456"/>
                <a:gd name="T18" fmla="*/ 1324 w 2902"/>
                <a:gd name="T19" fmla="*/ 595 h 3456"/>
                <a:gd name="T20" fmla="*/ 1076 w 2902"/>
                <a:gd name="T21" fmla="*/ 555 h 3456"/>
                <a:gd name="T22" fmla="*/ 896 w 2902"/>
                <a:gd name="T23" fmla="*/ 548 h 3456"/>
                <a:gd name="T24" fmla="*/ 708 w 2902"/>
                <a:gd name="T25" fmla="*/ 690 h 3456"/>
                <a:gd name="T26" fmla="*/ 549 w 2902"/>
                <a:gd name="T27" fmla="*/ 775 h 3456"/>
                <a:gd name="T28" fmla="*/ 623 w 2902"/>
                <a:gd name="T29" fmla="*/ 1096 h 3456"/>
                <a:gd name="T30" fmla="*/ 871 w 2902"/>
                <a:gd name="T31" fmla="*/ 1136 h 3456"/>
                <a:gd name="T32" fmla="*/ 1051 w 2902"/>
                <a:gd name="T33" fmla="*/ 1145 h 3456"/>
                <a:gd name="T34" fmla="*/ 1239 w 2902"/>
                <a:gd name="T35" fmla="*/ 1001 h 3456"/>
                <a:gd name="T36" fmla="*/ 1267 w 2902"/>
                <a:gd name="T37" fmla="*/ 939 h 3456"/>
                <a:gd name="T38" fmla="*/ 1595 w 2902"/>
                <a:gd name="T39" fmla="*/ 1215 h 3456"/>
                <a:gd name="T40" fmla="*/ 1850 w 2902"/>
                <a:gd name="T41" fmla="*/ 1441 h 3456"/>
                <a:gd name="T42" fmla="*/ 2026 w 2902"/>
                <a:gd name="T43" fmla="*/ 1741 h 3456"/>
                <a:gd name="T44" fmla="*/ 1891 w 2902"/>
                <a:gd name="T45" fmla="*/ 1862 h 3456"/>
                <a:gd name="T46" fmla="*/ 1778 w 2902"/>
                <a:gd name="T47" fmla="*/ 2013 h 3456"/>
                <a:gd name="T48" fmla="*/ 1842 w 2902"/>
                <a:gd name="T49" fmla="*/ 2177 h 3456"/>
                <a:gd name="T50" fmla="*/ 2039 w 2902"/>
                <a:gd name="T51" fmla="*/ 2213 h 3456"/>
                <a:gd name="T52" fmla="*/ 2206 w 2902"/>
                <a:gd name="T53" fmla="*/ 2209 h 3456"/>
                <a:gd name="T54" fmla="*/ 2341 w 2902"/>
                <a:gd name="T55" fmla="*/ 2086 h 3456"/>
                <a:gd name="T56" fmla="*/ 2453 w 2902"/>
                <a:gd name="T57" fmla="*/ 1935 h 3456"/>
                <a:gd name="T58" fmla="*/ 2390 w 2902"/>
                <a:gd name="T59" fmla="*/ 1771 h 3456"/>
                <a:gd name="T60" fmla="*/ 2193 w 2902"/>
                <a:gd name="T61" fmla="*/ 1735 h 3456"/>
                <a:gd name="T62" fmla="*/ 2168 w 2902"/>
                <a:gd name="T63" fmla="*/ 1445 h 3456"/>
                <a:gd name="T64" fmla="*/ 2424 w 2902"/>
                <a:gd name="T65" fmla="*/ 1237 h 3456"/>
                <a:gd name="T66" fmla="*/ 2667 w 2902"/>
                <a:gd name="T67" fmla="*/ 910 h 3456"/>
                <a:gd name="T68" fmla="*/ 2416 w 2902"/>
                <a:gd name="T69" fmla="*/ 473 h 3456"/>
                <a:gd name="T70" fmla="*/ 2123 w 2902"/>
                <a:gd name="T71" fmla="*/ 342 h 3456"/>
                <a:gd name="T72" fmla="*/ 1867 w 2902"/>
                <a:gd name="T73" fmla="*/ 29 h 3456"/>
                <a:gd name="T74" fmla="*/ 2278 w 2902"/>
                <a:gd name="T75" fmla="*/ 194 h 3456"/>
                <a:gd name="T76" fmla="*/ 2607 w 2902"/>
                <a:gd name="T77" fmla="*/ 482 h 3456"/>
                <a:gd name="T78" fmla="*/ 2823 w 2902"/>
                <a:gd name="T79" fmla="*/ 863 h 3456"/>
                <a:gd name="T80" fmla="*/ 2902 w 2902"/>
                <a:gd name="T81" fmla="*/ 1311 h 3456"/>
                <a:gd name="T82" fmla="*/ 2830 w 2902"/>
                <a:gd name="T83" fmla="*/ 1738 h 3456"/>
                <a:gd name="T84" fmla="*/ 2634 w 2902"/>
                <a:gd name="T85" fmla="*/ 2107 h 3456"/>
                <a:gd name="T86" fmla="*/ 2402 w 2902"/>
                <a:gd name="T87" fmla="*/ 3456 h 3456"/>
                <a:gd name="T88" fmla="*/ 687 w 2902"/>
                <a:gd name="T89" fmla="*/ 3042 h 3456"/>
                <a:gd name="T90" fmla="*/ 453 w 2902"/>
                <a:gd name="T91" fmla="*/ 2921 h 3456"/>
                <a:gd name="T92" fmla="*/ 309 w 2902"/>
                <a:gd name="T93" fmla="*/ 2701 h 3456"/>
                <a:gd name="T94" fmla="*/ 107 w 2902"/>
                <a:gd name="T95" fmla="*/ 2171 h 3456"/>
                <a:gd name="T96" fmla="*/ 11 w 2902"/>
                <a:gd name="T97" fmla="*/ 2111 h 3456"/>
                <a:gd name="T98" fmla="*/ 282 w 2902"/>
                <a:gd name="T99" fmla="*/ 1334 h 3456"/>
                <a:gd name="T100" fmla="*/ 290 w 2902"/>
                <a:gd name="T101" fmla="*/ 1264 h 3456"/>
                <a:gd name="T102" fmla="*/ 307 w 2902"/>
                <a:gd name="T103" fmla="*/ 1112 h 3456"/>
                <a:gd name="T104" fmla="*/ 332 w 2902"/>
                <a:gd name="T105" fmla="*/ 961 h 3456"/>
                <a:gd name="T106" fmla="*/ 462 w 2902"/>
                <a:gd name="T107" fmla="*/ 638 h 3456"/>
                <a:gd name="T108" fmla="*/ 749 w 2902"/>
                <a:gd name="T109" fmla="*/ 313 h 3456"/>
                <a:gd name="T110" fmla="*/ 1140 w 2902"/>
                <a:gd name="T111" fmla="*/ 86 h 3456"/>
                <a:gd name="T112" fmla="*/ 1592 w 2902"/>
                <a:gd name="T11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2" h="3456">
                  <a:moveTo>
                    <a:pt x="603" y="1303"/>
                  </a:moveTo>
                  <a:lnTo>
                    <a:pt x="574" y="1306"/>
                  </a:lnTo>
                  <a:lnTo>
                    <a:pt x="547" y="1314"/>
                  </a:lnTo>
                  <a:lnTo>
                    <a:pt x="522" y="1328"/>
                  </a:lnTo>
                  <a:lnTo>
                    <a:pt x="501" y="1346"/>
                  </a:lnTo>
                  <a:lnTo>
                    <a:pt x="483" y="1367"/>
                  </a:lnTo>
                  <a:lnTo>
                    <a:pt x="470" y="1392"/>
                  </a:lnTo>
                  <a:lnTo>
                    <a:pt x="461" y="1419"/>
                  </a:lnTo>
                  <a:lnTo>
                    <a:pt x="458" y="1448"/>
                  </a:lnTo>
                  <a:lnTo>
                    <a:pt x="461" y="1479"/>
                  </a:lnTo>
                  <a:lnTo>
                    <a:pt x="470" y="1506"/>
                  </a:lnTo>
                  <a:lnTo>
                    <a:pt x="483" y="1531"/>
                  </a:lnTo>
                  <a:lnTo>
                    <a:pt x="501" y="1553"/>
                  </a:lnTo>
                  <a:lnTo>
                    <a:pt x="522" y="1571"/>
                  </a:lnTo>
                  <a:lnTo>
                    <a:pt x="547" y="1585"/>
                  </a:lnTo>
                  <a:lnTo>
                    <a:pt x="574" y="1593"/>
                  </a:lnTo>
                  <a:lnTo>
                    <a:pt x="603" y="1596"/>
                  </a:lnTo>
                  <a:lnTo>
                    <a:pt x="633" y="1593"/>
                  </a:lnTo>
                  <a:lnTo>
                    <a:pt x="661" y="1585"/>
                  </a:lnTo>
                  <a:lnTo>
                    <a:pt x="686" y="1571"/>
                  </a:lnTo>
                  <a:lnTo>
                    <a:pt x="707" y="1553"/>
                  </a:lnTo>
                  <a:lnTo>
                    <a:pt x="725" y="1531"/>
                  </a:lnTo>
                  <a:lnTo>
                    <a:pt x="738" y="1506"/>
                  </a:lnTo>
                  <a:lnTo>
                    <a:pt x="748" y="1479"/>
                  </a:lnTo>
                  <a:lnTo>
                    <a:pt x="750" y="1448"/>
                  </a:lnTo>
                  <a:lnTo>
                    <a:pt x="748" y="1419"/>
                  </a:lnTo>
                  <a:lnTo>
                    <a:pt x="738" y="1392"/>
                  </a:lnTo>
                  <a:lnTo>
                    <a:pt x="725" y="1367"/>
                  </a:lnTo>
                  <a:lnTo>
                    <a:pt x="707" y="1346"/>
                  </a:lnTo>
                  <a:lnTo>
                    <a:pt x="686" y="1328"/>
                  </a:lnTo>
                  <a:lnTo>
                    <a:pt x="661" y="1314"/>
                  </a:lnTo>
                  <a:lnTo>
                    <a:pt x="633" y="1306"/>
                  </a:lnTo>
                  <a:lnTo>
                    <a:pt x="603" y="1303"/>
                  </a:lnTo>
                  <a:close/>
                  <a:moveTo>
                    <a:pt x="1930" y="342"/>
                  </a:moveTo>
                  <a:lnTo>
                    <a:pt x="1897" y="536"/>
                  </a:lnTo>
                  <a:lnTo>
                    <a:pt x="1863" y="547"/>
                  </a:lnTo>
                  <a:lnTo>
                    <a:pt x="1829" y="559"/>
                  </a:lnTo>
                  <a:lnTo>
                    <a:pt x="1796" y="575"/>
                  </a:lnTo>
                  <a:lnTo>
                    <a:pt x="1631" y="458"/>
                  </a:lnTo>
                  <a:lnTo>
                    <a:pt x="1494" y="595"/>
                  </a:lnTo>
                  <a:lnTo>
                    <a:pt x="1608" y="754"/>
                  </a:lnTo>
                  <a:lnTo>
                    <a:pt x="1588" y="792"/>
                  </a:lnTo>
                  <a:lnTo>
                    <a:pt x="1571" y="832"/>
                  </a:lnTo>
                  <a:lnTo>
                    <a:pt x="1564" y="854"/>
                  </a:lnTo>
                  <a:lnTo>
                    <a:pt x="1398" y="882"/>
                  </a:lnTo>
                  <a:lnTo>
                    <a:pt x="1398" y="790"/>
                  </a:lnTo>
                  <a:lnTo>
                    <a:pt x="1272" y="768"/>
                  </a:lnTo>
                  <a:lnTo>
                    <a:pt x="1261" y="736"/>
                  </a:lnTo>
                  <a:lnTo>
                    <a:pt x="1247" y="705"/>
                  </a:lnTo>
                  <a:lnTo>
                    <a:pt x="1324" y="595"/>
                  </a:lnTo>
                  <a:lnTo>
                    <a:pt x="1234" y="506"/>
                  </a:lnTo>
                  <a:lnTo>
                    <a:pt x="1130" y="580"/>
                  </a:lnTo>
                  <a:lnTo>
                    <a:pt x="1106" y="568"/>
                  </a:lnTo>
                  <a:lnTo>
                    <a:pt x="1080" y="556"/>
                  </a:lnTo>
                  <a:lnTo>
                    <a:pt x="1076" y="555"/>
                  </a:lnTo>
                  <a:lnTo>
                    <a:pt x="1072" y="554"/>
                  </a:lnTo>
                  <a:lnTo>
                    <a:pt x="1067" y="553"/>
                  </a:lnTo>
                  <a:lnTo>
                    <a:pt x="1044" y="421"/>
                  </a:lnTo>
                  <a:lnTo>
                    <a:pt x="918" y="421"/>
                  </a:lnTo>
                  <a:lnTo>
                    <a:pt x="896" y="548"/>
                  </a:lnTo>
                  <a:lnTo>
                    <a:pt x="864" y="558"/>
                  </a:lnTo>
                  <a:lnTo>
                    <a:pt x="833" y="573"/>
                  </a:lnTo>
                  <a:lnTo>
                    <a:pt x="723" y="495"/>
                  </a:lnTo>
                  <a:lnTo>
                    <a:pt x="634" y="584"/>
                  </a:lnTo>
                  <a:lnTo>
                    <a:pt x="708" y="690"/>
                  </a:lnTo>
                  <a:lnTo>
                    <a:pt x="696" y="714"/>
                  </a:lnTo>
                  <a:lnTo>
                    <a:pt x="685" y="739"/>
                  </a:lnTo>
                  <a:lnTo>
                    <a:pt x="683" y="746"/>
                  </a:lnTo>
                  <a:lnTo>
                    <a:pt x="681" y="753"/>
                  </a:lnTo>
                  <a:lnTo>
                    <a:pt x="549" y="775"/>
                  </a:lnTo>
                  <a:lnTo>
                    <a:pt x="549" y="902"/>
                  </a:lnTo>
                  <a:lnTo>
                    <a:pt x="677" y="924"/>
                  </a:lnTo>
                  <a:lnTo>
                    <a:pt x="687" y="956"/>
                  </a:lnTo>
                  <a:lnTo>
                    <a:pt x="701" y="987"/>
                  </a:lnTo>
                  <a:lnTo>
                    <a:pt x="623" y="1096"/>
                  </a:lnTo>
                  <a:lnTo>
                    <a:pt x="712" y="1187"/>
                  </a:lnTo>
                  <a:lnTo>
                    <a:pt x="818" y="1111"/>
                  </a:lnTo>
                  <a:lnTo>
                    <a:pt x="842" y="1125"/>
                  </a:lnTo>
                  <a:lnTo>
                    <a:pt x="867" y="1135"/>
                  </a:lnTo>
                  <a:lnTo>
                    <a:pt x="871" y="1136"/>
                  </a:lnTo>
                  <a:lnTo>
                    <a:pt x="876" y="1137"/>
                  </a:lnTo>
                  <a:lnTo>
                    <a:pt x="881" y="1138"/>
                  </a:lnTo>
                  <a:lnTo>
                    <a:pt x="904" y="1271"/>
                  </a:lnTo>
                  <a:lnTo>
                    <a:pt x="1029" y="1270"/>
                  </a:lnTo>
                  <a:lnTo>
                    <a:pt x="1051" y="1145"/>
                  </a:lnTo>
                  <a:lnTo>
                    <a:pt x="1084" y="1133"/>
                  </a:lnTo>
                  <a:lnTo>
                    <a:pt x="1115" y="1120"/>
                  </a:lnTo>
                  <a:lnTo>
                    <a:pt x="1224" y="1196"/>
                  </a:lnTo>
                  <a:lnTo>
                    <a:pt x="1314" y="1107"/>
                  </a:lnTo>
                  <a:lnTo>
                    <a:pt x="1239" y="1001"/>
                  </a:lnTo>
                  <a:lnTo>
                    <a:pt x="1252" y="978"/>
                  </a:lnTo>
                  <a:lnTo>
                    <a:pt x="1262" y="953"/>
                  </a:lnTo>
                  <a:lnTo>
                    <a:pt x="1264" y="949"/>
                  </a:lnTo>
                  <a:lnTo>
                    <a:pt x="1265" y="944"/>
                  </a:lnTo>
                  <a:lnTo>
                    <a:pt x="1267" y="939"/>
                  </a:lnTo>
                  <a:lnTo>
                    <a:pt x="1363" y="923"/>
                  </a:lnTo>
                  <a:lnTo>
                    <a:pt x="1363" y="1081"/>
                  </a:lnTo>
                  <a:lnTo>
                    <a:pt x="1556" y="1114"/>
                  </a:lnTo>
                  <a:lnTo>
                    <a:pt x="1573" y="1166"/>
                  </a:lnTo>
                  <a:lnTo>
                    <a:pt x="1595" y="1215"/>
                  </a:lnTo>
                  <a:lnTo>
                    <a:pt x="1478" y="1381"/>
                  </a:lnTo>
                  <a:lnTo>
                    <a:pt x="1614" y="1517"/>
                  </a:lnTo>
                  <a:lnTo>
                    <a:pt x="1774" y="1404"/>
                  </a:lnTo>
                  <a:lnTo>
                    <a:pt x="1812" y="1424"/>
                  </a:lnTo>
                  <a:lnTo>
                    <a:pt x="1850" y="1441"/>
                  </a:lnTo>
                  <a:lnTo>
                    <a:pt x="1873" y="1448"/>
                  </a:lnTo>
                  <a:lnTo>
                    <a:pt x="1908" y="1648"/>
                  </a:lnTo>
                  <a:lnTo>
                    <a:pt x="2075" y="1648"/>
                  </a:lnTo>
                  <a:lnTo>
                    <a:pt x="2062" y="1729"/>
                  </a:lnTo>
                  <a:lnTo>
                    <a:pt x="2026" y="1741"/>
                  </a:lnTo>
                  <a:lnTo>
                    <a:pt x="1993" y="1756"/>
                  </a:lnTo>
                  <a:lnTo>
                    <a:pt x="1913" y="1700"/>
                  </a:lnTo>
                  <a:lnTo>
                    <a:pt x="1850" y="1763"/>
                  </a:lnTo>
                  <a:lnTo>
                    <a:pt x="1905" y="1839"/>
                  </a:lnTo>
                  <a:lnTo>
                    <a:pt x="1891" y="1862"/>
                  </a:lnTo>
                  <a:lnTo>
                    <a:pt x="1881" y="1887"/>
                  </a:lnTo>
                  <a:lnTo>
                    <a:pt x="1878" y="1897"/>
                  </a:lnTo>
                  <a:lnTo>
                    <a:pt x="1875" y="1907"/>
                  </a:lnTo>
                  <a:lnTo>
                    <a:pt x="1778" y="1924"/>
                  </a:lnTo>
                  <a:lnTo>
                    <a:pt x="1778" y="2013"/>
                  </a:lnTo>
                  <a:lnTo>
                    <a:pt x="1871" y="2029"/>
                  </a:lnTo>
                  <a:lnTo>
                    <a:pt x="1878" y="2053"/>
                  </a:lnTo>
                  <a:lnTo>
                    <a:pt x="1887" y="2076"/>
                  </a:lnTo>
                  <a:lnTo>
                    <a:pt x="1898" y="2098"/>
                  </a:lnTo>
                  <a:lnTo>
                    <a:pt x="1842" y="2177"/>
                  </a:lnTo>
                  <a:lnTo>
                    <a:pt x="1905" y="2240"/>
                  </a:lnTo>
                  <a:lnTo>
                    <a:pt x="1981" y="2186"/>
                  </a:lnTo>
                  <a:lnTo>
                    <a:pt x="2004" y="2199"/>
                  </a:lnTo>
                  <a:lnTo>
                    <a:pt x="2029" y="2210"/>
                  </a:lnTo>
                  <a:lnTo>
                    <a:pt x="2039" y="2213"/>
                  </a:lnTo>
                  <a:lnTo>
                    <a:pt x="2049" y="2215"/>
                  </a:lnTo>
                  <a:lnTo>
                    <a:pt x="2066" y="2312"/>
                  </a:lnTo>
                  <a:lnTo>
                    <a:pt x="2154" y="2312"/>
                  </a:lnTo>
                  <a:lnTo>
                    <a:pt x="2170" y="2219"/>
                  </a:lnTo>
                  <a:lnTo>
                    <a:pt x="2206" y="2209"/>
                  </a:lnTo>
                  <a:lnTo>
                    <a:pt x="2239" y="2192"/>
                  </a:lnTo>
                  <a:lnTo>
                    <a:pt x="2319" y="2248"/>
                  </a:lnTo>
                  <a:lnTo>
                    <a:pt x="2382" y="2186"/>
                  </a:lnTo>
                  <a:lnTo>
                    <a:pt x="2327" y="2109"/>
                  </a:lnTo>
                  <a:lnTo>
                    <a:pt x="2341" y="2086"/>
                  </a:lnTo>
                  <a:lnTo>
                    <a:pt x="2351" y="2061"/>
                  </a:lnTo>
                  <a:lnTo>
                    <a:pt x="2354" y="2052"/>
                  </a:lnTo>
                  <a:lnTo>
                    <a:pt x="2357" y="2041"/>
                  </a:lnTo>
                  <a:lnTo>
                    <a:pt x="2453" y="2024"/>
                  </a:lnTo>
                  <a:lnTo>
                    <a:pt x="2453" y="1935"/>
                  </a:lnTo>
                  <a:lnTo>
                    <a:pt x="2361" y="1920"/>
                  </a:lnTo>
                  <a:lnTo>
                    <a:pt x="2354" y="1896"/>
                  </a:lnTo>
                  <a:lnTo>
                    <a:pt x="2345" y="1873"/>
                  </a:lnTo>
                  <a:lnTo>
                    <a:pt x="2334" y="1851"/>
                  </a:lnTo>
                  <a:lnTo>
                    <a:pt x="2390" y="1771"/>
                  </a:lnTo>
                  <a:lnTo>
                    <a:pt x="2327" y="1708"/>
                  </a:lnTo>
                  <a:lnTo>
                    <a:pt x="2251" y="1762"/>
                  </a:lnTo>
                  <a:lnTo>
                    <a:pt x="2228" y="1749"/>
                  </a:lnTo>
                  <a:lnTo>
                    <a:pt x="2203" y="1738"/>
                  </a:lnTo>
                  <a:lnTo>
                    <a:pt x="2193" y="1735"/>
                  </a:lnTo>
                  <a:lnTo>
                    <a:pt x="2183" y="1733"/>
                  </a:lnTo>
                  <a:lnTo>
                    <a:pt x="2166" y="1636"/>
                  </a:lnTo>
                  <a:lnTo>
                    <a:pt x="2102" y="1636"/>
                  </a:lnTo>
                  <a:lnTo>
                    <a:pt x="2134" y="1456"/>
                  </a:lnTo>
                  <a:lnTo>
                    <a:pt x="2168" y="1445"/>
                  </a:lnTo>
                  <a:lnTo>
                    <a:pt x="2202" y="1432"/>
                  </a:lnTo>
                  <a:lnTo>
                    <a:pt x="2234" y="1416"/>
                  </a:lnTo>
                  <a:lnTo>
                    <a:pt x="2400" y="1534"/>
                  </a:lnTo>
                  <a:lnTo>
                    <a:pt x="2536" y="1397"/>
                  </a:lnTo>
                  <a:lnTo>
                    <a:pt x="2424" y="1237"/>
                  </a:lnTo>
                  <a:lnTo>
                    <a:pt x="2443" y="1200"/>
                  </a:lnTo>
                  <a:lnTo>
                    <a:pt x="2460" y="1160"/>
                  </a:lnTo>
                  <a:lnTo>
                    <a:pt x="2467" y="1138"/>
                  </a:lnTo>
                  <a:lnTo>
                    <a:pt x="2667" y="1104"/>
                  </a:lnTo>
                  <a:lnTo>
                    <a:pt x="2667" y="910"/>
                  </a:lnTo>
                  <a:lnTo>
                    <a:pt x="2474" y="878"/>
                  </a:lnTo>
                  <a:lnTo>
                    <a:pt x="2458" y="825"/>
                  </a:lnTo>
                  <a:lnTo>
                    <a:pt x="2435" y="777"/>
                  </a:lnTo>
                  <a:lnTo>
                    <a:pt x="2552" y="611"/>
                  </a:lnTo>
                  <a:lnTo>
                    <a:pt x="2416" y="473"/>
                  </a:lnTo>
                  <a:lnTo>
                    <a:pt x="2256" y="588"/>
                  </a:lnTo>
                  <a:lnTo>
                    <a:pt x="2220" y="568"/>
                  </a:lnTo>
                  <a:lnTo>
                    <a:pt x="2181" y="551"/>
                  </a:lnTo>
                  <a:lnTo>
                    <a:pt x="2158" y="544"/>
                  </a:lnTo>
                  <a:lnTo>
                    <a:pt x="2123" y="342"/>
                  </a:lnTo>
                  <a:lnTo>
                    <a:pt x="1930" y="342"/>
                  </a:lnTo>
                  <a:close/>
                  <a:moveTo>
                    <a:pt x="1592" y="0"/>
                  </a:moveTo>
                  <a:lnTo>
                    <a:pt x="1686" y="3"/>
                  </a:lnTo>
                  <a:lnTo>
                    <a:pt x="1777" y="13"/>
                  </a:lnTo>
                  <a:lnTo>
                    <a:pt x="1867" y="29"/>
                  </a:lnTo>
                  <a:lnTo>
                    <a:pt x="1955" y="51"/>
                  </a:lnTo>
                  <a:lnTo>
                    <a:pt x="2040" y="79"/>
                  </a:lnTo>
                  <a:lnTo>
                    <a:pt x="2122" y="112"/>
                  </a:lnTo>
                  <a:lnTo>
                    <a:pt x="2202" y="151"/>
                  </a:lnTo>
                  <a:lnTo>
                    <a:pt x="2278" y="194"/>
                  </a:lnTo>
                  <a:lnTo>
                    <a:pt x="2351" y="243"/>
                  </a:lnTo>
                  <a:lnTo>
                    <a:pt x="2420" y="296"/>
                  </a:lnTo>
                  <a:lnTo>
                    <a:pt x="2486" y="354"/>
                  </a:lnTo>
                  <a:lnTo>
                    <a:pt x="2548" y="416"/>
                  </a:lnTo>
                  <a:lnTo>
                    <a:pt x="2607" y="482"/>
                  </a:lnTo>
                  <a:lnTo>
                    <a:pt x="2659" y="551"/>
                  </a:lnTo>
                  <a:lnTo>
                    <a:pt x="2708" y="624"/>
                  </a:lnTo>
                  <a:lnTo>
                    <a:pt x="2751" y="701"/>
                  </a:lnTo>
                  <a:lnTo>
                    <a:pt x="2790" y="780"/>
                  </a:lnTo>
                  <a:lnTo>
                    <a:pt x="2823" y="863"/>
                  </a:lnTo>
                  <a:lnTo>
                    <a:pt x="2850" y="949"/>
                  </a:lnTo>
                  <a:lnTo>
                    <a:pt x="2872" y="1036"/>
                  </a:lnTo>
                  <a:lnTo>
                    <a:pt x="2889" y="1126"/>
                  </a:lnTo>
                  <a:lnTo>
                    <a:pt x="2898" y="1218"/>
                  </a:lnTo>
                  <a:lnTo>
                    <a:pt x="2902" y="1311"/>
                  </a:lnTo>
                  <a:lnTo>
                    <a:pt x="2898" y="1400"/>
                  </a:lnTo>
                  <a:lnTo>
                    <a:pt x="2890" y="1488"/>
                  </a:lnTo>
                  <a:lnTo>
                    <a:pt x="2875" y="1573"/>
                  </a:lnTo>
                  <a:lnTo>
                    <a:pt x="2856" y="1657"/>
                  </a:lnTo>
                  <a:lnTo>
                    <a:pt x="2830" y="1738"/>
                  </a:lnTo>
                  <a:lnTo>
                    <a:pt x="2800" y="1818"/>
                  </a:lnTo>
                  <a:lnTo>
                    <a:pt x="2766" y="1895"/>
                  </a:lnTo>
                  <a:lnTo>
                    <a:pt x="2726" y="1968"/>
                  </a:lnTo>
                  <a:lnTo>
                    <a:pt x="2682" y="2039"/>
                  </a:lnTo>
                  <a:lnTo>
                    <a:pt x="2634" y="2107"/>
                  </a:lnTo>
                  <a:lnTo>
                    <a:pt x="2581" y="2171"/>
                  </a:lnTo>
                  <a:lnTo>
                    <a:pt x="2525" y="2232"/>
                  </a:lnTo>
                  <a:lnTo>
                    <a:pt x="2464" y="2289"/>
                  </a:lnTo>
                  <a:lnTo>
                    <a:pt x="2402" y="2343"/>
                  </a:lnTo>
                  <a:lnTo>
                    <a:pt x="2402" y="3456"/>
                  </a:lnTo>
                  <a:lnTo>
                    <a:pt x="1004" y="3456"/>
                  </a:lnTo>
                  <a:lnTo>
                    <a:pt x="1004" y="3055"/>
                  </a:lnTo>
                  <a:lnTo>
                    <a:pt x="798" y="3055"/>
                  </a:lnTo>
                  <a:lnTo>
                    <a:pt x="743" y="3052"/>
                  </a:lnTo>
                  <a:lnTo>
                    <a:pt x="687" y="3042"/>
                  </a:lnTo>
                  <a:lnTo>
                    <a:pt x="635" y="3028"/>
                  </a:lnTo>
                  <a:lnTo>
                    <a:pt x="585" y="3009"/>
                  </a:lnTo>
                  <a:lnTo>
                    <a:pt x="538" y="2984"/>
                  </a:lnTo>
                  <a:lnTo>
                    <a:pt x="494" y="2954"/>
                  </a:lnTo>
                  <a:lnTo>
                    <a:pt x="453" y="2921"/>
                  </a:lnTo>
                  <a:lnTo>
                    <a:pt x="415" y="2884"/>
                  </a:lnTo>
                  <a:lnTo>
                    <a:pt x="382" y="2842"/>
                  </a:lnTo>
                  <a:lnTo>
                    <a:pt x="352" y="2798"/>
                  </a:lnTo>
                  <a:lnTo>
                    <a:pt x="328" y="2751"/>
                  </a:lnTo>
                  <a:lnTo>
                    <a:pt x="309" y="2701"/>
                  </a:lnTo>
                  <a:lnTo>
                    <a:pt x="294" y="2649"/>
                  </a:lnTo>
                  <a:lnTo>
                    <a:pt x="284" y="2594"/>
                  </a:lnTo>
                  <a:lnTo>
                    <a:pt x="282" y="2538"/>
                  </a:lnTo>
                  <a:lnTo>
                    <a:pt x="282" y="2171"/>
                  </a:lnTo>
                  <a:lnTo>
                    <a:pt x="107" y="2171"/>
                  </a:lnTo>
                  <a:lnTo>
                    <a:pt x="83" y="2168"/>
                  </a:lnTo>
                  <a:lnTo>
                    <a:pt x="60" y="2161"/>
                  </a:lnTo>
                  <a:lnTo>
                    <a:pt x="40" y="2148"/>
                  </a:lnTo>
                  <a:lnTo>
                    <a:pt x="24" y="2131"/>
                  </a:lnTo>
                  <a:lnTo>
                    <a:pt x="11" y="2111"/>
                  </a:lnTo>
                  <a:lnTo>
                    <a:pt x="3" y="2089"/>
                  </a:lnTo>
                  <a:lnTo>
                    <a:pt x="0" y="2065"/>
                  </a:lnTo>
                  <a:lnTo>
                    <a:pt x="2" y="2043"/>
                  </a:lnTo>
                  <a:lnTo>
                    <a:pt x="8" y="2024"/>
                  </a:lnTo>
                  <a:lnTo>
                    <a:pt x="282" y="1334"/>
                  </a:lnTo>
                  <a:lnTo>
                    <a:pt x="282" y="1331"/>
                  </a:lnTo>
                  <a:lnTo>
                    <a:pt x="283" y="1322"/>
                  </a:lnTo>
                  <a:lnTo>
                    <a:pt x="284" y="1307"/>
                  </a:lnTo>
                  <a:lnTo>
                    <a:pt x="287" y="1288"/>
                  </a:lnTo>
                  <a:lnTo>
                    <a:pt x="290" y="1264"/>
                  </a:lnTo>
                  <a:lnTo>
                    <a:pt x="292" y="1238"/>
                  </a:lnTo>
                  <a:lnTo>
                    <a:pt x="296" y="1209"/>
                  </a:lnTo>
                  <a:lnTo>
                    <a:pt x="299" y="1177"/>
                  </a:lnTo>
                  <a:lnTo>
                    <a:pt x="303" y="1145"/>
                  </a:lnTo>
                  <a:lnTo>
                    <a:pt x="307" y="1112"/>
                  </a:lnTo>
                  <a:lnTo>
                    <a:pt x="312" y="1079"/>
                  </a:lnTo>
                  <a:lnTo>
                    <a:pt x="317" y="1047"/>
                  </a:lnTo>
                  <a:lnTo>
                    <a:pt x="321" y="1016"/>
                  </a:lnTo>
                  <a:lnTo>
                    <a:pt x="326" y="988"/>
                  </a:lnTo>
                  <a:lnTo>
                    <a:pt x="332" y="961"/>
                  </a:lnTo>
                  <a:lnTo>
                    <a:pt x="336" y="939"/>
                  </a:lnTo>
                  <a:lnTo>
                    <a:pt x="358" y="862"/>
                  </a:lnTo>
                  <a:lnTo>
                    <a:pt x="386" y="785"/>
                  </a:lnTo>
                  <a:lnTo>
                    <a:pt x="420" y="711"/>
                  </a:lnTo>
                  <a:lnTo>
                    <a:pt x="462" y="638"/>
                  </a:lnTo>
                  <a:lnTo>
                    <a:pt x="509" y="567"/>
                  </a:lnTo>
                  <a:lnTo>
                    <a:pt x="562" y="499"/>
                  </a:lnTo>
                  <a:lnTo>
                    <a:pt x="619" y="434"/>
                  </a:lnTo>
                  <a:lnTo>
                    <a:pt x="682" y="372"/>
                  </a:lnTo>
                  <a:lnTo>
                    <a:pt x="749" y="313"/>
                  </a:lnTo>
                  <a:lnTo>
                    <a:pt x="820" y="258"/>
                  </a:lnTo>
                  <a:lnTo>
                    <a:pt x="895" y="207"/>
                  </a:lnTo>
                  <a:lnTo>
                    <a:pt x="974" y="162"/>
                  </a:lnTo>
                  <a:lnTo>
                    <a:pt x="1055" y="121"/>
                  </a:lnTo>
                  <a:lnTo>
                    <a:pt x="1140" y="86"/>
                  </a:lnTo>
                  <a:lnTo>
                    <a:pt x="1227" y="56"/>
                  </a:lnTo>
                  <a:lnTo>
                    <a:pt x="1316" y="31"/>
                  </a:lnTo>
                  <a:lnTo>
                    <a:pt x="1407" y="15"/>
                  </a:lnTo>
                  <a:lnTo>
                    <a:pt x="1499" y="3"/>
                  </a:lnTo>
                  <a:lnTo>
                    <a:pt x="159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spTree>
    <p:extLst>
      <p:ext uri="{BB962C8B-B14F-4D97-AF65-F5344CB8AC3E}">
        <p14:creationId xmlns:p14="http://schemas.microsoft.com/office/powerpoint/2010/main" val="4373156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1"/>
            </p:custDataLst>
            <p:extLst>
              <p:ext uri="{D42A27DB-BD31-4B8C-83A1-F6EECF244321}">
                <p14:modId xmlns:p14="http://schemas.microsoft.com/office/powerpoint/2010/main" val="3678754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2" imgH="346" progId="TCLayout.ActiveDocument.1">
                  <p:embed/>
                </p:oleObj>
              </mc:Choice>
              <mc:Fallback>
                <p:oleObj name="think-cell Folie" r:id="rId6" imgW="352" imgH="346" progId="TCLayout.ActiveDocument.1">
                  <p:embed/>
                  <p:pic>
                    <p:nvPicPr>
                      <p:cNvPr id="24" name="Objekt 2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Die elektronische Bekanntgabe des Widerspruchbescheids erfordert eine "</a:t>
            </a:r>
            <a:r>
              <a:rPr lang="de-DE" dirty="0" err="1"/>
              <a:t>quali-fizierte</a:t>
            </a:r>
            <a:r>
              <a:rPr lang="de-DE" dirty="0"/>
              <a:t>" Bekanntgabe und bedarf einer leicht anderen Form der Einwilligung (1/2)</a:t>
            </a:r>
          </a:p>
        </p:txBody>
      </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sp>
        <p:nvSpPr>
          <p:cNvPr id="5" name="Foliennummernplatzhalter 4"/>
          <p:cNvSpPr>
            <a:spLocks noGrp="1"/>
          </p:cNvSpPr>
          <p:nvPr>
            <p:ph type="sldNum" sz="quarter" idx="12"/>
          </p:nvPr>
        </p:nvSpPr>
        <p:spPr/>
        <p:txBody>
          <a:bodyPr/>
          <a:lstStyle/>
          <a:p>
            <a:fld id="{D4A18DF9-8FF6-4BA5-BC52-5FB4772E2292}" type="slidenum">
              <a:rPr lang="de-DE" smtClean="0"/>
              <a:pPr/>
              <a:t>6</a:t>
            </a:fld>
            <a:endParaRPr lang="de-DE" dirty="0"/>
          </a:p>
        </p:txBody>
      </p:sp>
      <p:sp>
        <p:nvSpPr>
          <p:cNvPr id="6" name="Textplatzhalter 5"/>
          <p:cNvSpPr>
            <a:spLocks noGrp="1"/>
          </p:cNvSpPr>
          <p:nvPr>
            <p:ph type="body" sz="quarter" idx="14"/>
          </p:nvPr>
        </p:nvSpPr>
        <p:spPr/>
        <p:txBody>
          <a:bodyPr/>
          <a:lstStyle/>
          <a:p>
            <a:r>
              <a:rPr lang="de-DE" dirty="0"/>
              <a:t>Plattformbasierte Verwaltungsdigitalisierung</a:t>
            </a:r>
          </a:p>
        </p:txBody>
      </p:sp>
      <p:sp>
        <p:nvSpPr>
          <p:cNvPr id="7" name="Textplatzhalter 6"/>
          <p:cNvSpPr>
            <a:spLocks noGrp="1"/>
          </p:cNvSpPr>
          <p:nvPr>
            <p:ph type="body" sz="quarter" idx="13"/>
          </p:nvPr>
        </p:nvSpPr>
        <p:spPr/>
        <p:txBody>
          <a:bodyPr/>
          <a:lstStyle/>
          <a:p>
            <a:r>
              <a:rPr lang="de-DE" dirty="0"/>
              <a:t>Technical Notes</a:t>
            </a:r>
          </a:p>
        </p:txBody>
      </p:sp>
      <p:sp>
        <p:nvSpPr>
          <p:cNvPr id="3" name="Textplatzhalter 2"/>
          <p:cNvSpPr>
            <a:spLocks noGrp="1"/>
          </p:cNvSpPr>
          <p:nvPr>
            <p:ph type="body" sz="quarter" idx="15"/>
          </p:nvPr>
        </p:nvSpPr>
        <p:spPr>
          <a:xfrm>
            <a:off x="693211" y="6577364"/>
            <a:ext cx="5044808" cy="123111"/>
          </a:xfrm>
        </p:spPr>
        <p:txBody>
          <a:bodyPr/>
          <a:lstStyle/>
          <a:p>
            <a:r>
              <a:rPr lang="de-DE" dirty="0"/>
              <a:t>* Beachte: Das Gesetz sagt nicht, wie die Benachrichtigung erfolgen kann</a:t>
            </a:r>
          </a:p>
        </p:txBody>
      </p:sp>
      <p:sp>
        <p:nvSpPr>
          <p:cNvPr id="9" name="Inhaltsplatzhalter 1"/>
          <p:cNvSpPr txBox="1">
            <a:spLocks/>
          </p:cNvSpPr>
          <p:nvPr/>
        </p:nvSpPr>
        <p:spPr>
          <a:xfrm>
            <a:off x="2927475" y="1691159"/>
            <a:ext cx="8574229" cy="4464313"/>
          </a:xfrm>
          <a:prstGeom prst="rect">
            <a:avLst/>
          </a:prstGeom>
          <a:solidFill>
            <a:schemeClr val="bg1"/>
          </a:solidFill>
        </p:spPr>
        <p:txBody>
          <a:bodyPr anchor="ctr"/>
          <a:lstStyle>
            <a:lvl1pPr marL="27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1pPr>
            <a:lvl2pPr marL="54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2pPr>
            <a:lvl3pPr marL="81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3pPr>
            <a:lvl4pPr marL="108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
              </a:spcAft>
              <a:buClr>
                <a:schemeClr val="accent2"/>
              </a:buClr>
              <a:buFont typeface="Wingdings" panose="05000000000000000000" pitchFamily="2" charset="2"/>
              <a:buChar char="§"/>
            </a:pPr>
            <a:r>
              <a:rPr lang="de-DE" sz="1800" b="1" dirty="0"/>
              <a:t>Hinweistext A, wenn bundID (§ 5 VwZG statt § 9 OZG): </a:t>
            </a:r>
            <a:r>
              <a:rPr lang="de-DE" sz="1800" dirty="0"/>
              <a:t>Mit Ihrer Einwilligung kann Ihnen nach der Bearbeitung des Vorgangs ein elektronischer Bescheid zum Abruf im Postfach Ihres Nutzerkontos gegen Empfangsbekenntnis übermittelt werden. Sie werden spätestens an dem Tag, an dem der Bescheid zum Abruf bereitgestellt wird, über die zuvor von Ihnen anzugebende Benachrichtigungsadresse über die Möglichkeit des Abrufs informiert. Das dem Übermittlungsschreiben beigefügte Empfangsbekenntnis ist umgehend zurückzusenden. Andernfalls gilt der Bescheid am dritten Tag nach Absendung an Sie als zugestellt. An die Zustellung sind Folgen geknüpft, unter anderem wird die Klagefrist in Gang gesetzt. Bitte beachten Sie dies auch bei der Wahl Ihrer Benachrichtigungsadresse, denn bereits an dieser Stelle kann das Risiko, von der Bereitstellung zum Abruf verspätete oder gar keine Kenntnis zu erlangen, verringert werden. Es ist gerade nicht entscheidend, ob sie den Bescheid auch tatsächlich abrufen und speichern. Die Einwilligung ist mit Wirkung für die Zukunft widerruflich. </a:t>
            </a:r>
          </a:p>
        </p:txBody>
      </p:sp>
      <p:sp>
        <p:nvSpPr>
          <p:cNvPr id="10" name="Rahmen">
            <a:extLst>
              <a:ext uri="{FF2B5EF4-FFF2-40B4-BE49-F238E27FC236}">
                <a16:creationId xmlns:a16="http://schemas.microsoft.com/office/drawing/2014/main" id="{12A524A8-D367-4717-963A-1FC487F27007}"/>
              </a:ext>
            </a:extLst>
          </p:cNvPr>
          <p:cNvSpPr/>
          <p:nvPr>
            <p:custDataLst>
              <p:tags r:id="rId2"/>
            </p:custDataLst>
          </p:nvPr>
        </p:nvSpPr>
        <p:spPr>
          <a:xfrm>
            <a:off x="2920181" y="1622047"/>
            <a:ext cx="8581523" cy="246726"/>
          </a:xfrm>
          <a:custGeom>
            <a:avLst/>
            <a:gdLst>
              <a:gd name="connsiteX0" fmla="*/ 0 w 9753600"/>
              <a:gd name="connsiteY0" fmla="*/ 74676000 h 74777600"/>
              <a:gd name="connsiteX1" fmla="*/ 0 w 9753600"/>
              <a:gd name="connsiteY1" fmla="*/ 0 h 74777600"/>
              <a:gd name="connsiteX2" fmla="*/ 9753600 w 9753600"/>
              <a:gd name="connsiteY2" fmla="*/ 0 h 74777600"/>
              <a:gd name="connsiteX3" fmla="*/ 9753600 w 9753600"/>
              <a:gd name="connsiteY3" fmla="*/ 74777600 h 74777600"/>
            </a:gdLst>
            <a:ahLst/>
            <a:cxnLst>
              <a:cxn ang="0">
                <a:pos x="connsiteX0" y="connsiteY0"/>
              </a:cxn>
              <a:cxn ang="0">
                <a:pos x="connsiteX1" y="connsiteY1"/>
              </a:cxn>
              <a:cxn ang="0">
                <a:pos x="connsiteX2" y="connsiteY2"/>
              </a:cxn>
              <a:cxn ang="0">
                <a:pos x="connsiteX3" y="connsiteY3"/>
              </a:cxn>
            </a:cxnLst>
            <a:rect l="l" t="t" r="r" b="b"/>
            <a:pathLst>
              <a:path w="9753600" h="74777600">
                <a:moveTo>
                  <a:pt x="0" y="74676000"/>
                </a:moveTo>
                <a:lnTo>
                  <a:pt x="0" y="0"/>
                </a:lnTo>
                <a:lnTo>
                  <a:pt x="9753600" y="0"/>
                </a:lnTo>
                <a:lnTo>
                  <a:pt x="9753600" y="74777600"/>
                </a:lnTo>
              </a:path>
            </a:pathLst>
          </a:custGeom>
          <a:noFill/>
          <a:ln w="19050"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11" name="Rahmen">
            <a:extLst>
              <a:ext uri="{FF2B5EF4-FFF2-40B4-BE49-F238E27FC236}">
                <a16:creationId xmlns:a16="http://schemas.microsoft.com/office/drawing/2014/main" id="{3DAEB92D-EA82-42CC-959C-80846FA73F75}"/>
              </a:ext>
            </a:extLst>
          </p:cNvPr>
          <p:cNvSpPr/>
          <p:nvPr>
            <p:custDataLst>
              <p:tags r:id="rId3"/>
            </p:custDataLst>
          </p:nvPr>
        </p:nvSpPr>
        <p:spPr>
          <a:xfrm>
            <a:off x="2920181" y="6128981"/>
            <a:ext cx="8566935" cy="182546"/>
          </a:xfrm>
          <a:custGeom>
            <a:avLst/>
            <a:gdLst>
              <a:gd name="connsiteX0" fmla="*/ 0 w 31800800"/>
              <a:gd name="connsiteY0" fmla="*/ 0 h 70205600"/>
              <a:gd name="connsiteX1" fmla="*/ 0 w 31800800"/>
              <a:gd name="connsiteY1" fmla="*/ 70205600 h 70205600"/>
              <a:gd name="connsiteX2" fmla="*/ 31800800 w 31800800"/>
              <a:gd name="connsiteY2" fmla="*/ 70205600 h 70205600"/>
              <a:gd name="connsiteX3" fmla="*/ 31800800 w 31800800"/>
              <a:gd name="connsiteY3" fmla="*/ 0 h 70205600"/>
            </a:gdLst>
            <a:ahLst/>
            <a:cxnLst>
              <a:cxn ang="0">
                <a:pos x="connsiteX0" y="connsiteY0"/>
              </a:cxn>
              <a:cxn ang="0">
                <a:pos x="connsiteX1" y="connsiteY1"/>
              </a:cxn>
              <a:cxn ang="0">
                <a:pos x="connsiteX2" y="connsiteY2"/>
              </a:cxn>
              <a:cxn ang="0">
                <a:pos x="connsiteX3" y="connsiteY3"/>
              </a:cxn>
            </a:cxnLst>
            <a:rect l="l" t="t" r="r" b="b"/>
            <a:pathLst>
              <a:path w="31800800" h="70205600">
                <a:moveTo>
                  <a:pt x="0" y="0"/>
                </a:moveTo>
                <a:lnTo>
                  <a:pt x="0" y="70205600"/>
                </a:lnTo>
                <a:lnTo>
                  <a:pt x="31800800" y="70205600"/>
                </a:lnTo>
                <a:lnTo>
                  <a:pt x="31800800" y="0"/>
                </a:lnTo>
              </a:path>
            </a:pathLst>
          </a:custGeom>
          <a:noFill/>
          <a:ln w="1587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12" name="Rechteck 11"/>
          <p:cNvSpPr/>
          <p:nvPr/>
        </p:nvSpPr>
        <p:spPr>
          <a:xfrm>
            <a:off x="693210" y="2597645"/>
            <a:ext cx="1674000" cy="1673761"/>
          </a:xfrm>
          <a:prstGeom prst="rect">
            <a:avLst/>
          </a:prstGeom>
          <a:solidFill>
            <a:schemeClr val="accent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dirty="0">
              <a:solidFill>
                <a:schemeClr val="tx1"/>
              </a:solidFill>
            </a:endParaRPr>
          </a:p>
        </p:txBody>
      </p:sp>
      <p:grpSp>
        <p:nvGrpSpPr>
          <p:cNvPr id="13" name="Gruppieren 12">
            <a:extLst>
              <a:ext uri="{FF2B5EF4-FFF2-40B4-BE49-F238E27FC236}">
                <a16:creationId xmlns:a16="http://schemas.microsoft.com/office/drawing/2014/main" id="{65744B97-6F93-462E-8204-A0A53C614B45}"/>
              </a:ext>
            </a:extLst>
          </p:cNvPr>
          <p:cNvGrpSpPr>
            <a:grpSpLocks noChangeAspect="1"/>
          </p:cNvGrpSpPr>
          <p:nvPr/>
        </p:nvGrpSpPr>
        <p:grpSpPr>
          <a:xfrm>
            <a:off x="1073928" y="2999893"/>
            <a:ext cx="912569" cy="869253"/>
            <a:chOff x="796202" y="1133839"/>
            <a:chExt cx="609601" cy="580667"/>
          </a:xfrm>
          <a:solidFill>
            <a:schemeClr val="bg1"/>
          </a:solidFill>
        </p:grpSpPr>
        <p:grpSp>
          <p:nvGrpSpPr>
            <p:cNvPr id="14" name="noun_project_00296.eps">
              <a:extLst>
                <a:ext uri="{FF2B5EF4-FFF2-40B4-BE49-F238E27FC236}">
                  <a16:creationId xmlns:a16="http://schemas.microsoft.com/office/drawing/2014/main" id="{26DE7EA3-8E73-4E73-880A-8E50A5A2359F}"/>
                </a:ext>
              </a:extLst>
            </p:cNvPr>
            <p:cNvGrpSpPr>
              <a:grpSpLocks/>
            </p:cNvGrpSpPr>
            <p:nvPr/>
          </p:nvGrpSpPr>
          <p:grpSpPr bwMode="auto">
            <a:xfrm>
              <a:off x="796202" y="1276355"/>
              <a:ext cx="609601" cy="438151"/>
              <a:chOff x="722" y="3058"/>
              <a:chExt cx="384" cy="276"/>
            </a:xfrm>
            <a:grpFill/>
          </p:grpSpPr>
          <p:sp>
            <p:nvSpPr>
              <p:cNvPr id="20" name="Freeform 421">
                <a:extLst>
                  <a:ext uri="{FF2B5EF4-FFF2-40B4-BE49-F238E27FC236}">
                    <a16:creationId xmlns:a16="http://schemas.microsoft.com/office/drawing/2014/main" id="{DD4855E0-43D3-4388-AAD1-7ECCB799F252}"/>
                  </a:ext>
                </a:extLst>
              </p:cNvPr>
              <p:cNvSpPr>
                <a:spLocks/>
              </p:cNvSpPr>
              <p:nvPr/>
            </p:nvSpPr>
            <p:spPr bwMode="auto">
              <a:xfrm>
                <a:off x="925" y="3207"/>
                <a:ext cx="181" cy="127"/>
              </a:xfrm>
              <a:custGeom>
                <a:avLst/>
                <a:gdLst>
                  <a:gd name="T0" fmla="*/ 196 w 1631"/>
                  <a:gd name="T1" fmla="*/ 0 h 1146"/>
                  <a:gd name="T2" fmla="*/ 622 w 1631"/>
                  <a:gd name="T3" fmla="*/ 426 h 1146"/>
                  <a:gd name="T4" fmla="*/ 648 w 1631"/>
                  <a:gd name="T5" fmla="*/ 451 h 1146"/>
                  <a:gd name="T6" fmla="*/ 674 w 1631"/>
                  <a:gd name="T7" fmla="*/ 476 h 1146"/>
                  <a:gd name="T8" fmla="*/ 702 w 1631"/>
                  <a:gd name="T9" fmla="*/ 502 h 1146"/>
                  <a:gd name="T10" fmla="*/ 732 w 1631"/>
                  <a:gd name="T11" fmla="*/ 529 h 1146"/>
                  <a:gd name="T12" fmla="*/ 765 w 1631"/>
                  <a:gd name="T13" fmla="*/ 555 h 1146"/>
                  <a:gd name="T14" fmla="*/ 799 w 1631"/>
                  <a:gd name="T15" fmla="*/ 580 h 1146"/>
                  <a:gd name="T16" fmla="*/ 835 w 1631"/>
                  <a:gd name="T17" fmla="*/ 602 h 1146"/>
                  <a:gd name="T18" fmla="*/ 873 w 1631"/>
                  <a:gd name="T19" fmla="*/ 622 h 1146"/>
                  <a:gd name="T20" fmla="*/ 913 w 1631"/>
                  <a:gd name="T21" fmla="*/ 638 h 1146"/>
                  <a:gd name="T22" fmla="*/ 954 w 1631"/>
                  <a:gd name="T23" fmla="*/ 651 h 1146"/>
                  <a:gd name="T24" fmla="*/ 998 w 1631"/>
                  <a:gd name="T25" fmla="*/ 659 h 1146"/>
                  <a:gd name="T26" fmla="*/ 1043 w 1631"/>
                  <a:gd name="T27" fmla="*/ 662 h 1146"/>
                  <a:gd name="T28" fmla="*/ 1182 w 1631"/>
                  <a:gd name="T29" fmla="*/ 662 h 1146"/>
                  <a:gd name="T30" fmla="*/ 1182 w 1631"/>
                  <a:gd name="T31" fmla="*/ 455 h 1146"/>
                  <a:gd name="T32" fmla="*/ 1451 w 1631"/>
                  <a:gd name="T33" fmla="*/ 662 h 1146"/>
                  <a:gd name="T34" fmla="*/ 1631 w 1631"/>
                  <a:gd name="T35" fmla="*/ 801 h 1146"/>
                  <a:gd name="T36" fmla="*/ 1451 w 1631"/>
                  <a:gd name="T37" fmla="*/ 939 h 1146"/>
                  <a:gd name="T38" fmla="*/ 1182 w 1631"/>
                  <a:gd name="T39" fmla="*/ 1146 h 1146"/>
                  <a:gd name="T40" fmla="*/ 1182 w 1631"/>
                  <a:gd name="T41" fmla="*/ 939 h 1146"/>
                  <a:gd name="T42" fmla="*/ 1043 w 1631"/>
                  <a:gd name="T43" fmla="*/ 939 h 1146"/>
                  <a:gd name="T44" fmla="*/ 985 w 1631"/>
                  <a:gd name="T45" fmla="*/ 936 h 1146"/>
                  <a:gd name="T46" fmla="*/ 928 w 1631"/>
                  <a:gd name="T47" fmla="*/ 928 h 1146"/>
                  <a:gd name="T48" fmla="*/ 875 w 1631"/>
                  <a:gd name="T49" fmla="*/ 916 h 1146"/>
                  <a:gd name="T50" fmla="*/ 824 w 1631"/>
                  <a:gd name="T51" fmla="*/ 900 h 1146"/>
                  <a:gd name="T52" fmla="*/ 775 w 1631"/>
                  <a:gd name="T53" fmla="*/ 881 h 1146"/>
                  <a:gd name="T54" fmla="*/ 729 w 1631"/>
                  <a:gd name="T55" fmla="*/ 859 h 1146"/>
                  <a:gd name="T56" fmla="*/ 685 w 1631"/>
                  <a:gd name="T57" fmla="*/ 834 h 1146"/>
                  <a:gd name="T58" fmla="*/ 644 w 1631"/>
                  <a:gd name="T59" fmla="*/ 808 h 1146"/>
                  <a:gd name="T60" fmla="*/ 606 w 1631"/>
                  <a:gd name="T61" fmla="*/ 781 h 1146"/>
                  <a:gd name="T62" fmla="*/ 570 w 1631"/>
                  <a:gd name="T63" fmla="*/ 752 h 1146"/>
                  <a:gd name="T64" fmla="*/ 537 w 1631"/>
                  <a:gd name="T65" fmla="*/ 725 h 1146"/>
                  <a:gd name="T66" fmla="*/ 505 w 1631"/>
                  <a:gd name="T67" fmla="*/ 697 h 1146"/>
                  <a:gd name="T68" fmla="*/ 477 w 1631"/>
                  <a:gd name="T69" fmla="*/ 670 h 1146"/>
                  <a:gd name="T70" fmla="*/ 451 w 1631"/>
                  <a:gd name="T71" fmla="*/ 645 h 1146"/>
                  <a:gd name="T72" fmla="*/ 428 w 1631"/>
                  <a:gd name="T73" fmla="*/ 622 h 1146"/>
                  <a:gd name="T74" fmla="*/ 0 w 1631"/>
                  <a:gd name="T75" fmla="*/ 196 h 1146"/>
                  <a:gd name="T76" fmla="*/ 196 w 1631"/>
                  <a:gd name="T7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1" h="1146">
                    <a:moveTo>
                      <a:pt x="196" y="0"/>
                    </a:moveTo>
                    <a:lnTo>
                      <a:pt x="622" y="426"/>
                    </a:lnTo>
                    <a:lnTo>
                      <a:pt x="648" y="451"/>
                    </a:lnTo>
                    <a:lnTo>
                      <a:pt x="674" y="476"/>
                    </a:lnTo>
                    <a:lnTo>
                      <a:pt x="702" y="502"/>
                    </a:lnTo>
                    <a:lnTo>
                      <a:pt x="732" y="529"/>
                    </a:lnTo>
                    <a:lnTo>
                      <a:pt x="765" y="555"/>
                    </a:lnTo>
                    <a:lnTo>
                      <a:pt x="799" y="580"/>
                    </a:lnTo>
                    <a:lnTo>
                      <a:pt x="835" y="602"/>
                    </a:lnTo>
                    <a:lnTo>
                      <a:pt x="873" y="622"/>
                    </a:lnTo>
                    <a:lnTo>
                      <a:pt x="913" y="638"/>
                    </a:lnTo>
                    <a:lnTo>
                      <a:pt x="954" y="651"/>
                    </a:lnTo>
                    <a:lnTo>
                      <a:pt x="998" y="659"/>
                    </a:lnTo>
                    <a:lnTo>
                      <a:pt x="1043" y="662"/>
                    </a:lnTo>
                    <a:lnTo>
                      <a:pt x="1182" y="662"/>
                    </a:lnTo>
                    <a:lnTo>
                      <a:pt x="1182" y="455"/>
                    </a:lnTo>
                    <a:lnTo>
                      <a:pt x="1451" y="662"/>
                    </a:lnTo>
                    <a:lnTo>
                      <a:pt x="1631" y="801"/>
                    </a:lnTo>
                    <a:lnTo>
                      <a:pt x="1451" y="939"/>
                    </a:lnTo>
                    <a:lnTo>
                      <a:pt x="1182" y="1146"/>
                    </a:lnTo>
                    <a:lnTo>
                      <a:pt x="1182" y="939"/>
                    </a:lnTo>
                    <a:lnTo>
                      <a:pt x="1043" y="939"/>
                    </a:lnTo>
                    <a:lnTo>
                      <a:pt x="985" y="936"/>
                    </a:lnTo>
                    <a:lnTo>
                      <a:pt x="928" y="928"/>
                    </a:lnTo>
                    <a:lnTo>
                      <a:pt x="875" y="916"/>
                    </a:lnTo>
                    <a:lnTo>
                      <a:pt x="824" y="900"/>
                    </a:lnTo>
                    <a:lnTo>
                      <a:pt x="775" y="881"/>
                    </a:lnTo>
                    <a:lnTo>
                      <a:pt x="729" y="859"/>
                    </a:lnTo>
                    <a:lnTo>
                      <a:pt x="685" y="834"/>
                    </a:lnTo>
                    <a:lnTo>
                      <a:pt x="644" y="808"/>
                    </a:lnTo>
                    <a:lnTo>
                      <a:pt x="606" y="781"/>
                    </a:lnTo>
                    <a:lnTo>
                      <a:pt x="570" y="752"/>
                    </a:lnTo>
                    <a:lnTo>
                      <a:pt x="537" y="725"/>
                    </a:lnTo>
                    <a:lnTo>
                      <a:pt x="505" y="697"/>
                    </a:lnTo>
                    <a:lnTo>
                      <a:pt x="477" y="670"/>
                    </a:lnTo>
                    <a:lnTo>
                      <a:pt x="451" y="645"/>
                    </a:lnTo>
                    <a:lnTo>
                      <a:pt x="428" y="622"/>
                    </a:lnTo>
                    <a:lnTo>
                      <a:pt x="0" y="196"/>
                    </a:lnTo>
                    <a:lnTo>
                      <a:pt x="19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1" name="Freeform 422">
                <a:extLst>
                  <a:ext uri="{FF2B5EF4-FFF2-40B4-BE49-F238E27FC236}">
                    <a16:creationId xmlns:a16="http://schemas.microsoft.com/office/drawing/2014/main" id="{A405BAE6-7593-4764-BBDB-F735B556D419}"/>
                  </a:ext>
                </a:extLst>
              </p:cNvPr>
              <p:cNvSpPr>
                <a:spLocks/>
              </p:cNvSpPr>
              <p:nvPr/>
            </p:nvSpPr>
            <p:spPr bwMode="auto">
              <a:xfrm>
                <a:off x="722" y="3081"/>
                <a:ext cx="181" cy="104"/>
              </a:xfrm>
              <a:custGeom>
                <a:avLst/>
                <a:gdLst>
                  <a:gd name="T0" fmla="*/ 0 w 1631"/>
                  <a:gd name="T1" fmla="*/ 0 h 938"/>
                  <a:gd name="T2" fmla="*/ 588 w 1631"/>
                  <a:gd name="T3" fmla="*/ 0 h 938"/>
                  <a:gd name="T4" fmla="*/ 646 w 1631"/>
                  <a:gd name="T5" fmla="*/ 2 h 938"/>
                  <a:gd name="T6" fmla="*/ 703 w 1631"/>
                  <a:gd name="T7" fmla="*/ 9 h 938"/>
                  <a:gd name="T8" fmla="*/ 756 w 1631"/>
                  <a:gd name="T9" fmla="*/ 22 h 938"/>
                  <a:gd name="T10" fmla="*/ 807 w 1631"/>
                  <a:gd name="T11" fmla="*/ 38 h 938"/>
                  <a:gd name="T12" fmla="*/ 856 w 1631"/>
                  <a:gd name="T13" fmla="*/ 58 h 938"/>
                  <a:gd name="T14" fmla="*/ 902 w 1631"/>
                  <a:gd name="T15" fmla="*/ 80 h 938"/>
                  <a:gd name="T16" fmla="*/ 946 w 1631"/>
                  <a:gd name="T17" fmla="*/ 104 h 938"/>
                  <a:gd name="T18" fmla="*/ 987 w 1631"/>
                  <a:gd name="T19" fmla="*/ 130 h 938"/>
                  <a:gd name="T20" fmla="*/ 1025 w 1631"/>
                  <a:gd name="T21" fmla="*/ 157 h 938"/>
                  <a:gd name="T22" fmla="*/ 1061 w 1631"/>
                  <a:gd name="T23" fmla="*/ 185 h 938"/>
                  <a:gd name="T24" fmla="*/ 1094 w 1631"/>
                  <a:gd name="T25" fmla="*/ 214 h 938"/>
                  <a:gd name="T26" fmla="*/ 1126 w 1631"/>
                  <a:gd name="T27" fmla="*/ 241 h 938"/>
                  <a:gd name="T28" fmla="*/ 1154 w 1631"/>
                  <a:gd name="T29" fmla="*/ 268 h 938"/>
                  <a:gd name="T30" fmla="*/ 1180 w 1631"/>
                  <a:gd name="T31" fmla="*/ 293 h 938"/>
                  <a:gd name="T32" fmla="*/ 1203 w 1631"/>
                  <a:gd name="T33" fmla="*/ 316 h 938"/>
                  <a:gd name="T34" fmla="*/ 1631 w 1631"/>
                  <a:gd name="T35" fmla="*/ 743 h 938"/>
                  <a:gd name="T36" fmla="*/ 1435 w 1631"/>
                  <a:gd name="T37" fmla="*/ 938 h 938"/>
                  <a:gd name="T38" fmla="*/ 1009 w 1631"/>
                  <a:gd name="T39" fmla="*/ 512 h 938"/>
                  <a:gd name="T40" fmla="*/ 983 w 1631"/>
                  <a:gd name="T41" fmla="*/ 488 h 938"/>
                  <a:gd name="T42" fmla="*/ 957 w 1631"/>
                  <a:gd name="T43" fmla="*/ 462 h 938"/>
                  <a:gd name="T44" fmla="*/ 929 w 1631"/>
                  <a:gd name="T45" fmla="*/ 436 h 938"/>
                  <a:gd name="T46" fmla="*/ 899 w 1631"/>
                  <a:gd name="T47" fmla="*/ 409 h 938"/>
                  <a:gd name="T48" fmla="*/ 866 w 1631"/>
                  <a:gd name="T49" fmla="*/ 383 h 938"/>
                  <a:gd name="T50" fmla="*/ 832 w 1631"/>
                  <a:gd name="T51" fmla="*/ 359 h 938"/>
                  <a:gd name="T52" fmla="*/ 796 w 1631"/>
                  <a:gd name="T53" fmla="*/ 336 h 938"/>
                  <a:gd name="T54" fmla="*/ 758 w 1631"/>
                  <a:gd name="T55" fmla="*/ 316 h 938"/>
                  <a:gd name="T56" fmla="*/ 718 w 1631"/>
                  <a:gd name="T57" fmla="*/ 299 h 938"/>
                  <a:gd name="T58" fmla="*/ 677 w 1631"/>
                  <a:gd name="T59" fmla="*/ 287 h 938"/>
                  <a:gd name="T60" fmla="*/ 633 w 1631"/>
                  <a:gd name="T61" fmla="*/ 278 h 938"/>
                  <a:gd name="T62" fmla="*/ 588 w 1631"/>
                  <a:gd name="T63" fmla="*/ 276 h 938"/>
                  <a:gd name="T64" fmla="*/ 0 w 1631"/>
                  <a:gd name="T65" fmla="*/ 276 h 938"/>
                  <a:gd name="T66" fmla="*/ 0 w 1631"/>
                  <a:gd name="T6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1" h="938">
                    <a:moveTo>
                      <a:pt x="0" y="0"/>
                    </a:moveTo>
                    <a:lnTo>
                      <a:pt x="588" y="0"/>
                    </a:lnTo>
                    <a:lnTo>
                      <a:pt x="646" y="2"/>
                    </a:lnTo>
                    <a:lnTo>
                      <a:pt x="703" y="9"/>
                    </a:lnTo>
                    <a:lnTo>
                      <a:pt x="756" y="22"/>
                    </a:lnTo>
                    <a:lnTo>
                      <a:pt x="807" y="38"/>
                    </a:lnTo>
                    <a:lnTo>
                      <a:pt x="856" y="58"/>
                    </a:lnTo>
                    <a:lnTo>
                      <a:pt x="902" y="80"/>
                    </a:lnTo>
                    <a:lnTo>
                      <a:pt x="946" y="104"/>
                    </a:lnTo>
                    <a:lnTo>
                      <a:pt x="987" y="130"/>
                    </a:lnTo>
                    <a:lnTo>
                      <a:pt x="1025" y="157"/>
                    </a:lnTo>
                    <a:lnTo>
                      <a:pt x="1061" y="185"/>
                    </a:lnTo>
                    <a:lnTo>
                      <a:pt x="1094" y="214"/>
                    </a:lnTo>
                    <a:lnTo>
                      <a:pt x="1126" y="241"/>
                    </a:lnTo>
                    <a:lnTo>
                      <a:pt x="1154" y="268"/>
                    </a:lnTo>
                    <a:lnTo>
                      <a:pt x="1180" y="293"/>
                    </a:lnTo>
                    <a:lnTo>
                      <a:pt x="1203" y="316"/>
                    </a:lnTo>
                    <a:lnTo>
                      <a:pt x="1631" y="743"/>
                    </a:lnTo>
                    <a:lnTo>
                      <a:pt x="1435" y="938"/>
                    </a:lnTo>
                    <a:lnTo>
                      <a:pt x="1009" y="512"/>
                    </a:lnTo>
                    <a:lnTo>
                      <a:pt x="983" y="488"/>
                    </a:lnTo>
                    <a:lnTo>
                      <a:pt x="957" y="462"/>
                    </a:lnTo>
                    <a:lnTo>
                      <a:pt x="929" y="436"/>
                    </a:lnTo>
                    <a:lnTo>
                      <a:pt x="899" y="409"/>
                    </a:lnTo>
                    <a:lnTo>
                      <a:pt x="866" y="383"/>
                    </a:lnTo>
                    <a:lnTo>
                      <a:pt x="832" y="359"/>
                    </a:lnTo>
                    <a:lnTo>
                      <a:pt x="796" y="336"/>
                    </a:lnTo>
                    <a:lnTo>
                      <a:pt x="758" y="316"/>
                    </a:lnTo>
                    <a:lnTo>
                      <a:pt x="718" y="299"/>
                    </a:lnTo>
                    <a:lnTo>
                      <a:pt x="677" y="287"/>
                    </a:lnTo>
                    <a:lnTo>
                      <a:pt x="633" y="278"/>
                    </a:lnTo>
                    <a:lnTo>
                      <a:pt x="588" y="276"/>
                    </a:lnTo>
                    <a:lnTo>
                      <a:pt x="0" y="276"/>
                    </a:lnTo>
                    <a:lnTo>
                      <a:pt x="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2" name="Freeform 423">
                <a:extLst>
                  <a:ext uri="{FF2B5EF4-FFF2-40B4-BE49-F238E27FC236}">
                    <a16:creationId xmlns:a16="http://schemas.microsoft.com/office/drawing/2014/main" id="{095EE9AD-114D-496A-8376-106EEBDCBD6C}"/>
                  </a:ext>
                </a:extLst>
              </p:cNvPr>
              <p:cNvSpPr>
                <a:spLocks/>
              </p:cNvSpPr>
              <p:nvPr/>
            </p:nvSpPr>
            <p:spPr bwMode="auto">
              <a:xfrm>
                <a:off x="722" y="3058"/>
                <a:ext cx="384" cy="253"/>
              </a:xfrm>
              <a:custGeom>
                <a:avLst/>
                <a:gdLst>
                  <a:gd name="T0" fmla="*/ 3007 w 3456"/>
                  <a:gd name="T1" fmla="*/ 0 h 2280"/>
                  <a:gd name="T2" fmla="*/ 3456 w 3456"/>
                  <a:gd name="T3" fmla="*/ 345 h 2280"/>
                  <a:gd name="T4" fmla="*/ 3007 w 3456"/>
                  <a:gd name="T5" fmla="*/ 691 h 2280"/>
                  <a:gd name="T6" fmla="*/ 2868 w 3456"/>
                  <a:gd name="T7" fmla="*/ 483 h 2280"/>
                  <a:gd name="T8" fmla="*/ 2779 w 3456"/>
                  <a:gd name="T9" fmla="*/ 494 h 2280"/>
                  <a:gd name="T10" fmla="*/ 2698 w 3456"/>
                  <a:gd name="T11" fmla="*/ 523 h 2280"/>
                  <a:gd name="T12" fmla="*/ 2624 w 3456"/>
                  <a:gd name="T13" fmla="*/ 566 h 2280"/>
                  <a:gd name="T14" fmla="*/ 2557 w 3456"/>
                  <a:gd name="T15" fmla="*/ 616 h 2280"/>
                  <a:gd name="T16" fmla="*/ 2499 w 3456"/>
                  <a:gd name="T17" fmla="*/ 669 h 2280"/>
                  <a:gd name="T18" fmla="*/ 2447 w 3456"/>
                  <a:gd name="T19" fmla="*/ 719 h 2280"/>
                  <a:gd name="T20" fmla="*/ 1180 w 3456"/>
                  <a:gd name="T21" fmla="*/ 1986 h 2280"/>
                  <a:gd name="T22" fmla="*/ 1126 w 3456"/>
                  <a:gd name="T23" fmla="*/ 2038 h 2280"/>
                  <a:gd name="T24" fmla="*/ 1061 w 3456"/>
                  <a:gd name="T25" fmla="*/ 2093 h 2280"/>
                  <a:gd name="T26" fmla="*/ 987 w 3456"/>
                  <a:gd name="T27" fmla="*/ 2149 h 2280"/>
                  <a:gd name="T28" fmla="*/ 902 w 3456"/>
                  <a:gd name="T29" fmla="*/ 2200 h 2280"/>
                  <a:gd name="T30" fmla="*/ 807 w 3456"/>
                  <a:gd name="T31" fmla="*/ 2241 h 2280"/>
                  <a:gd name="T32" fmla="*/ 703 w 3456"/>
                  <a:gd name="T33" fmla="*/ 2269 h 2280"/>
                  <a:gd name="T34" fmla="*/ 588 w 3456"/>
                  <a:gd name="T35" fmla="*/ 2280 h 2280"/>
                  <a:gd name="T36" fmla="*/ 0 w 3456"/>
                  <a:gd name="T37" fmla="*/ 2003 h 2280"/>
                  <a:gd name="T38" fmla="*/ 633 w 3456"/>
                  <a:gd name="T39" fmla="*/ 2000 h 2280"/>
                  <a:gd name="T40" fmla="*/ 718 w 3456"/>
                  <a:gd name="T41" fmla="*/ 1979 h 2280"/>
                  <a:gd name="T42" fmla="*/ 796 w 3456"/>
                  <a:gd name="T43" fmla="*/ 1943 h 2280"/>
                  <a:gd name="T44" fmla="*/ 866 w 3456"/>
                  <a:gd name="T45" fmla="*/ 1896 h 2280"/>
                  <a:gd name="T46" fmla="*/ 929 w 3456"/>
                  <a:gd name="T47" fmla="*/ 1843 h 2280"/>
                  <a:gd name="T48" fmla="*/ 983 w 3456"/>
                  <a:gd name="T49" fmla="*/ 1792 h 2280"/>
                  <a:gd name="T50" fmla="*/ 2253 w 3456"/>
                  <a:gd name="T51" fmla="*/ 523 h 2280"/>
                  <a:gd name="T52" fmla="*/ 2302 w 3456"/>
                  <a:gd name="T53" fmla="*/ 475 h 2280"/>
                  <a:gd name="T54" fmla="*/ 2362 w 3456"/>
                  <a:gd name="T55" fmla="*/ 421 h 2280"/>
                  <a:gd name="T56" fmla="*/ 2431 w 3456"/>
                  <a:gd name="T57" fmla="*/ 364 h 2280"/>
                  <a:gd name="T58" fmla="*/ 2510 w 3456"/>
                  <a:gd name="T59" fmla="*/ 311 h 2280"/>
                  <a:gd name="T60" fmla="*/ 2600 w 3456"/>
                  <a:gd name="T61" fmla="*/ 265 h 2280"/>
                  <a:gd name="T62" fmla="*/ 2700 w 3456"/>
                  <a:gd name="T63" fmla="*/ 229 h 2280"/>
                  <a:gd name="T64" fmla="*/ 2810 w 3456"/>
                  <a:gd name="T65" fmla="*/ 209 h 2280"/>
                  <a:gd name="T66" fmla="*/ 3007 w 3456"/>
                  <a:gd name="T67" fmla="*/ 207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2280">
                    <a:moveTo>
                      <a:pt x="3007" y="0"/>
                    </a:moveTo>
                    <a:lnTo>
                      <a:pt x="3007" y="0"/>
                    </a:lnTo>
                    <a:lnTo>
                      <a:pt x="3276" y="207"/>
                    </a:lnTo>
                    <a:lnTo>
                      <a:pt x="3456" y="345"/>
                    </a:lnTo>
                    <a:lnTo>
                      <a:pt x="3276" y="483"/>
                    </a:lnTo>
                    <a:lnTo>
                      <a:pt x="3007" y="691"/>
                    </a:lnTo>
                    <a:lnTo>
                      <a:pt x="3007" y="483"/>
                    </a:lnTo>
                    <a:lnTo>
                      <a:pt x="2868" y="483"/>
                    </a:lnTo>
                    <a:lnTo>
                      <a:pt x="2823" y="485"/>
                    </a:lnTo>
                    <a:lnTo>
                      <a:pt x="2779" y="494"/>
                    </a:lnTo>
                    <a:lnTo>
                      <a:pt x="2738" y="506"/>
                    </a:lnTo>
                    <a:lnTo>
                      <a:pt x="2698" y="523"/>
                    </a:lnTo>
                    <a:lnTo>
                      <a:pt x="2660" y="543"/>
                    </a:lnTo>
                    <a:lnTo>
                      <a:pt x="2624" y="566"/>
                    </a:lnTo>
                    <a:lnTo>
                      <a:pt x="2590" y="590"/>
                    </a:lnTo>
                    <a:lnTo>
                      <a:pt x="2557" y="616"/>
                    </a:lnTo>
                    <a:lnTo>
                      <a:pt x="2527" y="643"/>
                    </a:lnTo>
                    <a:lnTo>
                      <a:pt x="2499" y="669"/>
                    </a:lnTo>
                    <a:lnTo>
                      <a:pt x="2473" y="695"/>
                    </a:lnTo>
                    <a:lnTo>
                      <a:pt x="2447" y="719"/>
                    </a:lnTo>
                    <a:lnTo>
                      <a:pt x="1203" y="1963"/>
                    </a:lnTo>
                    <a:lnTo>
                      <a:pt x="1180" y="1986"/>
                    </a:lnTo>
                    <a:lnTo>
                      <a:pt x="1154" y="2011"/>
                    </a:lnTo>
                    <a:lnTo>
                      <a:pt x="1126" y="2038"/>
                    </a:lnTo>
                    <a:lnTo>
                      <a:pt x="1094" y="2066"/>
                    </a:lnTo>
                    <a:lnTo>
                      <a:pt x="1061" y="2093"/>
                    </a:lnTo>
                    <a:lnTo>
                      <a:pt x="1025" y="2122"/>
                    </a:lnTo>
                    <a:lnTo>
                      <a:pt x="987" y="2149"/>
                    </a:lnTo>
                    <a:lnTo>
                      <a:pt x="946" y="2175"/>
                    </a:lnTo>
                    <a:lnTo>
                      <a:pt x="902" y="2200"/>
                    </a:lnTo>
                    <a:lnTo>
                      <a:pt x="856" y="2222"/>
                    </a:lnTo>
                    <a:lnTo>
                      <a:pt x="807" y="2241"/>
                    </a:lnTo>
                    <a:lnTo>
                      <a:pt x="756" y="2257"/>
                    </a:lnTo>
                    <a:lnTo>
                      <a:pt x="703" y="2269"/>
                    </a:lnTo>
                    <a:lnTo>
                      <a:pt x="646" y="2277"/>
                    </a:lnTo>
                    <a:lnTo>
                      <a:pt x="588" y="2280"/>
                    </a:lnTo>
                    <a:lnTo>
                      <a:pt x="0" y="2280"/>
                    </a:lnTo>
                    <a:lnTo>
                      <a:pt x="0" y="2003"/>
                    </a:lnTo>
                    <a:lnTo>
                      <a:pt x="588" y="2003"/>
                    </a:lnTo>
                    <a:lnTo>
                      <a:pt x="633" y="2000"/>
                    </a:lnTo>
                    <a:lnTo>
                      <a:pt x="677" y="1992"/>
                    </a:lnTo>
                    <a:lnTo>
                      <a:pt x="718" y="1979"/>
                    </a:lnTo>
                    <a:lnTo>
                      <a:pt x="758" y="1963"/>
                    </a:lnTo>
                    <a:lnTo>
                      <a:pt x="796" y="1943"/>
                    </a:lnTo>
                    <a:lnTo>
                      <a:pt x="832" y="1921"/>
                    </a:lnTo>
                    <a:lnTo>
                      <a:pt x="866" y="1896"/>
                    </a:lnTo>
                    <a:lnTo>
                      <a:pt x="899" y="1870"/>
                    </a:lnTo>
                    <a:lnTo>
                      <a:pt x="929" y="1843"/>
                    </a:lnTo>
                    <a:lnTo>
                      <a:pt x="957" y="1817"/>
                    </a:lnTo>
                    <a:lnTo>
                      <a:pt x="983" y="1792"/>
                    </a:lnTo>
                    <a:lnTo>
                      <a:pt x="1009" y="1767"/>
                    </a:lnTo>
                    <a:lnTo>
                      <a:pt x="2253" y="523"/>
                    </a:lnTo>
                    <a:lnTo>
                      <a:pt x="2276" y="500"/>
                    </a:lnTo>
                    <a:lnTo>
                      <a:pt x="2302" y="475"/>
                    </a:lnTo>
                    <a:lnTo>
                      <a:pt x="2330" y="448"/>
                    </a:lnTo>
                    <a:lnTo>
                      <a:pt x="2362" y="421"/>
                    </a:lnTo>
                    <a:lnTo>
                      <a:pt x="2395" y="392"/>
                    </a:lnTo>
                    <a:lnTo>
                      <a:pt x="2431" y="364"/>
                    </a:lnTo>
                    <a:lnTo>
                      <a:pt x="2469" y="337"/>
                    </a:lnTo>
                    <a:lnTo>
                      <a:pt x="2510" y="311"/>
                    </a:lnTo>
                    <a:lnTo>
                      <a:pt x="2554" y="287"/>
                    </a:lnTo>
                    <a:lnTo>
                      <a:pt x="2600" y="265"/>
                    </a:lnTo>
                    <a:lnTo>
                      <a:pt x="2649" y="245"/>
                    </a:lnTo>
                    <a:lnTo>
                      <a:pt x="2700" y="229"/>
                    </a:lnTo>
                    <a:lnTo>
                      <a:pt x="2753" y="216"/>
                    </a:lnTo>
                    <a:lnTo>
                      <a:pt x="2810" y="209"/>
                    </a:lnTo>
                    <a:lnTo>
                      <a:pt x="2868" y="207"/>
                    </a:lnTo>
                    <a:lnTo>
                      <a:pt x="3007" y="207"/>
                    </a:lnTo>
                    <a:lnTo>
                      <a:pt x="3007"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nvGrpSpPr>
            <p:cNvPr id="15" name="noun_project_01063.eps">
              <a:extLst>
                <a:ext uri="{FF2B5EF4-FFF2-40B4-BE49-F238E27FC236}">
                  <a16:creationId xmlns:a16="http://schemas.microsoft.com/office/drawing/2014/main" id="{0375278A-96D3-4C15-B50E-8DD3E280D4F5}"/>
                </a:ext>
              </a:extLst>
            </p:cNvPr>
            <p:cNvGrpSpPr>
              <a:grpSpLocks noChangeAspect="1"/>
            </p:cNvGrpSpPr>
            <p:nvPr/>
          </p:nvGrpSpPr>
          <p:grpSpPr bwMode="auto">
            <a:xfrm>
              <a:off x="996054" y="1133839"/>
              <a:ext cx="244833" cy="261574"/>
              <a:chOff x="2223" y="3060"/>
              <a:chExt cx="351" cy="375"/>
            </a:xfrm>
            <a:grpFill/>
          </p:grpSpPr>
          <p:sp>
            <p:nvSpPr>
              <p:cNvPr id="16" name="Freeform 405">
                <a:extLst>
                  <a:ext uri="{FF2B5EF4-FFF2-40B4-BE49-F238E27FC236}">
                    <a16:creationId xmlns:a16="http://schemas.microsoft.com/office/drawing/2014/main" id="{2F1AE96F-0A52-4104-956C-4D245EB473EB}"/>
                  </a:ext>
                </a:extLst>
              </p:cNvPr>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7" name="Freeform 406">
                <a:extLst>
                  <a:ext uri="{FF2B5EF4-FFF2-40B4-BE49-F238E27FC236}">
                    <a16:creationId xmlns:a16="http://schemas.microsoft.com/office/drawing/2014/main" id="{84A7CBAD-2D66-4DDC-B4A8-07A04BEDE058}"/>
                  </a:ext>
                </a:extLst>
              </p:cNvPr>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8" name="Freeform 407">
                <a:extLst>
                  <a:ext uri="{FF2B5EF4-FFF2-40B4-BE49-F238E27FC236}">
                    <a16:creationId xmlns:a16="http://schemas.microsoft.com/office/drawing/2014/main" id="{A4D45EA1-897B-4095-AAAE-50101E7C183B}"/>
                  </a:ext>
                </a:extLst>
              </p:cNvPr>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9" name="Freeform 408">
                <a:extLst>
                  <a:ext uri="{FF2B5EF4-FFF2-40B4-BE49-F238E27FC236}">
                    <a16:creationId xmlns:a16="http://schemas.microsoft.com/office/drawing/2014/main" id="{8428A7E8-C3EA-4955-B092-DF775808765B}"/>
                  </a:ext>
                </a:extLst>
              </p:cNvPr>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sp>
        <p:nvSpPr>
          <p:cNvPr id="8" name="Rechteckige Legende 7"/>
          <p:cNvSpPr/>
          <p:nvPr/>
        </p:nvSpPr>
        <p:spPr>
          <a:xfrm>
            <a:off x="388189" y="4837665"/>
            <a:ext cx="2346385" cy="1371600"/>
          </a:xfrm>
          <a:prstGeom prst="wedgeRectCallout">
            <a:avLst>
              <a:gd name="adj1" fmla="val 52767"/>
              <a:gd name="adj2" fmla="val -66117"/>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tx1"/>
                </a:solidFill>
              </a:rPr>
              <a:t>§ 5 VwZG statt § 41 Abs. 2a VwVfG ist eine Spezialnorm zum § 41 Abs. 2a VwVfG , d.h. wenn über Cloud-Speicher zugestellt wird (Einwilligung liegt vor) so greift hier die Bekanntmachungsfiktion des § 5 VwZG. Mit Übermittlung, spätestens nach drei Tagen gilt der Widerspruchsbescheid als Bekanntgegeben. Siehe § 41 Abs. 5 VwVfG</a:t>
            </a:r>
          </a:p>
        </p:txBody>
      </p:sp>
      <p:sp>
        <p:nvSpPr>
          <p:cNvPr id="25" name="Rechteckige Legende 24"/>
          <p:cNvSpPr/>
          <p:nvPr/>
        </p:nvSpPr>
        <p:spPr>
          <a:xfrm>
            <a:off x="388189" y="1275379"/>
            <a:ext cx="2346385" cy="1371600"/>
          </a:xfrm>
          <a:prstGeom prst="wedgeRectCallout">
            <a:avLst>
              <a:gd name="adj1" fmla="val 40267"/>
              <a:gd name="adj2" fmla="val 65330"/>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a:solidFill>
                  <a:schemeClr val="tx1"/>
                </a:solidFill>
              </a:rPr>
              <a:t>Gem. § 73 Abs. 3 Satz 2 VwGO ist ein Widerspruchsbescheid nach den Vorschriften des Verwaltungszustellungsgesetzes von Amts wegen zuzustellen. Die Zustellung elektronischer Bescheide richtet sich entweder nach § 5 Abs. 5 bis Abs. 7 VwZG oder § 5a VwZG für den Fall, dass nach dem De-Mail Gesetz zugestellt werden soll. </a:t>
            </a:r>
            <a:endParaRPr lang="de-DE" sz="1000" dirty="0">
              <a:solidFill>
                <a:schemeClr val="tx1"/>
              </a:solidFill>
            </a:endParaRPr>
          </a:p>
        </p:txBody>
      </p:sp>
    </p:spTree>
    <p:extLst>
      <p:ext uri="{BB962C8B-B14F-4D97-AF65-F5344CB8AC3E}">
        <p14:creationId xmlns:p14="http://schemas.microsoft.com/office/powerpoint/2010/main" val="4234848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1"/>
            </p:custDataLst>
            <p:extLst>
              <p:ext uri="{D42A27DB-BD31-4B8C-83A1-F6EECF244321}">
                <p14:modId xmlns:p14="http://schemas.microsoft.com/office/powerpoint/2010/main" val="147040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52" imgH="346" progId="TCLayout.ActiveDocument.1">
                  <p:embed/>
                </p:oleObj>
              </mc:Choice>
              <mc:Fallback>
                <p:oleObj name="think-cell Folie" r:id="rId6" imgW="352" imgH="346" progId="TCLayout.ActiveDocument.1">
                  <p:embed/>
                  <p:pic>
                    <p:nvPicPr>
                      <p:cNvPr id="24" name="Objekt 2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Die elektronische Bekanntgabe des Widerspruchbescheids erfordert eine "</a:t>
            </a:r>
            <a:r>
              <a:rPr lang="de-DE" dirty="0" err="1"/>
              <a:t>quali-fizierte</a:t>
            </a:r>
            <a:r>
              <a:rPr lang="de-DE" dirty="0"/>
              <a:t>" Bekanntgabe und bedarf einer leicht anderen Form der Einwilligung (2/2)</a:t>
            </a:r>
          </a:p>
        </p:txBody>
      </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sp>
        <p:nvSpPr>
          <p:cNvPr id="5" name="Foliennummernplatzhalter 4"/>
          <p:cNvSpPr>
            <a:spLocks noGrp="1"/>
          </p:cNvSpPr>
          <p:nvPr>
            <p:ph type="sldNum" sz="quarter" idx="12"/>
          </p:nvPr>
        </p:nvSpPr>
        <p:spPr/>
        <p:txBody>
          <a:bodyPr/>
          <a:lstStyle/>
          <a:p>
            <a:fld id="{D4A18DF9-8FF6-4BA5-BC52-5FB4772E2292}" type="slidenum">
              <a:rPr lang="de-DE" smtClean="0"/>
              <a:pPr/>
              <a:t>7</a:t>
            </a:fld>
            <a:endParaRPr lang="de-DE" dirty="0"/>
          </a:p>
        </p:txBody>
      </p:sp>
      <p:sp>
        <p:nvSpPr>
          <p:cNvPr id="6" name="Textplatzhalter 5"/>
          <p:cNvSpPr>
            <a:spLocks noGrp="1"/>
          </p:cNvSpPr>
          <p:nvPr>
            <p:ph type="body" sz="quarter" idx="14"/>
          </p:nvPr>
        </p:nvSpPr>
        <p:spPr/>
        <p:txBody>
          <a:bodyPr/>
          <a:lstStyle/>
          <a:p>
            <a:r>
              <a:rPr lang="de-DE" dirty="0"/>
              <a:t>Plattformbasierte Verwaltungsdigitalisierung</a:t>
            </a:r>
          </a:p>
        </p:txBody>
      </p:sp>
      <p:sp>
        <p:nvSpPr>
          <p:cNvPr id="7" name="Textplatzhalter 6"/>
          <p:cNvSpPr>
            <a:spLocks noGrp="1"/>
          </p:cNvSpPr>
          <p:nvPr>
            <p:ph type="body" sz="quarter" idx="13"/>
          </p:nvPr>
        </p:nvSpPr>
        <p:spPr/>
        <p:txBody>
          <a:bodyPr/>
          <a:lstStyle/>
          <a:p>
            <a:r>
              <a:rPr lang="de-DE" dirty="0"/>
              <a:t>Technical Notes</a:t>
            </a:r>
          </a:p>
        </p:txBody>
      </p:sp>
      <p:sp>
        <p:nvSpPr>
          <p:cNvPr id="3" name="Textplatzhalter 2"/>
          <p:cNvSpPr>
            <a:spLocks noGrp="1"/>
          </p:cNvSpPr>
          <p:nvPr>
            <p:ph type="body" sz="quarter" idx="15"/>
          </p:nvPr>
        </p:nvSpPr>
        <p:spPr>
          <a:xfrm>
            <a:off x="693211" y="6577364"/>
            <a:ext cx="5044808" cy="123111"/>
          </a:xfrm>
        </p:spPr>
        <p:txBody>
          <a:bodyPr/>
          <a:lstStyle/>
          <a:p>
            <a:r>
              <a:rPr lang="de-DE" dirty="0"/>
              <a:t>* Beachte: Das Gesetz sagt nicht, wie die Benachrichtigung erfolgen kann</a:t>
            </a:r>
          </a:p>
        </p:txBody>
      </p:sp>
      <p:sp>
        <p:nvSpPr>
          <p:cNvPr id="9" name="Inhaltsplatzhalter 1"/>
          <p:cNvSpPr txBox="1">
            <a:spLocks/>
          </p:cNvSpPr>
          <p:nvPr/>
        </p:nvSpPr>
        <p:spPr>
          <a:xfrm>
            <a:off x="2927475" y="1691159"/>
            <a:ext cx="8574229" cy="4464313"/>
          </a:xfrm>
          <a:prstGeom prst="rect">
            <a:avLst/>
          </a:prstGeom>
          <a:solidFill>
            <a:schemeClr val="bg1"/>
          </a:solidFill>
        </p:spPr>
        <p:txBody>
          <a:bodyPr anchor="ctr"/>
          <a:lstStyle>
            <a:lvl1pPr marL="27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1pPr>
            <a:lvl2pPr marL="54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2pPr>
            <a:lvl3pPr marL="81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3pPr>
            <a:lvl4pPr marL="108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00"/>
              </a:spcAft>
              <a:buClr>
                <a:schemeClr val="accent2"/>
              </a:buClr>
              <a:buFont typeface="Wingdings" panose="05000000000000000000" pitchFamily="2" charset="2"/>
              <a:buChar char="§"/>
            </a:pPr>
            <a:r>
              <a:rPr lang="de-DE" sz="1800" b="1" dirty="0"/>
              <a:t>Hinweistext B, wenn Gastzugang der bundID oder FINK-Landeskonto über bundID (§ 5 VwZG statt § 41 Abs. 2a VwVfG)*: </a:t>
            </a:r>
            <a:r>
              <a:rPr lang="de-DE" sz="1800" dirty="0"/>
              <a:t>Falls Sie einer elektronischen Bescheidung zustimmen und den Gastzugang bzw. ein Landeskonto in der </a:t>
            </a:r>
            <a:r>
              <a:rPr lang="de-DE" sz="1800" dirty="0" err="1"/>
              <a:t>bundID</a:t>
            </a:r>
            <a:r>
              <a:rPr lang="de-DE" sz="1800" dirty="0"/>
              <a:t> verwendet haben, kann Ihnen nach der Bearbeitung des Vorgangs ein elektronischer Bescheid zum Abruf in einem Cloud-Speicher (öffentlich zugängliches Netz) gegen Empfangsbekenntnis übermittelt werden. Diesen können Sie abrufen und speichern. Sie erhalten mit der Benachrichtigung über die Bereitstellung des Bescheids zum Abruf eine E-Mail mit den Zugangsdaten. Das dem Übermittlungsschreiben beigefügte Empfangsbekenntnis ist umgehend zurückzusenden. Andernfalls gilt der Bescheid am dritten Tag nach Absendung an Sie als zugestellt. An die Zustellung sind Folgen geknüpft, unter anderem wird die Klagefrist in Gang gesetzt. Die Einwilligung ist mit Wirkung für die Zukunft widerruflich. </a:t>
            </a:r>
          </a:p>
        </p:txBody>
      </p:sp>
      <p:sp>
        <p:nvSpPr>
          <p:cNvPr id="10" name="Rahmen">
            <a:extLst>
              <a:ext uri="{FF2B5EF4-FFF2-40B4-BE49-F238E27FC236}">
                <a16:creationId xmlns:a16="http://schemas.microsoft.com/office/drawing/2014/main" id="{12A524A8-D367-4717-963A-1FC487F27007}"/>
              </a:ext>
            </a:extLst>
          </p:cNvPr>
          <p:cNvSpPr/>
          <p:nvPr>
            <p:custDataLst>
              <p:tags r:id="rId2"/>
            </p:custDataLst>
          </p:nvPr>
        </p:nvSpPr>
        <p:spPr>
          <a:xfrm>
            <a:off x="2920181" y="1622047"/>
            <a:ext cx="8581523" cy="246726"/>
          </a:xfrm>
          <a:custGeom>
            <a:avLst/>
            <a:gdLst>
              <a:gd name="connsiteX0" fmla="*/ 0 w 9753600"/>
              <a:gd name="connsiteY0" fmla="*/ 74676000 h 74777600"/>
              <a:gd name="connsiteX1" fmla="*/ 0 w 9753600"/>
              <a:gd name="connsiteY1" fmla="*/ 0 h 74777600"/>
              <a:gd name="connsiteX2" fmla="*/ 9753600 w 9753600"/>
              <a:gd name="connsiteY2" fmla="*/ 0 h 74777600"/>
              <a:gd name="connsiteX3" fmla="*/ 9753600 w 9753600"/>
              <a:gd name="connsiteY3" fmla="*/ 74777600 h 74777600"/>
            </a:gdLst>
            <a:ahLst/>
            <a:cxnLst>
              <a:cxn ang="0">
                <a:pos x="connsiteX0" y="connsiteY0"/>
              </a:cxn>
              <a:cxn ang="0">
                <a:pos x="connsiteX1" y="connsiteY1"/>
              </a:cxn>
              <a:cxn ang="0">
                <a:pos x="connsiteX2" y="connsiteY2"/>
              </a:cxn>
              <a:cxn ang="0">
                <a:pos x="connsiteX3" y="connsiteY3"/>
              </a:cxn>
            </a:cxnLst>
            <a:rect l="l" t="t" r="r" b="b"/>
            <a:pathLst>
              <a:path w="9753600" h="74777600">
                <a:moveTo>
                  <a:pt x="0" y="74676000"/>
                </a:moveTo>
                <a:lnTo>
                  <a:pt x="0" y="0"/>
                </a:lnTo>
                <a:lnTo>
                  <a:pt x="9753600" y="0"/>
                </a:lnTo>
                <a:lnTo>
                  <a:pt x="9753600" y="74777600"/>
                </a:lnTo>
              </a:path>
            </a:pathLst>
          </a:custGeom>
          <a:noFill/>
          <a:ln w="19050"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11" name="Rahmen">
            <a:extLst>
              <a:ext uri="{FF2B5EF4-FFF2-40B4-BE49-F238E27FC236}">
                <a16:creationId xmlns:a16="http://schemas.microsoft.com/office/drawing/2014/main" id="{3DAEB92D-EA82-42CC-959C-80846FA73F75}"/>
              </a:ext>
            </a:extLst>
          </p:cNvPr>
          <p:cNvSpPr/>
          <p:nvPr>
            <p:custDataLst>
              <p:tags r:id="rId3"/>
            </p:custDataLst>
          </p:nvPr>
        </p:nvSpPr>
        <p:spPr>
          <a:xfrm>
            <a:off x="2920181" y="6128981"/>
            <a:ext cx="8566935" cy="182546"/>
          </a:xfrm>
          <a:custGeom>
            <a:avLst/>
            <a:gdLst>
              <a:gd name="connsiteX0" fmla="*/ 0 w 31800800"/>
              <a:gd name="connsiteY0" fmla="*/ 0 h 70205600"/>
              <a:gd name="connsiteX1" fmla="*/ 0 w 31800800"/>
              <a:gd name="connsiteY1" fmla="*/ 70205600 h 70205600"/>
              <a:gd name="connsiteX2" fmla="*/ 31800800 w 31800800"/>
              <a:gd name="connsiteY2" fmla="*/ 70205600 h 70205600"/>
              <a:gd name="connsiteX3" fmla="*/ 31800800 w 31800800"/>
              <a:gd name="connsiteY3" fmla="*/ 0 h 70205600"/>
            </a:gdLst>
            <a:ahLst/>
            <a:cxnLst>
              <a:cxn ang="0">
                <a:pos x="connsiteX0" y="connsiteY0"/>
              </a:cxn>
              <a:cxn ang="0">
                <a:pos x="connsiteX1" y="connsiteY1"/>
              </a:cxn>
              <a:cxn ang="0">
                <a:pos x="connsiteX2" y="connsiteY2"/>
              </a:cxn>
              <a:cxn ang="0">
                <a:pos x="connsiteX3" y="connsiteY3"/>
              </a:cxn>
            </a:cxnLst>
            <a:rect l="l" t="t" r="r" b="b"/>
            <a:pathLst>
              <a:path w="31800800" h="70205600">
                <a:moveTo>
                  <a:pt x="0" y="0"/>
                </a:moveTo>
                <a:lnTo>
                  <a:pt x="0" y="70205600"/>
                </a:lnTo>
                <a:lnTo>
                  <a:pt x="31800800" y="70205600"/>
                </a:lnTo>
                <a:lnTo>
                  <a:pt x="31800800" y="0"/>
                </a:lnTo>
              </a:path>
            </a:pathLst>
          </a:custGeom>
          <a:noFill/>
          <a:ln w="1587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12" name="Rechteck 11"/>
          <p:cNvSpPr/>
          <p:nvPr/>
        </p:nvSpPr>
        <p:spPr>
          <a:xfrm>
            <a:off x="693210" y="2597645"/>
            <a:ext cx="1674000" cy="1673761"/>
          </a:xfrm>
          <a:prstGeom prst="rect">
            <a:avLst/>
          </a:prstGeom>
          <a:solidFill>
            <a:schemeClr val="accent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dirty="0">
              <a:solidFill>
                <a:schemeClr val="tx1"/>
              </a:solidFill>
            </a:endParaRPr>
          </a:p>
        </p:txBody>
      </p:sp>
      <p:grpSp>
        <p:nvGrpSpPr>
          <p:cNvPr id="13" name="Gruppieren 12">
            <a:extLst>
              <a:ext uri="{FF2B5EF4-FFF2-40B4-BE49-F238E27FC236}">
                <a16:creationId xmlns:a16="http://schemas.microsoft.com/office/drawing/2014/main" id="{65744B97-6F93-462E-8204-A0A53C614B45}"/>
              </a:ext>
            </a:extLst>
          </p:cNvPr>
          <p:cNvGrpSpPr>
            <a:grpSpLocks noChangeAspect="1"/>
          </p:cNvGrpSpPr>
          <p:nvPr/>
        </p:nvGrpSpPr>
        <p:grpSpPr>
          <a:xfrm>
            <a:off x="1073928" y="2999893"/>
            <a:ext cx="912569" cy="869253"/>
            <a:chOff x="796202" y="1133839"/>
            <a:chExt cx="609601" cy="580667"/>
          </a:xfrm>
          <a:solidFill>
            <a:schemeClr val="bg1"/>
          </a:solidFill>
        </p:grpSpPr>
        <p:grpSp>
          <p:nvGrpSpPr>
            <p:cNvPr id="14" name="noun_project_00296.eps">
              <a:extLst>
                <a:ext uri="{FF2B5EF4-FFF2-40B4-BE49-F238E27FC236}">
                  <a16:creationId xmlns:a16="http://schemas.microsoft.com/office/drawing/2014/main" id="{26DE7EA3-8E73-4E73-880A-8E50A5A2359F}"/>
                </a:ext>
              </a:extLst>
            </p:cNvPr>
            <p:cNvGrpSpPr>
              <a:grpSpLocks/>
            </p:cNvGrpSpPr>
            <p:nvPr/>
          </p:nvGrpSpPr>
          <p:grpSpPr bwMode="auto">
            <a:xfrm>
              <a:off x="796202" y="1276355"/>
              <a:ext cx="609601" cy="438151"/>
              <a:chOff x="722" y="3058"/>
              <a:chExt cx="384" cy="276"/>
            </a:xfrm>
            <a:grpFill/>
          </p:grpSpPr>
          <p:sp>
            <p:nvSpPr>
              <p:cNvPr id="20" name="Freeform 421">
                <a:extLst>
                  <a:ext uri="{FF2B5EF4-FFF2-40B4-BE49-F238E27FC236}">
                    <a16:creationId xmlns:a16="http://schemas.microsoft.com/office/drawing/2014/main" id="{DD4855E0-43D3-4388-AAD1-7ECCB799F252}"/>
                  </a:ext>
                </a:extLst>
              </p:cNvPr>
              <p:cNvSpPr>
                <a:spLocks/>
              </p:cNvSpPr>
              <p:nvPr/>
            </p:nvSpPr>
            <p:spPr bwMode="auto">
              <a:xfrm>
                <a:off x="925" y="3207"/>
                <a:ext cx="181" cy="127"/>
              </a:xfrm>
              <a:custGeom>
                <a:avLst/>
                <a:gdLst>
                  <a:gd name="T0" fmla="*/ 196 w 1631"/>
                  <a:gd name="T1" fmla="*/ 0 h 1146"/>
                  <a:gd name="T2" fmla="*/ 622 w 1631"/>
                  <a:gd name="T3" fmla="*/ 426 h 1146"/>
                  <a:gd name="T4" fmla="*/ 648 w 1631"/>
                  <a:gd name="T5" fmla="*/ 451 h 1146"/>
                  <a:gd name="T6" fmla="*/ 674 w 1631"/>
                  <a:gd name="T7" fmla="*/ 476 h 1146"/>
                  <a:gd name="T8" fmla="*/ 702 w 1631"/>
                  <a:gd name="T9" fmla="*/ 502 h 1146"/>
                  <a:gd name="T10" fmla="*/ 732 w 1631"/>
                  <a:gd name="T11" fmla="*/ 529 h 1146"/>
                  <a:gd name="T12" fmla="*/ 765 w 1631"/>
                  <a:gd name="T13" fmla="*/ 555 h 1146"/>
                  <a:gd name="T14" fmla="*/ 799 w 1631"/>
                  <a:gd name="T15" fmla="*/ 580 h 1146"/>
                  <a:gd name="T16" fmla="*/ 835 w 1631"/>
                  <a:gd name="T17" fmla="*/ 602 h 1146"/>
                  <a:gd name="T18" fmla="*/ 873 w 1631"/>
                  <a:gd name="T19" fmla="*/ 622 h 1146"/>
                  <a:gd name="T20" fmla="*/ 913 w 1631"/>
                  <a:gd name="T21" fmla="*/ 638 h 1146"/>
                  <a:gd name="T22" fmla="*/ 954 w 1631"/>
                  <a:gd name="T23" fmla="*/ 651 h 1146"/>
                  <a:gd name="T24" fmla="*/ 998 w 1631"/>
                  <a:gd name="T25" fmla="*/ 659 h 1146"/>
                  <a:gd name="T26" fmla="*/ 1043 w 1631"/>
                  <a:gd name="T27" fmla="*/ 662 h 1146"/>
                  <a:gd name="T28" fmla="*/ 1182 w 1631"/>
                  <a:gd name="T29" fmla="*/ 662 h 1146"/>
                  <a:gd name="T30" fmla="*/ 1182 w 1631"/>
                  <a:gd name="T31" fmla="*/ 455 h 1146"/>
                  <a:gd name="T32" fmla="*/ 1451 w 1631"/>
                  <a:gd name="T33" fmla="*/ 662 h 1146"/>
                  <a:gd name="T34" fmla="*/ 1631 w 1631"/>
                  <a:gd name="T35" fmla="*/ 801 h 1146"/>
                  <a:gd name="T36" fmla="*/ 1451 w 1631"/>
                  <a:gd name="T37" fmla="*/ 939 h 1146"/>
                  <a:gd name="T38" fmla="*/ 1182 w 1631"/>
                  <a:gd name="T39" fmla="*/ 1146 h 1146"/>
                  <a:gd name="T40" fmla="*/ 1182 w 1631"/>
                  <a:gd name="T41" fmla="*/ 939 h 1146"/>
                  <a:gd name="T42" fmla="*/ 1043 w 1631"/>
                  <a:gd name="T43" fmla="*/ 939 h 1146"/>
                  <a:gd name="T44" fmla="*/ 985 w 1631"/>
                  <a:gd name="T45" fmla="*/ 936 h 1146"/>
                  <a:gd name="T46" fmla="*/ 928 w 1631"/>
                  <a:gd name="T47" fmla="*/ 928 h 1146"/>
                  <a:gd name="T48" fmla="*/ 875 w 1631"/>
                  <a:gd name="T49" fmla="*/ 916 h 1146"/>
                  <a:gd name="T50" fmla="*/ 824 w 1631"/>
                  <a:gd name="T51" fmla="*/ 900 h 1146"/>
                  <a:gd name="T52" fmla="*/ 775 w 1631"/>
                  <a:gd name="T53" fmla="*/ 881 h 1146"/>
                  <a:gd name="T54" fmla="*/ 729 w 1631"/>
                  <a:gd name="T55" fmla="*/ 859 h 1146"/>
                  <a:gd name="T56" fmla="*/ 685 w 1631"/>
                  <a:gd name="T57" fmla="*/ 834 h 1146"/>
                  <a:gd name="T58" fmla="*/ 644 w 1631"/>
                  <a:gd name="T59" fmla="*/ 808 h 1146"/>
                  <a:gd name="T60" fmla="*/ 606 w 1631"/>
                  <a:gd name="T61" fmla="*/ 781 h 1146"/>
                  <a:gd name="T62" fmla="*/ 570 w 1631"/>
                  <a:gd name="T63" fmla="*/ 752 h 1146"/>
                  <a:gd name="T64" fmla="*/ 537 w 1631"/>
                  <a:gd name="T65" fmla="*/ 725 h 1146"/>
                  <a:gd name="T66" fmla="*/ 505 w 1631"/>
                  <a:gd name="T67" fmla="*/ 697 h 1146"/>
                  <a:gd name="T68" fmla="*/ 477 w 1631"/>
                  <a:gd name="T69" fmla="*/ 670 h 1146"/>
                  <a:gd name="T70" fmla="*/ 451 w 1631"/>
                  <a:gd name="T71" fmla="*/ 645 h 1146"/>
                  <a:gd name="T72" fmla="*/ 428 w 1631"/>
                  <a:gd name="T73" fmla="*/ 622 h 1146"/>
                  <a:gd name="T74" fmla="*/ 0 w 1631"/>
                  <a:gd name="T75" fmla="*/ 196 h 1146"/>
                  <a:gd name="T76" fmla="*/ 196 w 1631"/>
                  <a:gd name="T7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1" h="1146">
                    <a:moveTo>
                      <a:pt x="196" y="0"/>
                    </a:moveTo>
                    <a:lnTo>
                      <a:pt x="622" y="426"/>
                    </a:lnTo>
                    <a:lnTo>
                      <a:pt x="648" y="451"/>
                    </a:lnTo>
                    <a:lnTo>
                      <a:pt x="674" y="476"/>
                    </a:lnTo>
                    <a:lnTo>
                      <a:pt x="702" y="502"/>
                    </a:lnTo>
                    <a:lnTo>
                      <a:pt x="732" y="529"/>
                    </a:lnTo>
                    <a:lnTo>
                      <a:pt x="765" y="555"/>
                    </a:lnTo>
                    <a:lnTo>
                      <a:pt x="799" y="580"/>
                    </a:lnTo>
                    <a:lnTo>
                      <a:pt x="835" y="602"/>
                    </a:lnTo>
                    <a:lnTo>
                      <a:pt x="873" y="622"/>
                    </a:lnTo>
                    <a:lnTo>
                      <a:pt x="913" y="638"/>
                    </a:lnTo>
                    <a:lnTo>
                      <a:pt x="954" y="651"/>
                    </a:lnTo>
                    <a:lnTo>
                      <a:pt x="998" y="659"/>
                    </a:lnTo>
                    <a:lnTo>
                      <a:pt x="1043" y="662"/>
                    </a:lnTo>
                    <a:lnTo>
                      <a:pt x="1182" y="662"/>
                    </a:lnTo>
                    <a:lnTo>
                      <a:pt x="1182" y="455"/>
                    </a:lnTo>
                    <a:lnTo>
                      <a:pt x="1451" y="662"/>
                    </a:lnTo>
                    <a:lnTo>
                      <a:pt x="1631" y="801"/>
                    </a:lnTo>
                    <a:lnTo>
                      <a:pt x="1451" y="939"/>
                    </a:lnTo>
                    <a:lnTo>
                      <a:pt x="1182" y="1146"/>
                    </a:lnTo>
                    <a:lnTo>
                      <a:pt x="1182" y="939"/>
                    </a:lnTo>
                    <a:lnTo>
                      <a:pt x="1043" y="939"/>
                    </a:lnTo>
                    <a:lnTo>
                      <a:pt x="985" y="936"/>
                    </a:lnTo>
                    <a:lnTo>
                      <a:pt x="928" y="928"/>
                    </a:lnTo>
                    <a:lnTo>
                      <a:pt x="875" y="916"/>
                    </a:lnTo>
                    <a:lnTo>
                      <a:pt x="824" y="900"/>
                    </a:lnTo>
                    <a:lnTo>
                      <a:pt x="775" y="881"/>
                    </a:lnTo>
                    <a:lnTo>
                      <a:pt x="729" y="859"/>
                    </a:lnTo>
                    <a:lnTo>
                      <a:pt x="685" y="834"/>
                    </a:lnTo>
                    <a:lnTo>
                      <a:pt x="644" y="808"/>
                    </a:lnTo>
                    <a:lnTo>
                      <a:pt x="606" y="781"/>
                    </a:lnTo>
                    <a:lnTo>
                      <a:pt x="570" y="752"/>
                    </a:lnTo>
                    <a:lnTo>
                      <a:pt x="537" y="725"/>
                    </a:lnTo>
                    <a:lnTo>
                      <a:pt x="505" y="697"/>
                    </a:lnTo>
                    <a:lnTo>
                      <a:pt x="477" y="670"/>
                    </a:lnTo>
                    <a:lnTo>
                      <a:pt x="451" y="645"/>
                    </a:lnTo>
                    <a:lnTo>
                      <a:pt x="428" y="622"/>
                    </a:lnTo>
                    <a:lnTo>
                      <a:pt x="0" y="196"/>
                    </a:lnTo>
                    <a:lnTo>
                      <a:pt x="19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1" name="Freeform 422">
                <a:extLst>
                  <a:ext uri="{FF2B5EF4-FFF2-40B4-BE49-F238E27FC236}">
                    <a16:creationId xmlns:a16="http://schemas.microsoft.com/office/drawing/2014/main" id="{A405BAE6-7593-4764-BBDB-F735B556D419}"/>
                  </a:ext>
                </a:extLst>
              </p:cNvPr>
              <p:cNvSpPr>
                <a:spLocks/>
              </p:cNvSpPr>
              <p:nvPr/>
            </p:nvSpPr>
            <p:spPr bwMode="auto">
              <a:xfrm>
                <a:off x="722" y="3081"/>
                <a:ext cx="181" cy="104"/>
              </a:xfrm>
              <a:custGeom>
                <a:avLst/>
                <a:gdLst>
                  <a:gd name="T0" fmla="*/ 0 w 1631"/>
                  <a:gd name="T1" fmla="*/ 0 h 938"/>
                  <a:gd name="T2" fmla="*/ 588 w 1631"/>
                  <a:gd name="T3" fmla="*/ 0 h 938"/>
                  <a:gd name="T4" fmla="*/ 646 w 1631"/>
                  <a:gd name="T5" fmla="*/ 2 h 938"/>
                  <a:gd name="T6" fmla="*/ 703 w 1631"/>
                  <a:gd name="T7" fmla="*/ 9 h 938"/>
                  <a:gd name="T8" fmla="*/ 756 w 1631"/>
                  <a:gd name="T9" fmla="*/ 22 h 938"/>
                  <a:gd name="T10" fmla="*/ 807 w 1631"/>
                  <a:gd name="T11" fmla="*/ 38 h 938"/>
                  <a:gd name="T12" fmla="*/ 856 w 1631"/>
                  <a:gd name="T13" fmla="*/ 58 h 938"/>
                  <a:gd name="T14" fmla="*/ 902 w 1631"/>
                  <a:gd name="T15" fmla="*/ 80 h 938"/>
                  <a:gd name="T16" fmla="*/ 946 w 1631"/>
                  <a:gd name="T17" fmla="*/ 104 h 938"/>
                  <a:gd name="T18" fmla="*/ 987 w 1631"/>
                  <a:gd name="T19" fmla="*/ 130 h 938"/>
                  <a:gd name="T20" fmla="*/ 1025 w 1631"/>
                  <a:gd name="T21" fmla="*/ 157 h 938"/>
                  <a:gd name="T22" fmla="*/ 1061 w 1631"/>
                  <a:gd name="T23" fmla="*/ 185 h 938"/>
                  <a:gd name="T24" fmla="*/ 1094 w 1631"/>
                  <a:gd name="T25" fmla="*/ 214 h 938"/>
                  <a:gd name="T26" fmla="*/ 1126 w 1631"/>
                  <a:gd name="T27" fmla="*/ 241 h 938"/>
                  <a:gd name="T28" fmla="*/ 1154 w 1631"/>
                  <a:gd name="T29" fmla="*/ 268 h 938"/>
                  <a:gd name="T30" fmla="*/ 1180 w 1631"/>
                  <a:gd name="T31" fmla="*/ 293 h 938"/>
                  <a:gd name="T32" fmla="*/ 1203 w 1631"/>
                  <a:gd name="T33" fmla="*/ 316 h 938"/>
                  <a:gd name="T34" fmla="*/ 1631 w 1631"/>
                  <a:gd name="T35" fmla="*/ 743 h 938"/>
                  <a:gd name="T36" fmla="*/ 1435 w 1631"/>
                  <a:gd name="T37" fmla="*/ 938 h 938"/>
                  <a:gd name="T38" fmla="*/ 1009 w 1631"/>
                  <a:gd name="T39" fmla="*/ 512 h 938"/>
                  <a:gd name="T40" fmla="*/ 983 w 1631"/>
                  <a:gd name="T41" fmla="*/ 488 h 938"/>
                  <a:gd name="T42" fmla="*/ 957 w 1631"/>
                  <a:gd name="T43" fmla="*/ 462 h 938"/>
                  <a:gd name="T44" fmla="*/ 929 w 1631"/>
                  <a:gd name="T45" fmla="*/ 436 h 938"/>
                  <a:gd name="T46" fmla="*/ 899 w 1631"/>
                  <a:gd name="T47" fmla="*/ 409 h 938"/>
                  <a:gd name="T48" fmla="*/ 866 w 1631"/>
                  <a:gd name="T49" fmla="*/ 383 h 938"/>
                  <a:gd name="T50" fmla="*/ 832 w 1631"/>
                  <a:gd name="T51" fmla="*/ 359 h 938"/>
                  <a:gd name="T52" fmla="*/ 796 w 1631"/>
                  <a:gd name="T53" fmla="*/ 336 h 938"/>
                  <a:gd name="T54" fmla="*/ 758 w 1631"/>
                  <a:gd name="T55" fmla="*/ 316 h 938"/>
                  <a:gd name="T56" fmla="*/ 718 w 1631"/>
                  <a:gd name="T57" fmla="*/ 299 h 938"/>
                  <a:gd name="T58" fmla="*/ 677 w 1631"/>
                  <a:gd name="T59" fmla="*/ 287 h 938"/>
                  <a:gd name="T60" fmla="*/ 633 w 1631"/>
                  <a:gd name="T61" fmla="*/ 278 h 938"/>
                  <a:gd name="T62" fmla="*/ 588 w 1631"/>
                  <a:gd name="T63" fmla="*/ 276 h 938"/>
                  <a:gd name="T64" fmla="*/ 0 w 1631"/>
                  <a:gd name="T65" fmla="*/ 276 h 938"/>
                  <a:gd name="T66" fmla="*/ 0 w 1631"/>
                  <a:gd name="T6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1" h="938">
                    <a:moveTo>
                      <a:pt x="0" y="0"/>
                    </a:moveTo>
                    <a:lnTo>
                      <a:pt x="588" y="0"/>
                    </a:lnTo>
                    <a:lnTo>
                      <a:pt x="646" y="2"/>
                    </a:lnTo>
                    <a:lnTo>
                      <a:pt x="703" y="9"/>
                    </a:lnTo>
                    <a:lnTo>
                      <a:pt x="756" y="22"/>
                    </a:lnTo>
                    <a:lnTo>
                      <a:pt x="807" y="38"/>
                    </a:lnTo>
                    <a:lnTo>
                      <a:pt x="856" y="58"/>
                    </a:lnTo>
                    <a:lnTo>
                      <a:pt x="902" y="80"/>
                    </a:lnTo>
                    <a:lnTo>
                      <a:pt x="946" y="104"/>
                    </a:lnTo>
                    <a:lnTo>
                      <a:pt x="987" y="130"/>
                    </a:lnTo>
                    <a:lnTo>
                      <a:pt x="1025" y="157"/>
                    </a:lnTo>
                    <a:lnTo>
                      <a:pt x="1061" y="185"/>
                    </a:lnTo>
                    <a:lnTo>
                      <a:pt x="1094" y="214"/>
                    </a:lnTo>
                    <a:lnTo>
                      <a:pt x="1126" y="241"/>
                    </a:lnTo>
                    <a:lnTo>
                      <a:pt x="1154" y="268"/>
                    </a:lnTo>
                    <a:lnTo>
                      <a:pt x="1180" y="293"/>
                    </a:lnTo>
                    <a:lnTo>
                      <a:pt x="1203" y="316"/>
                    </a:lnTo>
                    <a:lnTo>
                      <a:pt x="1631" y="743"/>
                    </a:lnTo>
                    <a:lnTo>
                      <a:pt x="1435" y="938"/>
                    </a:lnTo>
                    <a:lnTo>
                      <a:pt x="1009" y="512"/>
                    </a:lnTo>
                    <a:lnTo>
                      <a:pt x="983" y="488"/>
                    </a:lnTo>
                    <a:lnTo>
                      <a:pt x="957" y="462"/>
                    </a:lnTo>
                    <a:lnTo>
                      <a:pt x="929" y="436"/>
                    </a:lnTo>
                    <a:lnTo>
                      <a:pt x="899" y="409"/>
                    </a:lnTo>
                    <a:lnTo>
                      <a:pt x="866" y="383"/>
                    </a:lnTo>
                    <a:lnTo>
                      <a:pt x="832" y="359"/>
                    </a:lnTo>
                    <a:lnTo>
                      <a:pt x="796" y="336"/>
                    </a:lnTo>
                    <a:lnTo>
                      <a:pt x="758" y="316"/>
                    </a:lnTo>
                    <a:lnTo>
                      <a:pt x="718" y="299"/>
                    </a:lnTo>
                    <a:lnTo>
                      <a:pt x="677" y="287"/>
                    </a:lnTo>
                    <a:lnTo>
                      <a:pt x="633" y="278"/>
                    </a:lnTo>
                    <a:lnTo>
                      <a:pt x="588" y="276"/>
                    </a:lnTo>
                    <a:lnTo>
                      <a:pt x="0" y="276"/>
                    </a:lnTo>
                    <a:lnTo>
                      <a:pt x="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2" name="Freeform 423">
                <a:extLst>
                  <a:ext uri="{FF2B5EF4-FFF2-40B4-BE49-F238E27FC236}">
                    <a16:creationId xmlns:a16="http://schemas.microsoft.com/office/drawing/2014/main" id="{095EE9AD-114D-496A-8376-106EEBDCBD6C}"/>
                  </a:ext>
                </a:extLst>
              </p:cNvPr>
              <p:cNvSpPr>
                <a:spLocks/>
              </p:cNvSpPr>
              <p:nvPr/>
            </p:nvSpPr>
            <p:spPr bwMode="auto">
              <a:xfrm>
                <a:off x="722" y="3058"/>
                <a:ext cx="384" cy="253"/>
              </a:xfrm>
              <a:custGeom>
                <a:avLst/>
                <a:gdLst>
                  <a:gd name="T0" fmla="*/ 3007 w 3456"/>
                  <a:gd name="T1" fmla="*/ 0 h 2280"/>
                  <a:gd name="T2" fmla="*/ 3456 w 3456"/>
                  <a:gd name="T3" fmla="*/ 345 h 2280"/>
                  <a:gd name="T4" fmla="*/ 3007 w 3456"/>
                  <a:gd name="T5" fmla="*/ 691 h 2280"/>
                  <a:gd name="T6" fmla="*/ 2868 w 3456"/>
                  <a:gd name="T7" fmla="*/ 483 h 2280"/>
                  <a:gd name="T8" fmla="*/ 2779 w 3456"/>
                  <a:gd name="T9" fmla="*/ 494 h 2280"/>
                  <a:gd name="T10" fmla="*/ 2698 w 3456"/>
                  <a:gd name="T11" fmla="*/ 523 h 2280"/>
                  <a:gd name="T12" fmla="*/ 2624 w 3456"/>
                  <a:gd name="T13" fmla="*/ 566 h 2280"/>
                  <a:gd name="T14" fmla="*/ 2557 w 3456"/>
                  <a:gd name="T15" fmla="*/ 616 h 2280"/>
                  <a:gd name="T16" fmla="*/ 2499 w 3456"/>
                  <a:gd name="T17" fmla="*/ 669 h 2280"/>
                  <a:gd name="T18" fmla="*/ 2447 w 3456"/>
                  <a:gd name="T19" fmla="*/ 719 h 2280"/>
                  <a:gd name="T20" fmla="*/ 1180 w 3456"/>
                  <a:gd name="T21" fmla="*/ 1986 h 2280"/>
                  <a:gd name="T22" fmla="*/ 1126 w 3456"/>
                  <a:gd name="T23" fmla="*/ 2038 h 2280"/>
                  <a:gd name="T24" fmla="*/ 1061 w 3456"/>
                  <a:gd name="T25" fmla="*/ 2093 h 2280"/>
                  <a:gd name="T26" fmla="*/ 987 w 3456"/>
                  <a:gd name="T27" fmla="*/ 2149 h 2280"/>
                  <a:gd name="T28" fmla="*/ 902 w 3456"/>
                  <a:gd name="T29" fmla="*/ 2200 h 2280"/>
                  <a:gd name="T30" fmla="*/ 807 w 3456"/>
                  <a:gd name="T31" fmla="*/ 2241 h 2280"/>
                  <a:gd name="T32" fmla="*/ 703 w 3456"/>
                  <a:gd name="T33" fmla="*/ 2269 h 2280"/>
                  <a:gd name="T34" fmla="*/ 588 w 3456"/>
                  <a:gd name="T35" fmla="*/ 2280 h 2280"/>
                  <a:gd name="T36" fmla="*/ 0 w 3456"/>
                  <a:gd name="T37" fmla="*/ 2003 h 2280"/>
                  <a:gd name="T38" fmla="*/ 633 w 3456"/>
                  <a:gd name="T39" fmla="*/ 2000 h 2280"/>
                  <a:gd name="T40" fmla="*/ 718 w 3456"/>
                  <a:gd name="T41" fmla="*/ 1979 h 2280"/>
                  <a:gd name="T42" fmla="*/ 796 w 3456"/>
                  <a:gd name="T43" fmla="*/ 1943 h 2280"/>
                  <a:gd name="T44" fmla="*/ 866 w 3456"/>
                  <a:gd name="T45" fmla="*/ 1896 h 2280"/>
                  <a:gd name="T46" fmla="*/ 929 w 3456"/>
                  <a:gd name="T47" fmla="*/ 1843 h 2280"/>
                  <a:gd name="T48" fmla="*/ 983 w 3456"/>
                  <a:gd name="T49" fmla="*/ 1792 h 2280"/>
                  <a:gd name="T50" fmla="*/ 2253 w 3456"/>
                  <a:gd name="T51" fmla="*/ 523 h 2280"/>
                  <a:gd name="T52" fmla="*/ 2302 w 3456"/>
                  <a:gd name="T53" fmla="*/ 475 h 2280"/>
                  <a:gd name="T54" fmla="*/ 2362 w 3456"/>
                  <a:gd name="T55" fmla="*/ 421 h 2280"/>
                  <a:gd name="T56" fmla="*/ 2431 w 3456"/>
                  <a:gd name="T57" fmla="*/ 364 h 2280"/>
                  <a:gd name="T58" fmla="*/ 2510 w 3456"/>
                  <a:gd name="T59" fmla="*/ 311 h 2280"/>
                  <a:gd name="T60" fmla="*/ 2600 w 3456"/>
                  <a:gd name="T61" fmla="*/ 265 h 2280"/>
                  <a:gd name="T62" fmla="*/ 2700 w 3456"/>
                  <a:gd name="T63" fmla="*/ 229 h 2280"/>
                  <a:gd name="T64" fmla="*/ 2810 w 3456"/>
                  <a:gd name="T65" fmla="*/ 209 h 2280"/>
                  <a:gd name="T66" fmla="*/ 3007 w 3456"/>
                  <a:gd name="T67" fmla="*/ 207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2280">
                    <a:moveTo>
                      <a:pt x="3007" y="0"/>
                    </a:moveTo>
                    <a:lnTo>
                      <a:pt x="3007" y="0"/>
                    </a:lnTo>
                    <a:lnTo>
                      <a:pt x="3276" y="207"/>
                    </a:lnTo>
                    <a:lnTo>
                      <a:pt x="3456" y="345"/>
                    </a:lnTo>
                    <a:lnTo>
                      <a:pt x="3276" y="483"/>
                    </a:lnTo>
                    <a:lnTo>
                      <a:pt x="3007" y="691"/>
                    </a:lnTo>
                    <a:lnTo>
                      <a:pt x="3007" y="483"/>
                    </a:lnTo>
                    <a:lnTo>
                      <a:pt x="2868" y="483"/>
                    </a:lnTo>
                    <a:lnTo>
                      <a:pt x="2823" y="485"/>
                    </a:lnTo>
                    <a:lnTo>
                      <a:pt x="2779" y="494"/>
                    </a:lnTo>
                    <a:lnTo>
                      <a:pt x="2738" y="506"/>
                    </a:lnTo>
                    <a:lnTo>
                      <a:pt x="2698" y="523"/>
                    </a:lnTo>
                    <a:lnTo>
                      <a:pt x="2660" y="543"/>
                    </a:lnTo>
                    <a:lnTo>
                      <a:pt x="2624" y="566"/>
                    </a:lnTo>
                    <a:lnTo>
                      <a:pt x="2590" y="590"/>
                    </a:lnTo>
                    <a:lnTo>
                      <a:pt x="2557" y="616"/>
                    </a:lnTo>
                    <a:lnTo>
                      <a:pt x="2527" y="643"/>
                    </a:lnTo>
                    <a:lnTo>
                      <a:pt x="2499" y="669"/>
                    </a:lnTo>
                    <a:lnTo>
                      <a:pt x="2473" y="695"/>
                    </a:lnTo>
                    <a:lnTo>
                      <a:pt x="2447" y="719"/>
                    </a:lnTo>
                    <a:lnTo>
                      <a:pt x="1203" y="1963"/>
                    </a:lnTo>
                    <a:lnTo>
                      <a:pt x="1180" y="1986"/>
                    </a:lnTo>
                    <a:lnTo>
                      <a:pt x="1154" y="2011"/>
                    </a:lnTo>
                    <a:lnTo>
                      <a:pt x="1126" y="2038"/>
                    </a:lnTo>
                    <a:lnTo>
                      <a:pt x="1094" y="2066"/>
                    </a:lnTo>
                    <a:lnTo>
                      <a:pt x="1061" y="2093"/>
                    </a:lnTo>
                    <a:lnTo>
                      <a:pt x="1025" y="2122"/>
                    </a:lnTo>
                    <a:lnTo>
                      <a:pt x="987" y="2149"/>
                    </a:lnTo>
                    <a:lnTo>
                      <a:pt x="946" y="2175"/>
                    </a:lnTo>
                    <a:lnTo>
                      <a:pt x="902" y="2200"/>
                    </a:lnTo>
                    <a:lnTo>
                      <a:pt x="856" y="2222"/>
                    </a:lnTo>
                    <a:lnTo>
                      <a:pt x="807" y="2241"/>
                    </a:lnTo>
                    <a:lnTo>
                      <a:pt x="756" y="2257"/>
                    </a:lnTo>
                    <a:lnTo>
                      <a:pt x="703" y="2269"/>
                    </a:lnTo>
                    <a:lnTo>
                      <a:pt x="646" y="2277"/>
                    </a:lnTo>
                    <a:lnTo>
                      <a:pt x="588" y="2280"/>
                    </a:lnTo>
                    <a:lnTo>
                      <a:pt x="0" y="2280"/>
                    </a:lnTo>
                    <a:lnTo>
                      <a:pt x="0" y="2003"/>
                    </a:lnTo>
                    <a:lnTo>
                      <a:pt x="588" y="2003"/>
                    </a:lnTo>
                    <a:lnTo>
                      <a:pt x="633" y="2000"/>
                    </a:lnTo>
                    <a:lnTo>
                      <a:pt x="677" y="1992"/>
                    </a:lnTo>
                    <a:lnTo>
                      <a:pt x="718" y="1979"/>
                    </a:lnTo>
                    <a:lnTo>
                      <a:pt x="758" y="1963"/>
                    </a:lnTo>
                    <a:lnTo>
                      <a:pt x="796" y="1943"/>
                    </a:lnTo>
                    <a:lnTo>
                      <a:pt x="832" y="1921"/>
                    </a:lnTo>
                    <a:lnTo>
                      <a:pt x="866" y="1896"/>
                    </a:lnTo>
                    <a:lnTo>
                      <a:pt x="899" y="1870"/>
                    </a:lnTo>
                    <a:lnTo>
                      <a:pt x="929" y="1843"/>
                    </a:lnTo>
                    <a:lnTo>
                      <a:pt x="957" y="1817"/>
                    </a:lnTo>
                    <a:lnTo>
                      <a:pt x="983" y="1792"/>
                    </a:lnTo>
                    <a:lnTo>
                      <a:pt x="1009" y="1767"/>
                    </a:lnTo>
                    <a:lnTo>
                      <a:pt x="2253" y="523"/>
                    </a:lnTo>
                    <a:lnTo>
                      <a:pt x="2276" y="500"/>
                    </a:lnTo>
                    <a:lnTo>
                      <a:pt x="2302" y="475"/>
                    </a:lnTo>
                    <a:lnTo>
                      <a:pt x="2330" y="448"/>
                    </a:lnTo>
                    <a:lnTo>
                      <a:pt x="2362" y="421"/>
                    </a:lnTo>
                    <a:lnTo>
                      <a:pt x="2395" y="392"/>
                    </a:lnTo>
                    <a:lnTo>
                      <a:pt x="2431" y="364"/>
                    </a:lnTo>
                    <a:lnTo>
                      <a:pt x="2469" y="337"/>
                    </a:lnTo>
                    <a:lnTo>
                      <a:pt x="2510" y="311"/>
                    </a:lnTo>
                    <a:lnTo>
                      <a:pt x="2554" y="287"/>
                    </a:lnTo>
                    <a:lnTo>
                      <a:pt x="2600" y="265"/>
                    </a:lnTo>
                    <a:lnTo>
                      <a:pt x="2649" y="245"/>
                    </a:lnTo>
                    <a:lnTo>
                      <a:pt x="2700" y="229"/>
                    </a:lnTo>
                    <a:lnTo>
                      <a:pt x="2753" y="216"/>
                    </a:lnTo>
                    <a:lnTo>
                      <a:pt x="2810" y="209"/>
                    </a:lnTo>
                    <a:lnTo>
                      <a:pt x="2868" y="207"/>
                    </a:lnTo>
                    <a:lnTo>
                      <a:pt x="3007" y="207"/>
                    </a:lnTo>
                    <a:lnTo>
                      <a:pt x="3007"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nvGrpSpPr>
            <p:cNvPr id="15" name="noun_project_01063.eps">
              <a:extLst>
                <a:ext uri="{FF2B5EF4-FFF2-40B4-BE49-F238E27FC236}">
                  <a16:creationId xmlns:a16="http://schemas.microsoft.com/office/drawing/2014/main" id="{0375278A-96D3-4C15-B50E-8DD3E280D4F5}"/>
                </a:ext>
              </a:extLst>
            </p:cNvPr>
            <p:cNvGrpSpPr>
              <a:grpSpLocks noChangeAspect="1"/>
            </p:cNvGrpSpPr>
            <p:nvPr/>
          </p:nvGrpSpPr>
          <p:grpSpPr bwMode="auto">
            <a:xfrm>
              <a:off x="996054" y="1133839"/>
              <a:ext cx="244833" cy="261574"/>
              <a:chOff x="2223" y="3060"/>
              <a:chExt cx="351" cy="375"/>
            </a:xfrm>
            <a:grpFill/>
          </p:grpSpPr>
          <p:sp>
            <p:nvSpPr>
              <p:cNvPr id="16" name="Freeform 405">
                <a:extLst>
                  <a:ext uri="{FF2B5EF4-FFF2-40B4-BE49-F238E27FC236}">
                    <a16:creationId xmlns:a16="http://schemas.microsoft.com/office/drawing/2014/main" id="{2F1AE96F-0A52-4104-956C-4D245EB473EB}"/>
                  </a:ext>
                </a:extLst>
              </p:cNvPr>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7" name="Freeform 406">
                <a:extLst>
                  <a:ext uri="{FF2B5EF4-FFF2-40B4-BE49-F238E27FC236}">
                    <a16:creationId xmlns:a16="http://schemas.microsoft.com/office/drawing/2014/main" id="{84A7CBAD-2D66-4DDC-B4A8-07A04BEDE058}"/>
                  </a:ext>
                </a:extLst>
              </p:cNvPr>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8" name="Freeform 407">
                <a:extLst>
                  <a:ext uri="{FF2B5EF4-FFF2-40B4-BE49-F238E27FC236}">
                    <a16:creationId xmlns:a16="http://schemas.microsoft.com/office/drawing/2014/main" id="{A4D45EA1-897B-4095-AAAE-50101E7C183B}"/>
                  </a:ext>
                </a:extLst>
              </p:cNvPr>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9" name="Freeform 408">
                <a:extLst>
                  <a:ext uri="{FF2B5EF4-FFF2-40B4-BE49-F238E27FC236}">
                    <a16:creationId xmlns:a16="http://schemas.microsoft.com/office/drawing/2014/main" id="{8428A7E8-C3EA-4955-B092-DF775808765B}"/>
                  </a:ext>
                </a:extLst>
              </p:cNvPr>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sp>
        <p:nvSpPr>
          <p:cNvPr id="8" name="Rechteckige Legende 7"/>
          <p:cNvSpPr/>
          <p:nvPr/>
        </p:nvSpPr>
        <p:spPr>
          <a:xfrm>
            <a:off x="388189" y="4837665"/>
            <a:ext cx="2346385" cy="1371600"/>
          </a:xfrm>
          <a:prstGeom prst="wedgeRectCallout">
            <a:avLst>
              <a:gd name="adj1" fmla="val 52767"/>
              <a:gd name="adj2" fmla="val -66117"/>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tx1"/>
                </a:solidFill>
              </a:rPr>
              <a:t>§ 5 VwZG statt § 41 Abs. 2a VwVfG ist eine Spezialnorm zum § 41 Abs. 2a VwVfG , d.h. wenn über Cloud-Speicher zugestellt wird (Einwilligung liegt vor) so greift hier die Bekanntmachungsfiktion des § 5 VwZG. Mit Übermittlung, spätestens nach drei Tagen gilt der Widerspruchsbescheid als Bekanntgegeben. Siehe § 41 Abs. 5 VwVfG</a:t>
            </a:r>
          </a:p>
        </p:txBody>
      </p:sp>
      <p:sp>
        <p:nvSpPr>
          <p:cNvPr id="25" name="Rechteckige Legende 24"/>
          <p:cNvSpPr/>
          <p:nvPr/>
        </p:nvSpPr>
        <p:spPr>
          <a:xfrm>
            <a:off x="388189" y="1275379"/>
            <a:ext cx="2346385" cy="1371600"/>
          </a:xfrm>
          <a:prstGeom prst="wedgeRectCallout">
            <a:avLst>
              <a:gd name="adj1" fmla="val 40267"/>
              <a:gd name="adj2" fmla="val 65330"/>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tx1"/>
                </a:solidFill>
              </a:rPr>
              <a:t>Gem. § 73 Abs. 3 Satz 2 VwGO ist ein Widerspruchsbescheid nach den Vorschriften des Verwaltungszustellungsgesetzes von Amts wegen zuzustellen. Die Zustellung elektronischer Bescheide richtet sich entweder nach § 5 Abs. 5 bis Abs. 7 VwZG oder § 5a VwZG für den Fall, dass nach dem De-Mail Gesetz zugestellt werden soll. </a:t>
            </a:r>
          </a:p>
        </p:txBody>
      </p:sp>
    </p:spTree>
    <p:extLst>
      <p:ext uri="{BB962C8B-B14F-4D97-AF65-F5344CB8AC3E}">
        <p14:creationId xmlns:p14="http://schemas.microsoft.com/office/powerpoint/2010/main" val="3394661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693210" y="2597645"/>
            <a:ext cx="1674000" cy="1673761"/>
          </a:xfrm>
          <a:prstGeom prst="rect">
            <a:avLst/>
          </a:prstGeom>
          <a:solidFill>
            <a:schemeClr val="accent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dirty="0">
              <a:solidFill>
                <a:schemeClr val="tx1"/>
              </a:solidFill>
            </a:endParaRPr>
          </a:p>
        </p:txBody>
      </p:sp>
      <p:graphicFrame>
        <p:nvGraphicFramePr>
          <p:cNvPr id="13" name="Objek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278" imgH="278" progId="TCLayout.ActiveDocument.1">
                  <p:embed/>
                </p:oleObj>
              </mc:Choice>
              <mc:Fallback>
                <p:oleObj name="think-cell Folie" r:id="rId6" imgW="278" imgH="278" progId="TCLayout.ActiveDocument.1">
                  <p:embed/>
                  <p:pic>
                    <p:nvPicPr>
                      <p:cNvPr id="13" name="Objekt 1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dirty="0"/>
              <a:t>Beim Widerspruchsverfahren sollten hochstandardisierte Templates für Widerspruch-Formulare genutzt werden, die bei Bedarf auf den Kontext adaptiert werden können</a:t>
            </a:r>
          </a:p>
        </p:txBody>
      </p:sp>
      <p:sp>
        <p:nvSpPr>
          <p:cNvPr id="5" name="Foliennummernplatzhalter 4"/>
          <p:cNvSpPr>
            <a:spLocks noGrp="1"/>
          </p:cNvSpPr>
          <p:nvPr>
            <p:ph type="sldNum" sz="quarter" idx="12"/>
          </p:nvPr>
        </p:nvSpPr>
        <p:spPr/>
        <p:txBody>
          <a:bodyPr/>
          <a:lstStyle/>
          <a:p>
            <a:fld id="{D4A18DF9-8FF6-4BA5-BC52-5FB4772E2292}" type="slidenum">
              <a:rPr lang="de-DE" smtClean="0"/>
              <a:pPr/>
              <a:t>8</a:t>
            </a:fld>
            <a:endParaRPr lang="de-DE" dirty="0"/>
          </a:p>
        </p:txBody>
      </p:sp>
      <p:sp>
        <p:nvSpPr>
          <p:cNvPr id="6" name="Textplatzhalter 5"/>
          <p:cNvSpPr>
            <a:spLocks noGrp="1"/>
          </p:cNvSpPr>
          <p:nvPr>
            <p:ph type="body" sz="quarter" idx="14"/>
          </p:nvPr>
        </p:nvSpPr>
        <p:spPr/>
        <p:txBody>
          <a:bodyPr/>
          <a:lstStyle/>
          <a:p>
            <a:r>
              <a:rPr lang="de-DE" dirty="0"/>
              <a:t>Plattformbasierte Verwaltungsdigitalisierung</a:t>
            </a:r>
          </a:p>
        </p:txBody>
      </p:sp>
      <p:sp>
        <p:nvSpPr>
          <p:cNvPr id="7" name="Textplatzhalter 6"/>
          <p:cNvSpPr>
            <a:spLocks noGrp="1"/>
          </p:cNvSpPr>
          <p:nvPr>
            <p:ph type="body" sz="quarter" idx="13"/>
          </p:nvPr>
        </p:nvSpPr>
        <p:spPr/>
        <p:txBody>
          <a:bodyPr/>
          <a:lstStyle/>
          <a:p>
            <a:r>
              <a:rPr lang="de-DE" dirty="0"/>
              <a:t>Blaupausen Widerspruchsverfahren</a:t>
            </a:r>
          </a:p>
        </p:txBody>
      </p:sp>
      <p:sp>
        <p:nvSpPr>
          <p:cNvPr id="9" name="Inhaltsplatzhalter 1"/>
          <p:cNvSpPr txBox="1">
            <a:spLocks/>
          </p:cNvSpPr>
          <p:nvPr/>
        </p:nvSpPr>
        <p:spPr>
          <a:xfrm>
            <a:off x="2920181" y="1688994"/>
            <a:ext cx="8574229" cy="4464313"/>
          </a:xfrm>
          <a:prstGeom prst="rect">
            <a:avLst/>
          </a:prstGeom>
          <a:solidFill>
            <a:schemeClr val="bg1"/>
          </a:solidFill>
        </p:spPr>
        <p:txBody>
          <a:bodyPr anchor="ctr"/>
          <a:lstStyle>
            <a:lvl1pPr marL="27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1pPr>
            <a:lvl2pPr marL="54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2pPr>
            <a:lvl3pPr marL="81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3pPr>
            <a:lvl4pPr marL="108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4pPr>
            <a:lvl5pPr marL="1350000" indent="-270000" algn="l" defTabSz="914400" rtl="0" eaLnBrk="1" latinLnBrk="0" hangingPunct="1">
              <a:lnSpc>
                <a:spcPct val="100000"/>
              </a:lnSpc>
              <a:spcBef>
                <a:spcPts val="0"/>
              </a:spcBef>
              <a:spcAft>
                <a:spcPts val="300"/>
              </a:spcAft>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2"/>
              </a:buClr>
              <a:buFont typeface="Wingdings" panose="05000000000000000000" pitchFamily="2" charset="2"/>
              <a:buChar char="§"/>
            </a:pPr>
            <a:r>
              <a:rPr lang="de-DE" dirty="0"/>
              <a:t>Online-Formular im Online-Dienst sowie PDF-Zusammenfassung des Widerspruchs im Online-Dienst</a:t>
            </a:r>
          </a:p>
          <a:p>
            <a:pPr marL="0" indent="0">
              <a:buClr>
                <a:schemeClr val="accent2"/>
              </a:buClr>
              <a:buNone/>
            </a:pPr>
            <a:endParaRPr lang="de-DE" dirty="0"/>
          </a:p>
          <a:p>
            <a:pPr>
              <a:buClr>
                <a:schemeClr val="accent2"/>
              </a:buClr>
              <a:buFont typeface="Wingdings" panose="05000000000000000000" pitchFamily="2" charset="2"/>
              <a:buChar char="§"/>
            </a:pPr>
            <a:endParaRPr lang="de-DE" dirty="0"/>
          </a:p>
          <a:p>
            <a:pPr>
              <a:buClr>
                <a:schemeClr val="accent2"/>
              </a:buClr>
              <a:buFont typeface="Wingdings" panose="05000000000000000000" pitchFamily="2" charset="2"/>
              <a:buChar char="§"/>
            </a:pPr>
            <a:endParaRPr lang="de-DE" dirty="0"/>
          </a:p>
          <a:p>
            <a:pPr>
              <a:buClr>
                <a:schemeClr val="accent2"/>
              </a:buClr>
              <a:buFont typeface="Wingdings" panose="05000000000000000000" pitchFamily="2" charset="2"/>
              <a:buChar char="§"/>
            </a:pPr>
            <a:r>
              <a:rPr lang="de-DE" dirty="0"/>
              <a:t>Empfehlung für Eingangsbestätigung aus der Behörde (siehe auch Statuskennzeichen)</a:t>
            </a:r>
          </a:p>
          <a:p>
            <a:pPr>
              <a:buClr>
                <a:schemeClr val="accent2"/>
              </a:buClr>
              <a:buFont typeface="Wingdings" panose="05000000000000000000" pitchFamily="2" charset="2"/>
              <a:buChar char="§"/>
            </a:pPr>
            <a:endParaRPr lang="de-DE" dirty="0"/>
          </a:p>
          <a:p>
            <a:pPr marL="0" indent="0">
              <a:buClr>
                <a:schemeClr val="accent2"/>
              </a:buClr>
              <a:buNone/>
            </a:pPr>
            <a:endParaRPr lang="de-DE" dirty="0"/>
          </a:p>
          <a:p>
            <a:pPr>
              <a:buClr>
                <a:schemeClr val="accent2"/>
              </a:buClr>
              <a:buFont typeface="Wingdings" panose="05000000000000000000" pitchFamily="2" charset="2"/>
              <a:buChar char="§"/>
            </a:pPr>
            <a:endParaRPr lang="de-DE" dirty="0"/>
          </a:p>
          <a:p>
            <a:pPr>
              <a:buClr>
                <a:schemeClr val="accent2"/>
              </a:buClr>
              <a:buFont typeface="Wingdings" panose="05000000000000000000" pitchFamily="2" charset="2"/>
              <a:buChar char="§"/>
            </a:pPr>
            <a:r>
              <a:rPr lang="de-DE" dirty="0"/>
              <a:t>Empfehlung für Information über Widerspruchsbescheid (inkl. Empfangsbekenntnis) sowie Vorlage Widerspruchsbescheid</a:t>
            </a:r>
          </a:p>
        </p:txBody>
      </p:sp>
      <p:sp>
        <p:nvSpPr>
          <p:cNvPr id="37" name="Rahmen">
            <a:extLst>
              <a:ext uri="{FF2B5EF4-FFF2-40B4-BE49-F238E27FC236}">
                <a16:creationId xmlns:a16="http://schemas.microsoft.com/office/drawing/2014/main" id="{12A524A8-D367-4717-963A-1FC487F27007}"/>
              </a:ext>
            </a:extLst>
          </p:cNvPr>
          <p:cNvSpPr/>
          <p:nvPr>
            <p:custDataLst>
              <p:tags r:id="rId2"/>
            </p:custDataLst>
          </p:nvPr>
        </p:nvSpPr>
        <p:spPr>
          <a:xfrm>
            <a:off x="2920181" y="1622047"/>
            <a:ext cx="8581523" cy="246726"/>
          </a:xfrm>
          <a:custGeom>
            <a:avLst/>
            <a:gdLst>
              <a:gd name="connsiteX0" fmla="*/ 0 w 9753600"/>
              <a:gd name="connsiteY0" fmla="*/ 74676000 h 74777600"/>
              <a:gd name="connsiteX1" fmla="*/ 0 w 9753600"/>
              <a:gd name="connsiteY1" fmla="*/ 0 h 74777600"/>
              <a:gd name="connsiteX2" fmla="*/ 9753600 w 9753600"/>
              <a:gd name="connsiteY2" fmla="*/ 0 h 74777600"/>
              <a:gd name="connsiteX3" fmla="*/ 9753600 w 9753600"/>
              <a:gd name="connsiteY3" fmla="*/ 74777600 h 74777600"/>
            </a:gdLst>
            <a:ahLst/>
            <a:cxnLst>
              <a:cxn ang="0">
                <a:pos x="connsiteX0" y="connsiteY0"/>
              </a:cxn>
              <a:cxn ang="0">
                <a:pos x="connsiteX1" y="connsiteY1"/>
              </a:cxn>
              <a:cxn ang="0">
                <a:pos x="connsiteX2" y="connsiteY2"/>
              </a:cxn>
              <a:cxn ang="0">
                <a:pos x="connsiteX3" y="connsiteY3"/>
              </a:cxn>
            </a:cxnLst>
            <a:rect l="l" t="t" r="r" b="b"/>
            <a:pathLst>
              <a:path w="9753600" h="74777600">
                <a:moveTo>
                  <a:pt x="0" y="74676000"/>
                </a:moveTo>
                <a:lnTo>
                  <a:pt x="0" y="0"/>
                </a:lnTo>
                <a:lnTo>
                  <a:pt x="9753600" y="0"/>
                </a:lnTo>
                <a:lnTo>
                  <a:pt x="9753600" y="74777600"/>
                </a:lnTo>
              </a:path>
            </a:pathLst>
          </a:custGeom>
          <a:noFill/>
          <a:ln w="19050"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sp>
        <p:nvSpPr>
          <p:cNvPr id="38" name="Rahmen">
            <a:extLst>
              <a:ext uri="{FF2B5EF4-FFF2-40B4-BE49-F238E27FC236}">
                <a16:creationId xmlns:a16="http://schemas.microsoft.com/office/drawing/2014/main" id="{3DAEB92D-EA82-42CC-959C-80846FA73F75}"/>
              </a:ext>
            </a:extLst>
          </p:cNvPr>
          <p:cNvSpPr/>
          <p:nvPr>
            <p:custDataLst>
              <p:tags r:id="rId3"/>
            </p:custDataLst>
          </p:nvPr>
        </p:nvSpPr>
        <p:spPr>
          <a:xfrm>
            <a:off x="2920181" y="6128981"/>
            <a:ext cx="8566935" cy="182546"/>
          </a:xfrm>
          <a:custGeom>
            <a:avLst/>
            <a:gdLst>
              <a:gd name="connsiteX0" fmla="*/ 0 w 31800800"/>
              <a:gd name="connsiteY0" fmla="*/ 0 h 70205600"/>
              <a:gd name="connsiteX1" fmla="*/ 0 w 31800800"/>
              <a:gd name="connsiteY1" fmla="*/ 70205600 h 70205600"/>
              <a:gd name="connsiteX2" fmla="*/ 31800800 w 31800800"/>
              <a:gd name="connsiteY2" fmla="*/ 70205600 h 70205600"/>
              <a:gd name="connsiteX3" fmla="*/ 31800800 w 31800800"/>
              <a:gd name="connsiteY3" fmla="*/ 0 h 70205600"/>
            </a:gdLst>
            <a:ahLst/>
            <a:cxnLst>
              <a:cxn ang="0">
                <a:pos x="connsiteX0" y="connsiteY0"/>
              </a:cxn>
              <a:cxn ang="0">
                <a:pos x="connsiteX1" y="connsiteY1"/>
              </a:cxn>
              <a:cxn ang="0">
                <a:pos x="connsiteX2" y="connsiteY2"/>
              </a:cxn>
              <a:cxn ang="0">
                <a:pos x="connsiteX3" y="connsiteY3"/>
              </a:cxn>
            </a:cxnLst>
            <a:rect l="l" t="t" r="r" b="b"/>
            <a:pathLst>
              <a:path w="31800800" h="70205600">
                <a:moveTo>
                  <a:pt x="0" y="0"/>
                </a:moveTo>
                <a:lnTo>
                  <a:pt x="0" y="70205600"/>
                </a:lnTo>
                <a:lnTo>
                  <a:pt x="31800800" y="70205600"/>
                </a:lnTo>
                <a:lnTo>
                  <a:pt x="31800800" y="0"/>
                </a:lnTo>
              </a:path>
            </a:pathLst>
          </a:custGeom>
          <a:noFill/>
          <a:ln w="15875" cap="flat" cmpd="sng" algn="ctr">
            <a:solidFill>
              <a:schemeClr val="accent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Calibri" panose="020F0502020204030204" pitchFamily="34" charset="0"/>
            </a:endParaRPr>
          </a:p>
        </p:txBody>
      </p:sp>
      <p:grpSp>
        <p:nvGrpSpPr>
          <p:cNvPr id="15" name="Gruppieren 14">
            <a:extLst>
              <a:ext uri="{FF2B5EF4-FFF2-40B4-BE49-F238E27FC236}">
                <a16:creationId xmlns:a16="http://schemas.microsoft.com/office/drawing/2014/main" id="{65744B97-6F93-462E-8204-A0A53C614B45}"/>
              </a:ext>
            </a:extLst>
          </p:cNvPr>
          <p:cNvGrpSpPr>
            <a:grpSpLocks noChangeAspect="1"/>
          </p:cNvGrpSpPr>
          <p:nvPr/>
        </p:nvGrpSpPr>
        <p:grpSpPr>
          <a:xfrm>
            <a:off x="1073930" y="2999889"/>
            <a:ext cx="912569" cy="869261"/>
            <a:chOff x="796202" y="1133839"/>
            <a:chExt cx="609601" cy="580671"/>
          </a:xfrm>
          <a:solidFill>
            <a:schemeClr val="bg1"/>
          </a:solidFill>
        </p:grpSpPr>
        <p:grpSp>
          <p:nvGrpSpPr>
            <p:cNvPr id="16" name="noun_project_00296.eps">
              <a:extLst>
                <a:ext uri="{FF2B5EF4-FFF2-40B4-BE49-F238E27FC236}">
                  <a16:creationId xmlns:a16="http://schemas.microsoft.com/office/drawing/2014/main" id="{26DE7EA3-8E73-4E73-880A-8E50A5A2359F}"/>
                </a:ext>
              </a:extLst>
            </p:cNvPr>
            <p:cNvGrpSpPr>
              <a:grpSpLocks/>
            </p:cNvGrpSpPr>
            <p:nvPr/>
          </p:nvGrpSpPr>
          <p:grpSpPr bwMode="auto">
            <a:xfrm>
              <a:off x="796202" y="1276359"/>
              <a:ext cx="609601" cy="438151"/>
              <a:chOff x="722" y="3058"/>
              <a:chExt cx="384" cy="276"/>
            </a:xfrm>
            <a:grpFill/>
          </p:grpSpPr>
          <p:sp>
            <p:nvSpPr>
              <p:cNvPr id="22" name="Freeform 421">
                <a:extLst>
                  <a:ext uri="{FF2B5EF4-FFF2-40B4-BE49-F238E27FC236}">
                    <a16:creationId xmlns:a16="http://schemas.microsoft.com/office/drawing/2014/main" id="{DD4855E0-43D3-4388-AAD1-7ECCB799F252}"/>
                  </a:ext>
                </a:extLst>
              </p:cNvPr>
              <p:cNvSpPr>
                <a:spLocks/>
              </p:cNvSpPr>
              <p:nvPr/>
            </p:nvSpPr>
            <p:spPr bwMode="auto">
              <a:xfrm>
                <a:off x="925" y="3207"/>
                <a:ext cx="181" cy="127"/>
              </a:xfrm>
              <a:custGeom>
                <a:avLst/>
                <a:gdLst>
                  <a:gd name="T0" fmla="*/ 196 w 1631"/>
                  <a:gd name="T1" fmla="*/ 0 h 1146"/>
                  <a:gd name="T2" fmla="*/ 622 w 1631"/>
                  <a:gd name="T3" fmla="*/ 426 h 1146"/>
                  <a:gd name="T4" fmla="*/ 648 w 1631"/>
                  <a:gd name="T5" fmla="*/ 451 h 1146"/>
                  <a:gd name="T6" fmla="*/ 674 w 1631"/>
                  <a:gd name="T7" fmla="*/ 476 h 1146"/>
                  <a:gd name="T8" fmla="*/ 702 w 1631"/>
                  <a:gd name="T9" fmla="*/ 502 h 1146"/>
                  <a:gd name="T10" fmla="*/ 732 w 1631"/>
                  <a:gd name="T11" fmla="*/ 529 h 1146"/>
                  <a:gd name="T12" fmla="*/ 765 w 1631"/>
                  <a:gd name="T13" fmla="*/ 555 h 1146"/>
                  <a:gd name="T14" fmla="*/ 799 w 1631"/>
                  <a:gd name="T15" fmla="*/ 580 h 1146"/>
                  <a:gd name="T16" fmla="*/ 835 w 1631"/>
                  <a:gd name="T17" fmla="*/ 602 h 1146"/>
                  <a:gd name="T18" fmla="*/ 873 w 1631"/>
                  <a:gd name="T19" fmla="*/ 622 h 1146"/>
                  <a:gd name="T20" fmla="*/ 913 w 1631"/>
                  <a:gd name="T21" fmla="*/ 638 h 1146"/>
                  <a:gd name="T22" fmla="*/ 954 w 1631"/>
                  <a:gd name="T23" fmla="*/ 651 h 1146"/>
                  <a:gd name="T24" fmla="*/ 998 w 1631"/>
                  <a:gd name="T25" fmla="*/ 659 h 1146"/>
                  <a:gd name="T26" fmla="*/ 1043 w 1631"/>
                  <a:gd name="T27" fmla="*/ 662 h 1146"/>
                  <a:gd name="T28" fmla="*/ 1182 w 1631"/>
                  <a:gd name="T29" fmla="*/ 662 h 1146"/>
                  <a:gd name="T30" fmla="*/ 1182 w 1631"/>
                  <a:gd name="T31" fmla="*/ 455 h 1146"/>
                  <a:gd name="T32" fmla="*/ 1451 w 1631"/>
                  <a:gd name="T33" fmla="*/ 662 h 1146"/>
                  <a:gd name="T34" fmla="*/ 1631 w 1631"/>
                  <a:gd name="T35" fmla="*/ 801 h 1146"/>
                  <a:gd name="T36" fmla="*/ 1451 w 1631"/>
                  <a:gd name="T37" fmla="*/ 939 h 1146"/>
                  <a:gd name="T38" fmla="*/ 1182 w 1631"/>
                  <a:gd name="T39" fmla="*/ 1146 h 1146"/>
                  <a:gd name="T40" fmla="*/ 1182 w 1631"/>
                  <a:gd name="T41" fmla="*/ 939 h 1146"/>
                  <a:gd name="T42" fmla="*/ 1043 w 1631"/>
                  <a:gd name="T43" fmla="*/ 939 h 1146"/>
                  <a:gd name="T44" fmla="*/ 985 w 1631"/>
                  <a:gd name="T45" fmla="*/ 936 h 1146"/>
                  <a:gd name="T46" fmla="*/ 928 w 1631"/>
                  <a:gd name="T47" fmla="*/ 928 h 1146"/>
                  <a:gd name="T48" fmla="*/ 875 w 1631"/>
                  <a:gd name="T49" fmla="*/ 916 h 1146"/>
                  <a:gd name="T50" fmla="*/ 824 w 1631"/>
                  <a:gd name="T51" fmla="*/ 900 h 1146"/>
                  <a:gd name="T52" fmla="*/ 775 w 1631"/>
                  <a:gd name="T53" fmla="*/ 881 h 1146"/>
                  <a:gd name="T54" fmla="*/ 729 w 1631"/>
                  <a:gd name="T55" fmla="*/ 859 h 1146"/>
                  <a:gd name="T56" fmla="*/ 685 w 1631"/>
                  <a:gd name="T57" fmla="*/ 834 h 1146"/>
                  <a:gd name="T58" fmla="*/ 644 w 1631"/>
                  <a:gd name="T59" fmla="*/ 808 h 1146"/>
                  <a:gd name="T60" fmla="*/ 606 w 1631"/>
                  <a:gd name="T61" fmla="*/ 781 h 1146"/>
                  <a:gd name="T62" fmla="*/ 570 w 1631"/>
                  <a:gd name="T63" fmla="*/ 752 h 1146"/>
                  <a:gd name="T64" fmla="*/ 537 w 1631"/>
                  <a:gd name="T65" fmla="*/ 725 h 1146"/>
                  <a:gd name="T66" fmla="*/ 505 w 1631"/>
                  <a:gd name="T67" fmla="*/ 697 h 1146"/>
                  <a:gd name="T68" fmla="*/ 477 w 1631"/>
                  <a:gd name="T69" fmla="*/ 670 h 1146"/>
                  <a:gd name="T70" fmla="*/ 451 w 1631"/>
                  <a:gd name="T71" fmla="*/ 645 h 1146"/>
                  <a:gd name="T72" fmla="*/ 428 w 1631"/>
                  <a:gd name="T73" fmla="*/ 622 h 1146"/>
                  <a:gd name="T74" fmla="*/ 0 w 1631"/>
                  <a:gd name="T75" fmla="*/ 196 h 1146"/>
                  <a:gd name="T76" fmla="*/ 196 w 1631"/>
                  <a:gd name="T77" fmla="*/ 0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31" h="1146">
                    <a:moveTo>
                      <a:pt x="196" y="0"/>
                    </a:moveTo>
                    <a:lnTo>
                      <a:pt x="622" y="426"/>
                    </a:lnTo>
                    <a:lnTo>
                      <a:pt x="648" y="451"/>
                    </a:lnTo>
                    <a:lnTo>
                      <a:pt x="674" y="476"/>
                    </a:lnTo>
                    <a:lnTo>
                      <a:pt x="702" y="502"/>
                    </a:lnTo>
                    <a:lnTo>
                      <a:pt x="732" y="529"/>
                    </a:lnTo>
                    <a:lnTo>
                      <a:pt x="765" y="555"/>
                    </a:lnTo>
                    <a:lnTo>
                      <a:pt x="799" y="580"/>
                    </a:lnTo>
                    <a:lnTo>
                      <a:pt x="835" y="602"/>
                    </a:lnTo>
                    <a:lnTo>
                      <a:pt x="873" y="622"/>
                    </a:lnTo>
                    <a:lnTo>
                      <a:pt x="913" y="638"/>
                    </a:lnTo>
                    <a:lnTo>
                      <a:pt x="954" y="651"/>
                    </a:lnTo>
                    <a:lnTo>
                      <a:pt x="998" y="659"/>
                    </a:lnTo>
                    <a:lnTo>
                      <a:pt x="1043" y="662"/>
                    </a:lnTo>
                    <a:lnTo>
                      <a:pt x="1182" y="662"/>
                    </a:lnTo>
                    <a:lnTo>
                      <a:pt x="1182" y="455"/>
                    </a:lnTo>
                    <a:lnTo>
                      <a:pt x="1451" y="662"/>
                    </a:lnTo>
                    <a:lnTo>
                      <a:pt x="1631" y="801"/>
                    </a:lnTo>
                    <a:lnTo>
                      <a:pt x="1451" y="939"/>
                    </a:lnTo>
                    <a:lnTo>
                      <a:pt x="1182" y="1146"/>
                    </a:lnTo>
                    <a:lnTo>
                      <a:pt x="1182" y="939"/>
                    </a:lnTo>
                    <a:lnTo>
                      <a:pt x="1043" y="939"/>
                    </a:lnTo>
                    <a:lnTo>
                      <a:pt x="985" y="936"/>
                    </a:lnTo>
                    <a:lnTo>
                      <a:pt x="928" y="928"/>
                    </a:lnTo>
                    <a:lnTo>
                      <a:pt x="875" y="916"/>
                    </a:lnTo>
                    <a:lnTo>
                      <a:pt x="824" y="900"/>
                    </a:lnTo>
                    <a:lnTo>
                      <a:pt x="775" y="881"/>
                    </a:lnTo>
                    <a:lnTo>
                      <a:pt x="729" y="859"/>
                    </a:lnTo>
                    <a:lnTo>
                      <a:pt x="685" y="834"/>
                    </a:lnTo>
                    <a:lnTo>
                      <a:pt x="644" y="808"/>
                    </a:lnTo>
                    <a:lnTo>
                      <a:pt x="606" y="781"/>
                    </a:lnTo>
                    <a:lnTo>
                      <a:pt x="570" y="752"/>
                    </a:lnTo>
                    <a:lnTo>
                      <a:pt x="537" y="725"/>
                    </a:lnTo>
                    <a:lnTo>
                      <a:pt x="505" y="697"/>
                    </a:lnTo>
                    <a:lnTo>
                      <a:pt x="477" y="670"/>
                    </a:lnTo>
                    <a:lnTo>
                      <a:pt x="451" y="645"/>
                    </a:lnTo>
                    <a:lnTo>
                      <a:pt x="428" y="622"/>
                    </a:lnTo>
                    <a:lnTo>
                      <a:pt x="0" y="196"/>
                    </a:lnTo>
                    <a:lnTo>
                      <a:pt x="19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3" name="Freeform 422">
                <a:extLst>
                  <a:ext uri="{FF2B5EF4-FFF2-40B4-BE49-F238E27FC236}">
                    <a16:creationId xmlns:a16="http://schemas.microsoft.com/office/drawing/2014/main" id="{A405BAE6-7593-4764-BBDB-F735B556D419}"/>
                  </a:ext>
                </a:extLst>
              </p:cNvPr>
              <p:cNvSpPr>
                <a:spLocks/>
              </p:cNvSpPr>
              <p:nvPr/>
            </p:nvSpPr>
            <p:spPr bwMode="auto">
              <a:xfrm>
                <a:off x="722" y="3081"/>
                <a:ext cx="181" cy="104"/>
              </a:xfrm>
              <a:custGeom>
                <a:avLst/>
                <a:gdLst>
                  <a:gd name="T0" fmla="*/ 0 w 1631"/>
                  <a:gd name="T1" fmla="*/ 0 h 938"/>
                  <a:gd name="T2" fmla="*/ 588 w 1631"/>
                  <a:gd name="T3" fmla="*/ 0 h 938"/>
                  <a:gd name="T4" fmla="*/ 646 w 1631"/>
                  <a:gd name="T5" fmla="*/ 2 h 938"/>
                  <a:gd name="T6" fmla="*/ 703 w 1631"/>
                  <a:gd name="T7" fmla="*/ 9 h 938"/>
                  <a:gd name="T8" fmla="*/ 756 w 1631"/>
                  <a:gd name="T9" fmla="*/ 22 h 938"/>
                  <a:gd name="T10" fmla="*/ 807 w 1631"/>
                  <a:gd name="T11" fmla="*/ 38 h 938"/>
                  <a:gd name="T12" fmla="*/ 856 w 1631"/>
                  <a:gd name="T13" fmla="*/ 58 h 938"/>
                  <a:gd name="T14" fmla="*/ 902 w 1631"/>
                  <a:gd name="T15" fmla="*/ 80 h 938"/>
                  <a:gd name="T16" fmla="*/ 946 w 1631"/>
                  <a:gd name="T17" fmla="*/ 104 h 938"/>
                  <a:gd name="T18" fmla="*/ 987 w 1631"/>
                  <a:gd name="T19" fmla="*/ 130 h 938"/>
                  <a:gd name="T20" fmla="*/ 1025 w 1631"/>
                  <a:gd name="T21" fmla="*/ 157 h 938"/>
                  <a:gd name="T22" fmla="*/ 1061 w 1631"/>
                  <a:gd name="T23" fmla="*/ 185 h 938"/>
                  <a:gd name="T24" fmla="*/ 1094 w 1631"/>
                  <a:gd name="T25" fmla="*/ 214 h 938"/>
                  <a:gd name="T26" fmla="*/ 1126 w 1631"/>
                  <a:gd name="T27" fmla="*/ 241 h 938"/>
                  <a:gd name="T28" fmla="*/ 1154 w 1631"/>
                  <a:gd name="T29" fmla="*/ 268 h 938"/>
                  <a:gd name="T30" fmla="*/ 1180 w 1631"/>
                  <a:gd name="T31" fmla="*/ 293 h 938"/>
                  <a:gd name="T32" fmla="*/ 1203 w 1631"/>
                  <a:gd name="T33" fmla="*/ 316 h 938"/>
                  <a:gd name="T34" fmla="*/ 1631 w 1631"/>
                  <a:gd name="T35" fmla="*/ 743 h 938"/>
                  <a:gd name="T36" fmla="*/ 1435 w 1631"/>
                  <a:gd name="T37" fmla="*/ 938 h 938"/>
                  <a:gd name="T38" fmla="*/ 1009 w 1631"/>
                  <a:gd name="T39" fmla="*/ 512 h 938"/>
                  <a:gd name="T40" fmla="*/ 983 w 1631"/>
                  <a:gd name="T41" fmla="*/ 488 h 938"/>
                  <a:gd name="T42" fmla="*/ 957 w 1631"/>
                  <a:gd name="T43" fmla="*/ 462 h 938"/>
                  <a:gd name="T44" fmla="*/ 929 w 1631"/>
                  <a:gd name="T45" fmla="*/ 436 h 938"/>
                  <a:gd name="T46" fmla="*/ 899 w 1631"/>
                  <a:gd name="T47" fmla="*/ 409 h 938"/>
                  <a:gd name="T48" fmla="*/ 866 w 1631"/>
                  <a:gd name="T49" fmla="*/ 383 h 938"/>
                  <a:gd name="T50" fmla="*/ 832 w 1631"/>
                  <a:gd name="T51" fmla="*/ 359 h 938"/>
                  <a:gd name="T52" fmla="*/ 796 w 1631"/>
                  <a:gd name="T53" fmla="*/ 336 h 938"/>
                  <a:gd name="T54" fmla="*/ 758 w 1631"/>
                  <a:gd name="T55" fmla="*/ 316 h 938"/>
                  <a:gd name="T56" fmla="*/ 718 w 1631"/>
                  <a:gd name="T57" fmla="*/ 299 h 938"/>
                  <a:gd name="T58" fmla="*/ 677 w 1631"/>
                  <a:gd name="T59" fmla="*/ 287 h 938"/>
                  <a:gd name="T60" fmla="*/ 633 w 1631"/>
                  <a:gd name="T61" fmla="*/ 278 h 938"/>
                  <a:gd name="T62" fmla="*/ 588 w 1631"/>
                  <a:gd name="T63" fmla="*/ 276 h 938"/>
                  <a:gd name="T64" fmla="*/ 0 w 1631"/>
                  <a:gd name="T65" fmla="*/ 276 h 938"/>
                  <a:gd name="T66" fmla="*/ 0 w 1631"/>
                  <a:gd name="T67" fmla="*/ 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31" h="938">
                    <a:moveTo>
                      <a:pt x="0" y="0"/>
                    </a:moveTo>
                    <a:lnTo>
                      <a:pt x="588" y="0"/>
                    </a:lnTo>
                    <a:lnTo>
                      <a:pt x="646" y="2"/>
                    </a:lnTo>
                    <a:lnTo>
                      <a:pt x="703" y="9"/>
                    </a:lnTo>
                    <a:lnTo>
                      <a:pt x="756" y="22"/>
                    </a:lnTo>
                    <a:lnTo>
                      <a:pt x="807" y="38"/>
                    </a:lnTo>
                    <a:lnTo>
                      <a:pt x="856" y="58"/>
                    </a:lnTo>
                    <a:lnTo>
                      <a:pt x="902" y="80"/>
                    </a:lnTo>
                    <a:lnTo>
                      <a:pt x="946" y="104"/>
                    </a:lnTo>
                    <a:lnTo>
                      <a:pt x="987" y="130"/>
                    </a:lnTo>
                    <a:lnTo>
                      <a:pt x="1025" y="157"/>
                    </a:lnTo>
                    <a:lnTo>
                      <a:pt x="1061" y="185"/>
                    </a:lnTo>
                    <a:lnTo>
                      <a:pt x="1094" y="214"/>
                    </a:lnTo>
                    <a:lnTo>
                      <a:pt x="1126" y="241"/>
                    </a:lnTo>
                    <a:lnTo>
                      <a:pt x="1154" y="268"/>
                    </a:lnTo>
                    <a:lnTo>
                      <a:pt x="1180" y="293"/>
                    </a:lnTo>
                    <a:lnTo>
                      <a:pt x="1203" y="316"/>
                    </a:lnTo>
                    <a:lnTo>
                      <a:pt x="1631" y="743"/>
                    </a:lnTo>
                    <a:lnTo>
                      <a:pt x="1435" y="938"/>
                    </a:lnTo>
                    <a:lnTo>
                      <a:pt x="1009" y="512"/>
                    </a:lnTo>
                    <a:lnTo>
                      <a:pt x="983" y="488"/>
                    </a:lnTo>
                    <a:lnTo>
                      <a:pt x="957" y="462"/>
                    </a:lnTo>
                    <a:lnTo>
                      <a:pt x="929" y="436"/>
                    </a:lnTo>
                    <a:lnTo>
                      <a:pt x="899" y="409"/>
                    </a:lnTo>
                    <a:lnTo>
                      <a:pt x="866" y="383"/>
                    </a:lnTo>
                    <a:lnTo>
                      <a:pt x="832" y="359"/>
                    </a:lnTo>
                    <a:lnTo>
                      <a:pt x="796" y="336"/>
                    </a:lnTo>
                    <a:lnTo>
                      <a:pt x="758" y="316"/>
                    </a:lnTo>
                    <a:lnTo>
                      <a:pt x="718" y="299"/>
                    </a:lnTo>
                    <a:lnTo>
                      <a:pt x="677" y="287"/>
                    </a:lnTo>
                    <a:lnTo>
                      <a:pt x="633" y="278"/>
                    </a:lnTo>
                    <a:lnTo>
                      <a:pt x="588" y="276"/>
                    </a:lnTo>
                    <a:lnTo>
                      <a:pt x="0" y="276"/>
                    </a:lnTo>
                    <a:lnTo>
                      <a:pt x="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4" name="Freeform 423">
                <a:extLst>
                  <a:ext uri="{FF2B5EF4-FFF2-40B4-BE49-F238E27FC236}">
                    <a16:creationId xmlns:a16="http://schemas.microsoft.com/office/drawing/2014/main" id="{095EE9AD-114D-496A-8376-106EEBDCBD6C}"/>
                  </a:ext>
                </a:extLst>
              </p:cNvPr>
              <p:cNvSpPr>
                <a:spLocks/>
              </p:cNvSpPr>
              <p:nvPr/>
            </p:nvSpPr>
            <p:spPr bwMode="auto">
              <a:xfrm>
                <a:off x="722" y="3058"/>
                <a:ext cx="384" cy="253"/>
              </a:xfrm>
              <a:custGeom>
                <a:avLst/>
                <a:gdLst>
                  <a:gd name="T0" fmla="*/ 3007 w 3456"/>
                  <a:gd name="T1" fmla="*/ 0 h 2280"/>
                  <a:gd name="T2" fmla="*/ 3456 w 3456"/>
                  <a:gd name="T3" fmla="*/ 345 h 2280"/>
                  <a:gd name="T4" fmla="*/ 3007 w 3456"/>
                  <a:gd name="T5" fmla="*/ 691 h 2280"/>
                  <a:gd name="T6" fmla="*/ 2868 w 3456"/>
                  <a:gd name="T7" fmla="*/ 483 h 2280"/>
                  <a:gd name="T8" fmla="*/ 2779 w 3456"/>
                  <a:gd name="T9" fmla="*/ 494 h 2280"/>
                  <a:gd name="T10" fmla="*/ 2698 w 3456"/>
                  <a:gd name="T11" fmla="*/ 523 h 2280"/>
                  <a:gd name="T12" fmla="*/ 2624 w 3456"/>
                  <a:gd name="T13" fmla="*/ 566 h 2280"/>
                  <a:gd name="T14" fmla="*/ 2557 w 3456"/>
                  <a:gd name="T15" fmla="*/ 616 h 2280"/>
                  <a:gd name="T16" fmla="*/ 2499 w 3456"/>
                  <a:gd name="T17" fmla="*/ 669 h 2280"/>
                  <a:gd name="T18" fmla="*/ 2447 w 3456"/>
                  <a:gd name="T19" fmla="*/ 719 h 2280"/>
                  <a:gd name="T20" fmla="*/ 1180 w 3456"/>
                  <a:gd name="T21" fmla="*/ 1986 h 2280"/>
                  <a:gd name="T22" fmla="*/ 1126 w 3456"/>
                  <a:gd name="T23" fmla="*/ 2038 h 2280"/>
                  <a:gd name="T24" fmla="*/ 1061 w 3456"/>
                  <a:gd name="T25" fmla="*/ 2093 h 2280"/>
                  <a:gd name="T26" fmla="*/ 987 w 3456"/>
                  <a:gd name="T27" fmla="*/ 2149 h 2280"/>
                  <a:gd name="T28" fmla="*/ 902 w 3456"/>
                  <a:gd name="T29" fmla="*/ 2200 h 2280"/>
                  <a:gd name="T30" fmla="*/ 807 w 3456"/>
                  <a:gd name="T31" fmla="*/ 2241 h 2280"/>
                  <a:gd name="T32" fmla="*/ 703 w 3456"/>
                  <a:gd name="T33" fmla="*/ 2269 h 2280"/>
                  <a:gd name="T34" fmla="*/ 588 w 3456"/>
                  <a:gd name="T35" fmla="*/ 2280 h 2280"/>
                  <a:gd name="T36" fmla="*/ 0 w 3456"/>
                  <a:gd name="T37" fmla="*/ 2003 h 2280"/>
                  <a:gd name="T38" fmla="*/ 633 w 3456"/>
                  <a:gd name="T39" fmla="*/ 2000 h 2280"/>
                  <a:gd name="T40" fmla="*/ 718 w 3456"/>
                  <a:gd name="T41" fmla="*/ 1979 h 2280"/>
                  <a:gd name="T42" fmla="*/ 796 w 3456"/>
                  <a:gd name="T43" fmla="*/ 1943 h 2280"/>
                  <a:gd name="T44" fmla="*/ 866 w 3456"/>
                  <a:gd name="T45" fmla="*/ 1896 h 2280"/>
                  <a:gd name="T46" fmla="*/ 929 w 3456"/>
                  <a:gd name="T47" fmla="*/ 1843 h 2280"/>
                  <a:gd name="T48" fmla="*/ 983 w 3456"/>
                  <a:gd name="T49" fmla="*/ 1792 h 2280"/>
                  <a:gd name="T50" fmla="*/ 2253 w 3456"/>
                  <a:gd name="T51" fmla="*/ 523 h 2280"/>
                  <a:gd name="T52" fmla="*/ 2302 w 3456"/>
                  <a:gd name="T53" fmla="*/ 475 h 2280"/>
                  <a:gd name="T54" fmla="*/ 2362 w 3456"/>
                  <a:gd name="T55" fmla="*/ 421 h 2280"/>
                  <a:gd name="T56" fmla="*/ 2431 w 3456"/>
                  <a:gd name="T57" fmla="*/ 364 h 2280"/>
                  <a:gd name="T58" fmla="*/ 2510 w 3456"/>
                  <a:gd name="T59" fmla="*/ 311 h 2280"/>
                  <a:gd name="T60" fmla="*/ 2600 w 3456"/>
                  <a:gd name="T61" fmla="*/ 265 h 2280"/>
                  <a:gd name="T62" fmla="*/ 2700 w 3456"/>
                  <a:gd name="T63" fmla="*/ 229 h 2280"/>
                  <a:gd name="T64" fmla="*/ 2810 w 3456"/>
                  <a:gd name="T65" fmla="*/ 209 h 2280"/>
                  <a:gd name="T66" fmla="*/ 3007 w 3456"/>
                  <a:gd name="T67" fmla="*/ 207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2280">
                    <a:moveTo>
                      <a:pt x="3007" y="0"/>
                    </a:moveTo>
                    <a:lnTo>
                      <a:pt x="3007" y="0"/>
                    </a:lnTo>
                    <a:lnTo>
                      <a:pt x="3276" y="207"/>
                    </a:lnTo>
                    <a:lnTo>
                      <a:pt x="3456" y="345"/>
                    </a:lnTo>
                    <a:lnTo>
                      <a:pt x="3276" y="483"/>
                    </a:lnTo>
                    <a:lnTo>
                      <a:pt x="3007" y="691"/>
                    </a:lnTo>
                    <a:lnTo>
                      <a:pt x="3007" y="483"/>
                    </a:lnTo>
                    <a:lnTo>
                      <a:pt x="2868" y="483"/>
                    </a:lnTo>
                    <a:lnTo>
                      <a:pt x="2823" y="485"/>
                    </a:lnTo>
                    <a:lnTo>
                      <a:pt x="2779" y="494"/>
                    </a:lnTo>
                    <a:lnTo>
                      <a:pt x="2738" y="506"/>
                    </a:lnTo>
                    <a:lnTo>
                      <a:pt x="2698" y="523"/>
                    </a:lnTo>
                    <a:lnTo>
                      <a:pt x="2660" y="543"/>
                    </a:lnTo>
                    <a:lnTo>
                      <a:pt x="2624" y="566"/>
                    </a:lnTo>
                    <a:lnTo>
                      <a:pt x="2590" y="590"/>
                    </a:lnTo>
                    <a:lnTo>
                      <a:pt x="2557" y="616"/>
                    </a:lnTo>
                    <a:lnTo>
                      <a:pt x="2527" y="643"/>
                    </a:lnTo>
                    <a:lnTo>
                      <a:pt x="2499" y="669"/>
                    </a:lnTo>
                    <a:lnTo>
                      <a:pt x="2473" y="695"/>
                    </a:lnTo>
                    <a:lnTo>
                      <a:pt x="2447" y="719"/>
                    </a:lnTo>
                    <a:lnTo>
                      <a:pt x="1203" y="1963"/>
                    </a:lnTo>
                    <a:lnTo>
                      <a:pt x="1180" y="1986"/>
                    </a:lnTo>
                    <a:lnTo>
                      <a:pt x="1154" y="2011"/>
                    </a:lnTo>
                    <a:lnTo>
                      <a:pt x="1126" y="2038"/>
                    </a:lnTo>
                    <a:lnTo>
                      <a:pt x="1094" y="2066"/>
                    </a:lnTo>
                    <a:lnTo>
                      <a:pt x="1061" y="2093"/>
                    </a:lnTo>
                    <a:lnTo>
                      <a:pt x="1025" y="2122"/>
                    </a:lnTo>
                    <a:lnTo>
                      <a:pt x="987" y="2149"/>
                    </a:lnTo>
                    <a:lnTo>
                      <a:pt x="946" y="2175"/>
                    </a:lnTo>
                    <a:lnTo>
                      <a:pt x="902" y="2200"/>
                    </a:lnTo>
                    <a:lnTo>
                      <a:pt x="856" y="2222"/>
                    </a:lnTo>
                    <a:lnTo>
                      <a:pt x="807" y="2241"/>
                    </a:lnTo>
                    <a:lnTo>
                      <a:pt x="756" y="2257"/>
                    </a:lnTo>
                    <a:lnTo>
                      <a:pt x="703" y="2269"/>
                    </a:lnTo>
                    <a:lnTo>
                      <a:pt x="646" y="2277"/>
                    </a:lnTo>
                    <a:lnTo>
                      <a:pt x="588" y="2280"/>
                    </a:lnTo>
                    <a:lnTo>
                      <a:pt x="0" y="2280"/>
                    </a:lnTo>
                    <a:lnTo>
                      <a:pt x="0" y="2003"/>
                    </a:lnTo>
                    <a:lnTo>
                      <a:pt x="588" y="2003"/>
                    </a:lnTo>
                    <a:lnTo>
                      <a:pt x="633" y="2000"/>
                    </a:lnTo>
                    <a:lnTo>
                      <a:pt x="677" y="1992"/>
                    </a:lnTo>
                    <a:lnTo>
                      <a:pt x="718" y="1979"/>
                    </a:lnTo>
                    <a:lnTo>
                      <a:pt x="758" y="1963"/>
                    </a:lnTo>
                    <a:lnTo>
                      <a:pt x="796" y="1943"/>
                    </a:lnTo>
                    <a:lnTo>
                      <a:pt x="832" y="1921"/>
                    </a:lnTo>
                    <a:lnTo>
                      <a:pt x="866" y="1896"/>
                    </a:lnTo>
                    <a:lnTo>
                      <a:pt x="899" y="1870"/>
                    </a:lnTo>
                    <a:lnTo>
                      <a:pt x="929" y="1843"/>
                    </a:lnTo>
                    <a:lnTo>
                      <a:pt x="957" y="1817"/>
                    </a:lnTo>
                    <a:lnTo>
                      <a:pt x="983" y="1792"/>
                    </a:lnTo>
                    <a:lnTo>
                      <a:pt x="1009" y="1767"/>
                    </a:lnTo>
                    <a:lnTo>
                      <a:pt x="2253" y="523"/>
                    </a:lnTo>
                    <a:lnTo>
                      <a:pt x="2276" y="500"/>
                    </a:lnTo>
                    <a:lnTo>
                      <a:pt x="2302" y="475"/>
                    </a:lnTo>
                    <a:lnTo>
                      <a:pt x="2330" y="448"/>
                    </a:lnTo>
                    <a:lnTo>
                      <a:pt x="2362" y="421"/>
                    </a:lnTo>
                    <a:lnTo>
                      <a:pt x="2395" y="392"/>
                    </a:lnTo>
                    <a:lnTo>
                      <a:pt x="2431" y="364"/>
                    </a:lnTo>
                    <a:lnTo>
                      <a:pt x="2469" y="337"/>
                    </a:lnTo>
                    <a:lnTo>
                      <a:pt x="2510" y="311"/>
                    </a:lnTo>
                    <a:lnTo>
                      <a:pt x="2554" y="287"/>
                    </a:lnTo>
                    <a:lnTo>
                      <a:pt x="2600" y="265"/>
                    </a:lnTo>
                    <a:lnTo>
                      <a:pt x="2649" y="245"/>
                    </a:lnTo>
                    <a:lnTo>
                      <a:pt x="2700" y="229"/>
                    </a:lnTo>
                    <a:lnTo>
                      <a:pt x="2753" y="216"/>
                    </a:lnTo>
                    <a:lnTo>
                      <a:pt x="2810" y="209"/>
                    </a:lnTo>
                    <a:lnTo>
                      <a:pt x="2868" y="207"/>
                    </a:lnTo>
                    <a:lnTo>
                      <a:pt x="3007" y="207"/>
                    </a:lnTo>
                    <a:lnTo>
                      <a:pt x="3007"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nvGrpSpPr>
            <p:cNvPr id="17" name="noun_project_01063.eps">
              <a:extLst>
                <a:ext uri="{FF2B5EF4-FFF2-40B4-BE49-F238E27FC236}">
                  <a16:creationId xmlns:a16="http://schemas.microsoft.com/office/drawing/2014/main" id="{0375278A-96D3-4C15-B50E-8DD3E280D4F5}"/>
                </a:ext>
              </a:extLst>
            </p:cNvPr>
            <p:cNvGrpSpPr>
              <a:grpSpLocks noChangeAspect="1"/>
            </p:cNvGrpSpPr>
            <p:nvPr/>
          </p:nvGrpSpPr>
          <p:grpSpPr bwMode="auto">
            <a:xfrm>
              <a:off x="996054" y="1133839"/>
              <a:ext cx="244833" cy="261574"/>
              <a:chOff x="2223" y="3060"/>
              <a:chExt cx="351" cy="375"/>
            </a:xfrm>
            <a:grpFill/>
          </p:grpSpPr>
          <p:sp>
            <p:nvSpPr>
              <p:cNvPr id="18" name="Freeform 405">
                <a:extLst>
                  <a:ext uri="{FF2B5EF4-FFF2-40B4-BE49-F238E27FC236}">
                    <a16:creationId xmlns:a16="http://schemas.microsoft.com/office/drawing/2014/main" id="{2F1AE96F-0A52-4104-956C-4D245EB473EB}"/>
                  </a:ext>
                </a:extLst>
              </p:cNvPr>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19" name="Freeform 406">
                <a:extLst>
                  <a:ext uri="{FF2B5EF4-FFF2-40B4-BE49-F238E27FC236}">
                    <a16:creationId xmlns:a16="http://schemas.microsoft.com/office/drawing/2014/main" id="{84A7CBAD-2D66-4DDC-B4A8-07A04BEDE058}"/>
                  </a:ext>
                </a:extLst>
              </p:cNvPr>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0" name="Freeform 407">
                <a:extLst>
                  <a:ext uri="{FF2B5EF4-FFF2-40B4-BE49-F238E27FC236}">
                    <a16:creationId xmlns:a16="http://schemas.microsoft.com/office/drawing/2014/main" id="{A4D45EA1-897B-4095-AAAE-50101E7C183B}"/>
                  </a:ext>
                </a:extLst>
              </p:cNvPr>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sp>
            <p:nvSpPr>
              <p:cNvPr id="21" name="Freeform 408">
                <a:extLst>
                  <a:ext uri="{FF2B5EF4-FFF2-40B4-BE49-F238E27FC236}">
                    <a16:creationId xmlns:a16="http://schemas.microsoft.com/office/drawing/2014/main" id="{8428A7E8-C3EA-4955-B092-DF775808765B}"/>
                  </a:ext>
                </a:extLst>
              </p:cNvPr>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dirty="0"/>
              </a:p>
            </p:txBody>
          </p:sp>
        </p:grpSp>
      </p:grpSp>
      <p:sp>
        <p:nvSpPr>
          <p:cNvPr id="4" name="Fußzeilenplatzhalter 3"/>
          <p:cNvSpPr>
            <a:spLocks noGrp="1"/>
          </p:cNvSpPr>
          <p:nvPr>
            <p:ph type="ftr" sz="quarter" idx="10"/>
          </p:nvPr>
        </p:nvSpPr>
        <p:spPr/>
        <p:txBody>
          <a:bodyPr/>
          <a:lstStyle/>
          <a:p>
            <a:pPr>
              <a:defRPr/>
            </a:pPr>
            <a:r>
              <a:rPr lang="de-DE" dirty="0" err="1"/>
              <a:t>Factbook</a:t>
            </a:r>
            <a:r>
              <a:rPr lang="de-DE" dirty="0"/>
              <a:t> Verwaltungsdigitalisierung</a:t>
            </a:r>
          </a:p>
        </p:txBody>
      </p:sp>
      <p:graphicFrame>
        <p:nvGraphicFramePr>
          <p:cNvPr id="8" name="Objekt 7"/>
          <p:cNvGraphicFramePr>
            <a:graphicFrameLocks noChangeAspect="1"/>
          </p:cNvGraphicFramePr>
          <p:nvPr>
            <p:extLst>
              <p:ext uri="{D42A27DB-BD31-4B8C-83A1-F6EECF244321}">
                <p14:modId xmlns:p14="http://schemas.microsoft.com/office/powerpoint/2010/main" val="1676369440"/>
              </p:ext>
            </p:extLst>
          </p:nvPr>
        </p:nvGraphicFramePr>
        <p:xfrm>
          <a:off x="5181600" y="5381782"/>
          <a:ext cx="914400" cy="771525"/>
        </p:xfrm>
        <a:graphic>
          <a:graphicData uri="http://schemas.openxmlformats.org/presentationml/2006/ole">
            <mc:AlternateContent xmlns:mc="http://schemas.openxmlformats.org/markup-compatibility/2006">
              <mc:Choice xmlns:v="urn:schemas-microsoft-com:vml" Requires="v">
                <p:oleObj name="Dokument" showAsIcon="1" r:id="rId8" imgW="914400" imgH="771480" progId="Word.Document.12">
                  <p:embed/>
                </p:oleObj>
              </mc:Choice>
              <mc:Fallback>
                <p:oleObj name="Dokument" showAsIcon="1" r:id="rId8" imgW="914400" imgH="771480" progId="Word.Document.12">
                  <p:embed/>
                  <p:pic>
                    <p:nvPicPr>
                      <p:cNvPr id="0" name=""/>
                      <p:cNvPicPr/>
                      <p:nvPr/>
                    </p:nvPicPr>
                    <p:blipFill>
                      <a:blip r:embed="rId9"/>
                      <a:stretch>
                        <a:fillRect/>
                      </a:stretch>
                    </p:blipFill>
                    <p:spPr>
                      <a:xfrm>
                        <a:off x="5181600" y="5381782"/>
                        <a:ext cx="914400" cy="771525"/>
                      </a:xfrm>
                      <a:prstGeom prst="rect">
                        <a:avLst/>
                      </a:prstGeom>
                    </p:spPr>
                  </p:pic>
                </p:oleObj>
              </mc:Fallback>
            </mc:AlternateContent>
          </a:graphicData>
        </a:graphic>
      </p:graphicFrame>
      <p:graphicFrame>
        <p:nvGraphicFramePr>
          <p:cNvPr id="11" name="Objekt 10"/>
          <p:cNvGraphicFramePr>
            <a:graphicFrameLocks noChangeAspect="1"/>
          </p:cNvGraphicFramePr>
          <p:nvPr>
            <p:extLst>
              <p:ext uri="{D42A27DB-BD31-4B8C-83A1-F6EECF244321}">
                <p14:modId xmlns:p14="http://schemas.microsoft.com/office/powerpoint/2010/main" val="2397389241"/>
              </p:ext>
            </p:extLst>
          </p:nvPr>
        </p:nvGraphicFramePr>
        <p:xfrm>
          <a:off x="7192146" y="5381782"/>
          <a:ext cx="914400" cy="771525"/>
        </p:xfrm>
        <a:graphic>
          <a:graphicData uri="http://schemas.openxmlformats.org/presentationml/2006/ole">
            <mc:AlternateContent xmlns:mc="http://schemas.openxmlformats.org/markup-compatibility/2006">
              <mc:Choice xmlns:v="urn:schemas-microsoft-com:vml" Requires="v">
                <p:oleObj name="Dokument" showAsIcon="1" r:id="rId10" imgW="914400" imgH="771480" progId="Word.Document.12">
                  <p:embed/>
                </p:oleObj>
              </mc:Choice>
              <mc:Fallback>
                <p:oleObj name="Dokument" showAsIcon="1" r:id="rId10" imgW="914400" imgH="771480" progId="Word.Document.12">
                  <p:embed/>
                  <p:pic>
                    <p:nvPicPr>
                      <p:cNvPr id="0" name=""/>
                      <p:cNvPicPr/>
                      <p:nvPr/>
                    </p:nvPicPr>
                    <p:blipFill>
                      <a:blip r:embed="rId11"/>
                      <a:stretch>
                        <a:fillRect/>
                      </a:stretch>
                    </p:blipFill>
                    <p:spPr>
                      <a:xfrm>
                        <a:off x="7192146" y="5381782"/>
                        <a:ext cx="914400" cy="771525"/>
                      </a:xfrm>
                      <a:prstGeom prst="rect">
                        <a:avLst/>
                      </a:prstGeom>
                    </p:spPr>
                  </p:pic>
                </p:oleObj>
              </mc:Fallback>
            </mc:AlternateContent>
          </a:graphicData>
        </a:graphic>
      </p:graphicFrame>
      <p:graphicFrame>
        <p:nvGraphicFramePr>
          <p:cNvPr id="12" name="Objekt 11"/>
          <p:cNvGraphicFramePr>
            <a:graphicFrameLocks noChangeAspect="1"/>
          </p:cNvGraphicFramePr>
          <p:nvPr>
            <p:extLst>
              <p:ext uri="{D42A27DB-BD31-4B8C-83A1-F6EECF244321}">
                <p14:modId xmlns:p14="http://schemas.microsoft.com/office/powerpoint/2010/main" val="3360004624"/>
              </p:ext>
            </p:extLst>
          </p:nvPr>
        </p:nvGraphicFramePr>
        <p:xfrm>
          <a:off x="5181600" y="2841589"/>
          <a:ext cx="914400" cy="771525"/>
        </p:xfrm>
        <a:graphic>
          <a:graphicData uri="http://schemas.openxmlformats.org/presentationml/2006/ole">
            <mc:AlternateContent xmlns:mc="http://schemas.openxmlformats.org/markup-compatibility/2006">
              <mc:Choice xmlns:v="urn:schemas-microsoft-com:vml" Requires="v">
                <p:oleObj name="Dokument" showAsIcon="1" r:id="rId12" imgW="914400" imgH="771480" progId="Word.Document.12">
                  <p:embed/>
                </p:oleObj>
              </mc:Choice>
              <mc:Fallback>
                <p:oleObj name="Dokument" showAsIcon="1" r:id="rId12" imgW="914400" imgH="771480" progId="Word.Document.12">
                  <p:embed/>
                  <p:pic>
                    <p:nvPicPr>
                      <p:cNvPr id="0" name=""/>
                      <p:cNvPicPr/>
                      <p:nvPr/>
                    </p:nvPicPr>
                    <p:blipFill>
                      <a:blip r:embed="rId13"/>
                      <a:stretch>
                        <a:fillRect/>
                      </a:stretch>
                    </p:blipFill>
                    <p:spPr>
                      <a:xfrm>
                        <a:off x="5181600" y="2841589"/>
                        <a:ext cx="914400" cy="771525"/>
                      </a:xfrm>
                      <a:prstGeom prst="rect">
                        <a:avLst/>
                      </a:prstGeom>
                    </p:spPr>
                  </p:pic>
                </p:oleObj>
              </mc:Fallback>
            </mc:AlternateContent>
          </a:graphicData>
        </a:graphic>
      </p:graphicFrame>
      <p:graphicFrame>
        <p:nvGraphicFramePr>
          <p:cNvPr id="14" name="Objekt 13"/>
          <p:cNvGraphicFramePr>
            <a:graphicFrameLocks noChangeAspect="1"/>
          </p:cNvGraphicFramePr>
          <p:nvPr>
            <p:extLst>
              <p:ext uri="{D42A27DB-BD31-4B8C-83A1-F6EECF244321}">
                <p14:modId xmlns:p14="http://schemas.microsoft.com/office/powerpoint/2010/main" val="3919718271"/>
              </p:ext>
            </p:extLst>
          </p:nvPr>
        </p:nvGraphicFramePr>
        <p:xfrm>
          <a:off x="5181600" y="4099522"/>
          <a:ext cx="914400" cy="771525"/>
        </p:xfrm>
        <a:graphic>
          <a:graphicData uri="http://schemas.openxmlformats.org/presentationml/2006/ole">
            <mc:AlternateContent xmlns:mc="http://schemas.openxmlformats.org/markup-compatibility/2006">
              <mc:Choice xmlns:v="urn:schemas-microsoft-com:vml" Requires="v">
                <p:oleObj name="Dokument" showAsIcon="1" r:id="rId14" imgW="914400" imgH="771480" progId="Word.Document.12">
                  <p:embed/>
                </p:oleObj>
              </mc:Choice>
              <mc:Fallback>
                <p:oleObj name="Dokument" showAsIcon="1" r:id="rId14" imgW="914400" imgH="771480" progId="Word.Document.12">
                  <p:embed/>
                  <p:pic>
                    <p:nvPicPr>
                      <p:cNvPr id="0" name=""/>
                      <p:cNvPicPr/>
                      <p:nvPr/>
                    </p:nvPicPr>
                    <p:blipFill>
                      <a:blip r:embed="rId15"/>
                      <a:stretch>
                        <a:fillRect/>
                      </a:stretch>
                    </p:blipFill>
                    <p:spPr>
                      <a:xfrm>
                        <a:off x="5181600" y="4099522"/>
                        <a:ext cx="914400" cy="771525"/>
                      </a:xfrm>
                      <a:prstGeom prst="rect">
                        <a:avLst/>
                      </a:prstGeom>
                    </p:spPr>
                  </p:pic>
                </p:oleObj>
              </mc:Fallback>
            </mc:AlternateContent>
          </a:graphicData>
        </a:graphic>
      </p:graphicFrame>
      <p:graphicFrame>
        <p:nvGraphicFramePr>
          <p:cNvPr id="25" name="Objekt 24"/>
          <p:cNvGraphicFramePr>
            <a:graphicFrameLocks noChangeAspect="1"/>
          </p:cNvGraphicFramePr>
          <p:nvPr>
            <p:extLst>
              <p:ext uri="{D42A27DB-BD31-4B8C-83A1-F6EECF244321}">
                <p14:modId xmlns:p14="http://schemas.microsoft.com/office/powerpoint/2010/main" val="4023081693"/>
              </p:ext>
            </p:extLst>
          </p:nvPr>
        </p:nvGraphicFramePr>
        <p:xfrm>
          <a:off x="7192146" y="2841589"/>
          <a:ext cx="914400" cy="771525"/>
        </p:xfrm>
        <a:graphic>
          <a:graphicData uri="http://schemas.openxmlformats.org/presentationml/2006/ole">
            <mc:AlternateContent xmlns:mc="http://schemas.openxmlformats.org/markup-compatibility/2006">
              <mc:Choice xmlns:v="urn:schemas-microsoft-com:vml" Requires="v">
                <p:oleObj name="Dokument" showAsIcon="1" r:id="rId16" imgW="914400" imgH="771480" progId="Word.Document.12">
                  <p:embed/>
                </p:oleObj>
              </mc:Choice>
              <mc:Fallback>
                <p:oleObj name="Dokument" showAsIcon="1" r:id="rId16" imgW="914400" imgH="771480" progId="Word.Document.12">
                  <p:embed/>
                  <p:pic>
                    <p:nvPicPr>
                      <p:cNvPr id="0" name=""/>
                      <p:cNvPicPr/>
                      <p:nvPr/>
                    </p:nvPicPr>
                    <p:blipFill>
                      <a:blip r:embed="rId17"/>
                      <a:stretch>
                        <a:fillRect/>
                      </a:stretch>
                    </p:blipFill>
                    <p:spPr>
                      <a:xfrm>
                        <a:off x="7192146" y="284158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915983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27815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7" imgH="348" progId="TCLayout.ActiveDocument.1">
                  <p:embed/>
                </p:oleObj>
              </mc:Choice>
              <mc:Fallback>
                <p:oleObj name="think-cell Foli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e-DE" altLang="de-DE" dirty="0"/>
              <a:t>Prozessbeschreibung Förderverfahren „Unser Dorf soll schöner werden“</a:t>
            </a:r>
            <a:endParaRPr lang="de-DE" dirty="0"/>
          </a:p>
        </p:txBody>
      </p:sp>
      <p:sp>
        <p:nvSpPr>
          <p:cNvPr id="3" name="Fußzeilenplatzhalter 2"/>
          <p:cNvSpPr>
            <a:spLocks noGrp="1"/>
          </p:cNvSpPr>
          <p:nvPr>
            <p:ph type="ftr" sz="quarter" idx="10"/>
          </p:nvPr>
        </p:nvSpPr>
        <p:spPr/>
        <p:txBody>
          <a:bodyPr/>
          <a:lstStyle/>
          <a:p>
            <a:pPr>
              <a:defRPr/>
            </a:pPr>
            <a:r>
              <a:rPr lang="de-DE"/>
              <a:t>Factbook Verwaltungsdigitalisierung</a:t>
            </a:r>
            <a:endParaRPr lang="de-DE" dirty="0"/>
          </a:p>
        </p:txBody>
      </p:sp>
      <p:sp>
        <p:nvSpPr>
          <p:cNvPr id="4" name="Foliennummernplatzhalter 3"/>
          <p:cNvSpPr>
            <a:spLocks noGrp="1"/>
          </p:cNvSpPr>
          <p:nvPr>
            <p:ph type="sldNum" sz="quarter" idx="12"/>
          </p:nvPr>
        </p:nvSpPr>
        <p:spPr/>
        <p:txBody>
          <a:bodyPr/>
          <a:lstStyle/>
          <a:p>
            <a:fld id="{D4A18DF9-8FF6-4BA5-BC52-5FB4772E2292}" type="slidenum">
              <a:rPr lang="de-DE" smtClean="0"/>
              <a:pPr/>
              <a:t>9</a:t>
            </a:fld>
            <a:endParaRPr lang="de-DE" dirty="0"/>
          </a:p>
        </p:txBody>
      </p:sp>
      <p:sp>
        <p:nvSpPr>
          <p:cNvPr id="5" name="Textplatzhalter 4"/>
          <p:cNvSpPr>
            <a:spLocks noGrp="1"/>
          </p:cNvSpPr>
          <p:nvPr>
            <p:ph type="body" sz="quarter" idx="14"/>
          </p:nvPr>
        </p:nvSpPr>
        <p:spPr>
          <a:xfrm>
            <a:off x="693211" y="191947"/>
            <a:ext cx="1920398" cy="123111"/>
          </a:xfrm>
        </p:spPr>
        <p:txBody>
          <a:bodyPr/>
          <a:lstStyle/>
          <a:p>
            <a:r>
              <a:rPr lang="de-DE" dirty="0"/>
              <a:t>Plattformbasierte Verwaltungsdigitalisierung</a:t>
            </a:r>
          </a:p>
        </p:txBody>
      </p:sp>
      <p:sp>
        <p:nvSpPr>
          <p:cNvPr id="6" name="Textplatzhalter 5"/>
          <p:cNvSpPr>
            <a:spLocks noGrp="1"/>
          </p:cNvSpPr>
          <p:nvPr>
            <p:ph type="body" sz="quarter" idx="13"/>
          </p:nvPr>
        </p:nvSpPr>
        <p:spPr/>
        <p:txBody>
          <a:bodyPr/>
          <a:lstStyle/>
          <a:p>
            <a:r>
              <a:rPr lang="de-DE" dirty="0"/>
              <a:t>Prozessbeschreibung</a:t>
            </a:r>
          </a:p>
        </p:txBody>
      </p:sp>
      <p:sp>
        <p:nvSpPr>
          <p:cNvPr id="150" name="Rectangle 6">
            <a:extLst>
              <a:ext uri="{FF2B5EF4-FFF2-40B4-BE49-F238E27FC236}">
                <a16:creationId xmlns:a16="http://schemas.microsoft.com/office/drawing/2014/main" id="{32E09671-CE98-4E40-BA8E-8EC7F64BDBE5}"/>
              </a:ext>
            </a:extLst>
          </p:cNvPr>
          <p:cNvSpPr>
            <a:spLocks noChangeArrowheads="1"/>
          </p:cNvSpPr>
          <p:nvPr/>
        </p:nvSpPr>
        <p:spPr bwMode="auto">
          <a:xfrm>
            <a:off x="695325" y="1628775"/>
            <a:ext cx="10810800" cy="306002"/>
          </a:xfrm>
          <a:prstGeom prst="rect">
            <a:avLst/>
          </a:prstGeom>
          <a:solidFill>
            <a:schemeClr val="accent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altLang="de-DE" sz="1400" b="0" dirty="0">
                <a:solidFill>
                  <a:srgbClr val="FFFFFF"/>
                </a:solidFill>
                <a:latin typeface="+mn-lt"/>
              </a:rPr>
              <a:t>Verrichtung Widerspruchsverfahren (1/3)</a:t>
            </a:r>
            <a:endParaRPr lang="de-DE" altLang="de-DE" sz="3600" b="0" dirty="0">
              <a:solidFill>
                <a:schemeClr val="tx1"/>
              </a:solidFill>
              <a:latin typeface="+mn-lt"/>
            </a:endParaRPr>
          </a:p>
        </p:txBody>
      </p:sp>
      <p:grpSp>
        <p:nvGrpSpPr>
          <p:cNvPr id="151" name="Gruppieren 150"/>
          <p:cNvGrpSpPr/>
          <p:nvPr/>
        </p:nvGrpSpPr>
        <p:grpSpPr>
          <a:xfrm>
            <a:off x="695325" y="4680700"/>
            <a:ext cx="10800000" cy="1047291"/>
            <a:chOff x="704793" y="4656507"/>
            <a:chExt cx="11073894" cy="1432720"/>
          </a:xfrm>
        </p:grpSpPr>
        <p:sp>
          <p:nvSpPr>
            <p:cNvPr id="152" name="Rectangle 13">
              <a:extLst>
                <a:ext uri="{FF2B5EF4-FFF2-40B4-BE49-F238E27FC236}">
                  <a16:creationId xmlns:a16="http://schemas.microsoft.com/office/drawing/2014/main" id="{D342D121-1021-4364-8676-69662C9754EB}"/>
                </a:ext>
              </a:extLst>
            </p:cNvPr>
            <p:cNvSpPr>
              <a:spLocks noChangeArrowheads="1"/>
            </p:cNvSpPr>
            <p:nvPr/>
          </p:nvSpPr>
          <p:spPr bwMode="auto">
            <a:xfrm>
              <a:off x="1298405" y="4656507"/>
              <a:ext cx="10480282" cy="1432720"/>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latin typeface="+mn-lt"/>
              </a:endParaRPr>
            </a:p>
          </p:txBody>
        </p:sp>
        <p:sp>
          <p:nvSpPr>
            <p:cNvPr id="153" name="Rectangle 14">
              <a:extLst>
                <a:ext uri="{FF2B5EF4-FFF2-40B4-BE49-F238E27FC236}">
                  <a16:creationId xmlns:a16="http://schemas.microsoft.com/office/drawing/2014/main" id="{D1D2E309-6355-4FEE-B64F-5498BA981CDA}"/>
                </a:ext>
              </a:extLst>
            </p:cNvPr>
            <p:cNvSpPr>
              <a:spLocks noChangeArrowheads="1"/>
            </p:cNvSpPr>
            <p:nvPr/>
          </p:nvSpPr>
          <p:spPr bwMode="auto">
            <a:xfrm>
              <a:off x="704793" y="4656507"/>
              <a:ext cx="593613" cy="1432720"/>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200" b="0" dirty="0">
                  <a:solidFill>
                    <a:schemeClr val="bg1"/>
                  </a:solidFill>
                  <a:latin typeface="+mn-lt"/>
                </a:rPr>
                <a:t>IT-Systeme</a:t>
              </a:r>
            </a:p>
          </p:txBody>
        </p:sp>
      </p:grpSp>
      <p:grpSp>
        <p:nvGrpSpPr>
          <p:cNvPr id="154" name="Gruppieren 153"/>
          <p:cNvGrpSpPr/>
          <p:nvPr/>
        </p:nvGrpSpPr>
        <p:grpSpPr>
          <a:xfrm>
            <a:off x="695325" y="1934778"/>
            <a:ext cx="10800000" cy="936000"/>
            <a:chOff x="704793" y="2296012"/>
            <a:chExt cx="11073894" cy="1132449"/>
          </a:xfrm>
        </p:grpSpPr>
        <p:sp>
          <p:nvSpPr>
            <p:cNvPr id="155" name="Rectangle 9">
              <a:extLst>
                <a:ext uri="{FF2B5EF4-FFF2-40B4-BE49-F238E27FC236}">
                  <a16:creationId xmlns:a16="http://schemas.microsoft.com/office/drawing/2014/main" id="{398D2A2D-DD1D-4948-8598-5A56A7BAE3B7}"/>
                </a:ext>
              </a:extLst>
            </p:cNvPr>
            <p:cNvSpPr>
              <a:spLocks noChangeArrowheads="1"/>
            </p:cNvSpPr>
            <p:nvPr/>
          </p:nvSpPr>
          <p:spPr bwMode="auto">
            <a:xfrm>
              <a:off x="1298405" y="2296012"/>
              <a:ext cx="10480282" cy="1132449"/>
            </a:xfrm>
            <a:prstGeom prst="rect">
              <a:avLst/>
            </a:prstGeom>
            <a:noFill/>
            <a:ln w="4763" cap="rnd">
              <a:solidFill>
                <a:srgbClr val="254F6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000" dirty="0">
                <a:latin typeface="+mn-lt"/>
              </a:endParaRPr>
            </a:p>
          </p:txBody>
        </p:sp>
        <p:sp>
          <p:nvSpPr>
            <p:cNvPr id="156" name="Rectangle 10">
              <a:extLst>
                <a:ext uri="{FF2B5EF4-FFF2-40B4-BE49-F238E27FC236}">
                  <a16:creationId xmlns:a16="http://schemas.microsoft.com/office/drawing/2014/main" id="{A67BBDEC-4A9D-4BC1-BF8C-46DC3E54CCED}"/>
                </a:ext>
              </a:extLst>
            </p:cNvPr>
            <p:cNvSpPr>
              <a:spLocks noChangeArrowheads="1"/>
            </p:cNvSpPr>
            <p:nvPr/>
          </p:nvSpPr>
          <p:spPr bwMode="auto">
            <a:xfrm>
              <a:off x="704793" y="2296012"/>
              <a:ext cx="593613" cy="1132449"/>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050" b="0" dirty="0">
                  <a:solidFill>
                    <a:schemeClr val="bg1"/>
                  </a:solidFill>
                  <a:latin typeface="+mn-lt"/>
                </a:rPr>
                <a:t>Antragssteller</a:t>
              </a:r>
            </a:p>
          </p:txBody>
        </p:sp>
      </p:grpSp>
      <p:grpSp>
        <p:nvGrpSpPr>
          <p:cNvPr id="157" name="Gruppieren 156"/>
          <p:cNvGrpSpPr/>
          <p:nvPr/>
        </p:nvGrpSpPr>
        <p:grpSpPr>
          <a:xfrm>
            <a:off x="695325" y="2870584"/>
            <a:ext cx="10800000" cy="1810116"/>
            <a:chOff x="704793" y="3428461"/>
            <a:chExt cx="11073893" cy="1228046"/>
          </a:xfrm>
        </p:grpSpPr>
        <p:sp>
          <p:nvSpPr>
            <p:cNvPr id="158" name="Rectangle 18">
              <a:extLst>
                <a:ext uri="{FF2B5EF4-FFF2-40B4-BE49-F238E27FC236}">
                  <a16:creationId xmlns:a16="http://schemas.microsoft.com/office/drawing/2014/main" id="{917DD591-168F-421A-8AA6-528A1A8BF4D9}"/>
                </a:ext>
              </a:extLst>
            </p:cNvPr>
            <p:cNvSpPr>
              <a:spLocks noChangeArrowheads="1"/>
            </p:cNvSpPr>
            <p:nvPr/>
          </p:nvSpPr>
          <p:spPr bwMode="auto">
            <a:xfrm>
              <a:off x="1298405" y="3428461"/>
              <a:ext cx="10480281" cy="1228046"/>
            </a:xfrm>
            <a:prstGeom prst="rect">
              <a:avLst/>
            </a:prstGeom>
            <a:noFill/>
            <a:ln w="476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latin typeface="+mn-lt"/>
              </a:endParaRPr>
            </a:p>
          </p:txBody>
        </p:sp>
        <p:sp>
          <p:nvSpPr>
            <p:cNvPr id="159" name="Rectangle 19">
              <a:extLst>
                <a:ext uri="{FF2B5EF4-FFF2-40B4-BE49-F238E27FC236}">
                  <a16:creationId xmlns:a16="http://schemas.microsoft.com/office/drawing/2014/main" id="{B0A7F657-D396-4384-940E-BA7AE49CB37D}"/>
                </a:ext>
              </a:extLst>
            </p:cNvPr>
            <p:cNvSpPr>
              <a:spLocks noChangeArrowheads="1"/>
            </p:cNvSpPr>
            <p:nvPr/>
          </p:nvSpPr>
          <p:spPr bwMode="auto">
            <a:xfrm>
              <a:off x="704793" y="3428461"/>
              <a:ext cx="593613" cy="1228046"/>
            </a:xfrm>
            <a:prstGeom prst="rect">
              <a:avLst/>
            </a:prstGeom>
            <a:solidFill>
              <a:schemeClr val="accent2"/>
            </a:solidFill>
            <a:ln w="9525">
              <a:solidFill>
                <a:schemeClr val="bg1"/>
              </a:solidFill>
              <a:miter lim="800000"/>
              <a:headEnd/>
              <a:tailEnd/>
            </a:ln>
          </p:spPr>
          <p:txBody>
            <a:bodyPr vert="vert270" wrap="square" lIns="91440" tIns="45720" rIns="91440" bIns="45720" numCol="1" anchor="ctr" anchorCtr="0" compatLnSpc="1">
              <a:prstTxWarp prst="textNoShape">
                <a:avLst/>
              </a:prstTxWarp>
            </a:bodyPr>
            <a:lstStyle/>
            <a:p>
              <a:pPr algn="ctr"/>
              <a:r>
                <a:rPr lang="de-DE" sz="1100" b="0" dirty="0">
                  <a:solidFill>
                    <a:schemeClr val="bg1"/>
                  </a:solidFill>
                  <a:latin typeface="+mn-lt"/>
                </a:rPr>
                <a:t>Verwaltung</a:t>
              </a:r>
            </a:p>
          </p:txBody>
        </p:sp>
      </p:grpSp>
      <p:grpSp>
        <p:nvGrpSpPr>
          <p:cNvPr id="194" name="Gruppieren 193"/>
          <p:cNvGrpSpPr/>
          <p:nvPr/>
        </p:nvGrpSpPr>
        <p:grpSpPr>
          <a:xfrm>
            <a:off x="2415156" y="5885090"/>
            <a:ext cx="7452698" cy="290137"/>
            <a:chOff x="2554484" y="6177297"/>
            <a:chExt cx="7452698" cy="290137"/>
          </a:xfrm>
        </p:grpSpPr>
        <p:sp>
          <p:nvSpPr>
            <p:cNvPr id="195" name="noun_project_00453.eps"/>
            <p:cNvSpPr>
              <a:spLocks noChangeAspect="1" noEditPoints="1"/>
            </p:cNvSpPr>
            <p:nvPr/>
          </p:nvSpPr>
          <p:spPr bwMode="auto">
            <a:xfrm>
              <a:off x="2554484" y="6208306"/>
              <a:ext cx="180000" cy="22811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p>
          </p:txBody>
        </p:sp>
        <p:grpSp>
          <p:nvGrpSpPr>
            <p:cNvPr id="196" name="noun_project_00456.eps"/>
            <p:cNvGrpSpPr>
              <a:grpSpLocks noChangeAspect="1"/>
            </p:cNvGrpSpPr>
            <p:nvPr/>
          </p:nvGrpSpPr>
          <p:grpSpPr bwMode="auto">
            <a:xfrm>
              <a:off x="7623664" y="6277365"/>
              <a:ext cx="180000" cy="90000"/>
              <a:chOff x="3400" y="3056"/>
              <a:chExt cx="384" cy="192"/>
            </a:xfrm>
            <a:solidFill>
              <a:schemeClr val="tx1"/>
            </a:solidFill>
          </p:grpSpPr>
          <p:sp>
            <p:nvSpPr>
              <p:cNvPr id="230" name="Freeform 379"/>
              <p:cNvSpPr>
                <a:spLocks noChangeAspect="1"/>
              </p:cNvSpPr>
              <p:nvPr/>
            </p:nvSpPr>
            <p:spPr bwMode="auto">
              <a:xfrm>
                <a:off x="3688" y="3056"/>
                <a:ext cx="96" cy="192"/>
              </a:xfrm>
              <a:custGeom>
                <a:avLst/>
                <a:gdLst>
                  <a:gd name="T0" fmla="*/ 0 w 864"/>
                  <a:gd name="T1" fmla="*/ 0 h 1728"/>
                  <a:gd name="T2" fmla="*/ 864 w 864"/>
                  <a:gd name="T3" fmla="*/ 864 h 1728"/>
                  <a:gd name="T4" fmla="*/ 0 w 864"/>
                  <a:gd name="T5" fmla="*/ 1728 h 1728"/>
                  <a:gd name="T6" fmla="*/ 0 w 864"/>
                  <a:gd name="T7" fmla="*/ 1337 h 1728"/>
                  <a:gd name="T8" fmla="*/ 473 w 864"/>
                  <a:gd name="T9" fmla="*/ 864 h 1728"/>
                  <a:gd name="T10" fmla="*/ 0 w 864"/>
                  <a:gd name="T11" fmla="*/ 391 h 1728"/>
                  <a:gd name="T12" fmla="*/ 0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0" y="0"/>
                    </a:moveTo>
                    <a:lnTo>
                      <a:pt x="864" y="864"/>
                    </a:lnTo>
                    <a:lnTo>
                      <a:pt x="0" y="1728"/>
                    </a:lnTo>
                    <a:lnTo>
                      <a:pt x="0" y="1337"/>
                    </a:lnTo>
                    <a:lnTo>
                      <a:pt x="473" y="864"/>
                    </a:lnTo>
                    <a:lnTo>
                      <a:pt x="0" y="391"/>
                    </a:lnTo>
                    <a:lnTo>
                      <a:pt x="0" y="0"/>
                    </a:lnTo>
                    <a:close/>
                  </a:path>
                </a:pathLst>
              </a:custGeom>
              <a:grpFill/>
              <a:ln w="0">
                <a:solidFill>
                  <a:schemeClr val="tx1"/>
                </a:solidFill>
                <a:prstDash val="solid"/>
                <a:round/>
                <a:headEnd/>
                <a:tailEnd/>
              </a:ln>
            </p:spPr>
            <p:txBody>
              <a:bodyPr/>
              <a:lstStyle/>
              <a:p>
                <a:endParaRPr lang="de-DE" sz="800" b="0" dirty="0"/>
              </a:p>
            </p:txBody>
          </p:sp>
          <p:sp>
            <p:nvSpPr>
              <p:cNvPr id="231" name="Freeform 380"/>
              <p:cNvSpPr>
                <a:spLocks noChangeAspect="1"/>
              </p:cNvSpPr>
              <p:nvPr/>
            </p:nvSpPr>
            <p:spPr bwMode="auto">
              <a:xfrm>
                <a:off x="3400" y="3056"/>
                <a:ext cx="96" cy="192"/>
              </a:xfrm>
              <a:custGeom>
                <a:avLst/>
                <a:gdLst>
                  <a:gd name="T0" fmla="*/ 864 w 864"/>
                  <a:gd name="T1" fmla="*/ 0 h 1728"/>
                  <a:gd name="T2" fmla="*/ 864 w 864"/>
                  <a:gd name="T3" fmla="*/ 391 h 1728"/>
                  <a:gd name="T4" fmla="*/ 391 w 864"/>
                  <a:gd name="T5" fmla="*/ 864 h 1728"/>
                  <a:gd name="T6" fmla="*/ 864 w 864"/>
                  <a:gd name="T7" fmla="*/ 1337 h 1728"/>
                  <a:gd name="T8" fmla="*/ 864 w 864"/>
                  <a:gd name="T9" fmla="*/ 1728 h 1728"/>
                  <a:gd name="T10" fmla="*/ 0 w 864"/>
                  <a:gd name="T11" fmla="*/ 864 h 1728"/>
                  <a:gd name="T12" fmla="*/ 864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864" y="0"/>
                    </a:moveTo>
                    <a:lnTo>
                      <a:pt x="864" y="391"/>
                    </a:lnTo>
                    <a:lnTo>
                      <a:pt x="391" y="864"/>
                    </a:lnTo>
                    <a:lnTo>
                      <a:pt x="864" y="1337"/>
                    </a:lnTo>
                    <a:lnTo>
                      <a:pt x="864" y="1728"/>
                    </a:lnTo>
                    <a:lnTo>
                      <a:pt x="0" y="864"/>
                    </a:lnTo>
                    <a:lnTo>
                      <a:pt x="864" y="0"/>
                    </a:lnTo>
                    <a:close/>
                  </a:path>
                </a:pathLst>
              </a:custGeom>
              <a:grpFill/>
              <a:ln w="0">
                <a:solidFill>
                  <a:schemeClr val="tx1"/>
                </a:solidFill>
                <a:prstDash val="solid"/>
                <a:round/>
                <a:headEnd/>
                <a:tailEnd/>
              </a:ln>
            </p:spPr>
            <p:txBody>
              <a:bodyPr/>
              <a:lstStyle/>
              <a:p>
                <a:endParaRPr lang="de-DE" sz="800" b="0" dirty="0"/>
              </a:p>
            </p:txBody>
          </p:sp>
          <p:sp>
            <p:nvSpPr>
              <p:cNvPr id="232" name="Freeform 381"/>
              <p:cNvSpPr>
                <a:spLocks noChangeAspect="1"/>
              </p:cNvSpPr>
              <p:nvPr/>
            </p:nvSpPr>
            <p:spPr bwMode="auto">
              <a:xfrm>
                <a:off x="3569"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p>
            </p:txBody>
          </p:sp>
          <p:sp>
            <p:nvSpPr>
              <p:cNvPr id="233" name="Freeform 382"/>
              <p:cNvSpPr>
                <a:spLocks noChangeAspect="1"/>
              </p:cNvSpPr>
              <p:nvPr/>
            </p:nvSpPr>
            <p:spPr bwMode="auto">
              <a:xfrm>
                <a:off x="3500" y="3133"/>
                <a:ext cx="46" cy="46"/>
              </a:xfrm>
              <a:custGeom>
                <a:avLst/>
                <a:gdLst>
                  <a:gd name="T0" fmla="*/ 207 w 414"/>
                  <a:gd name="T1" fmla="*/ 0 h 415"/>
                  <a:gd name="T2" fmla="*/ 240 w 414"/>
                  <a:gd name="T3" fmla="*/ 3 h 415"/>
                  <a:gd name="T4" fmla="*/ 273 w 414"/>
                  <a:gd name="T5" fmla="*/ 11 h 415"/>
                  <a:gd name="T6" fmla="*/ 302 w 414"/>
                  <a:gd name="T7" fmla="*/ 23 h 415"/>
                  <a:gd name="T8" fmla="*/ 329 w 414"/>
                  <a:gd name="T9" fmla="*/ 40 h 415"/>
                  <a:gd name="T10" fmla="*/ 354 w 414"/>
                  <a:gd name="T11" fmla="*/ 61 h 415"/>
                  <a:gd name="T12" fmla="*/ 374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4 w 414"/>
                  <a:gd name="T29" fmla="*/ 330 h 415"/>
                  <a:gd name="T30" fmla="*/ 354 w 414"/>
                  <a:gd name="T31" fmla="*/ 354 h 415"/>
                  <a:gd name="T32" fmla="*/ 329 w 414"/>
                  <a:gd name="T33" fmla="*/ 375 h 415"/>
                  <a:gd name="T34" fmla="*/ 302 w 414"/>
                  <a:gd name="T35" fmla="*/ 392 h 415"/>
                  <a:gd name="T36" fmla="*/ 273 w 414"/>
                  <a:gd name="T37" fmla="*/ 404 h 415"/>
                  <a:gd name="T38" fmla="*/ 240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0" y="3"/>
                    </a:lnTo>
                    <a:lnTo>
                      <a:pt x="273" y="11"/>
                    </a:lnTo>
                    <a:lnTo>
                      <a:pt x="302" y="23"/>
                    </a:lnTo>
                    <a:lnTo>
                      <a:pt x="329" y="40"/>
                    </a:lnTo>
                    <a:lnTo>
                      <a:pt x="354" y="61"/>
                    </a:lnTo>
                    <a:lnTo>
                      <a:pt x="374" y="85"/>
                    </a:lnTo>
                    <a:lnTo>
                      <a:pt x="391" y="112"/>
                    </a:lnTo>
                    <a:lnTo>
                      <a:pt x="404" y="142"/>
                    </a:lnTo>
                    <a:lnTo>
                      <a:pt x="411" y="174"/>
                    </a:lnTo>
                    <a:lnTo>
                      <a:pt x="414" y="208"/>
                    </a:lnTo>
                    <a:lnTo>
                      <a:pt x="411" y="241"/>
                    </a:lnTo>
                    <a:lnTo>
                      <a:pt x="404" y="274"/>
                    </a:lnTo>
                    <a:lnTo>
                      <a:pt x="391" y="303"/>
                    </a:lnTo>
                    <a:lnTo>
                      <a:pt x="374" y="330"/>
                    </a:lnTo>
                    <a:lnTo>
                      <a:pt x="354" y="354"/>
                    </a:lnTo>
                    <a:lnTo>
                      <a:pt x="329" y="375"/>
                    </a:lnTo>
                    <a:lnTo>
                      <a:pt x="302" y="392"/>
                    </a:lnTo>
                    <a:lnTo>
                      <a:pt x="273" y="404"/>
                    </a:lnTo>
                    <a:lnTo>
                      <a:pt x="240"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p>
            </p:txBody>
          </p:sp>
          <p:sp>
            <p:nvSpPr>
              <p:cNvPr id="234" name="Freeform 383"/>
              <p:cNvSpPr>
                <a:spLocks noChangeAspect="1"/>
              </p:cNvSpPr>
              <p:nvPr/>
            </p:nvSpPr>
            <p:spPr bwMode="auto">
              <a:xfrm>
                <a:off x="3638"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4 w 414"/>
                  <a:gd name="T43" fmla="*/ 412 h 415"/>
                  <a:gd name="T44" fmla="*/ 141 w 414"/>
                  <a:gd name="T45" fmla="*/ 404 h 415"/>
                  <a:gd name="T46" fmla="*/ 112 w 414"/>
                  <a:gd name="T47" fmla="*/ 392 h 415"/>
                  <a:gd name="T48" fmla="*/ 85 w 414"/>
                  <a:gd name="T49" fmla="*/ 375 h 415"/>
                  <a:gd name="T50" fmla="*/ 60 w 414"/>
                  <a:gd name="T51" fmla="*/ 354 h 415"/>
                  <a:gd name="T52" fmla="*/ 40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40 w 414"/>
                  <a:gd name="T69" fmla="*/ 85 h 415"/>
                  <a:gd name="T70" fmla="*/ 60 w 414"/>
                  <a:gd name="T71" fmla="*/ 61 h 415"/>
                  <a:gd name="T72" fmla="*/ 85 w 414"/>
                  <a:gd name="T73" fmla="*/ 40 h 415"/>
                  <a:gd name="T74" fmla="*/ 112 w 414"/>
                  <a:gd name="T75" fmla="*/ 23 h 415"/>
                  <a:gd name="T76" fmla="*/ 141 w 414"/>
                  <a:gd name="T77" fmla="*/ 11 h 415"/>
                  <a:gd name="T78" fmla="*/ 174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4" y="412"/>
                    </a:lnTo>
                    <a:lnTo>
                      <a:pt x="141" y="404"/>
                    </a:lnTo>
                    <a:lnTo>
                      <a:pt x="112" y="392"/>
                    </a:lnTo>
                    <a:lnTo>
                      <a:pt x="85" y="375"/>
                    </a:lnTo>
                    <a:lnTo>
                      <a:pt x="60" y="354"/>
                    </a:lnTo>
                    <a:lnTo>
                      <a:pt x="40" y="330"/>
                    </a:lnTo>
                    <a:lnTo>
                      <a:pt x="23" y="303"/>
                    </a:lnTo>
                    <a:lnTo>
                      <a:pt x="10" y="274"/>
                    </a:lnTo>
                    <a:lnTo>
                      <a:pt x="3" y="241"/>
                    </a:lnTo>
                    <a:lnTo>
                      <a:pt x="0" y="208"/>
                    </a:lnTo>
                    <a:lnTo>
                      <a:pt x="3" y="174"/>
                    </a:lnTo>
                    <a:lnTo>
                      <a:pt x="10" y="142"/>
                    </a:lnTo>
                    <a:lnTo>
                      <a:pt x="23" y="112"/>
                    </a:lnTo>
                    <a:lnTo>
                      <a:pt x="40" y="85"/>
                    </a:lnTo>
                    <a:lnTo>
                      <a:pt x="60" y="61"/>
                    </a:lnTo>
                    <a:lnTo>
                      <a:pt x="85" y="40"/>
                    </a:lnTo>
                    <a:lnTo>
                      <a:pt x="112" y="23"/>
                    </a:lnTo>
                    <a:lnTo>
                      <a:pt x="141" y="11"/>
                    </a:lnTo>
                    <a:lnTo>
                      <a:pt x="174" y="3"/>
                    </a:lnTo>
                    <a:lnTo>
                      <a:pt x="207" y="0"/>
                    </a:lnTo>
                    <a:close/>
                  </a:path>
                </a:pathLst>
              </a:custGeom>
              <a:grpFill/>
              <a:ln w="0">
                <a:solidFill>
                  <a:schemeClr val="tx1"/>
                </a:solidFill>
                <a:prstDash val="solid"/>
                <a:round/>
                <a:headEnd/>
                <a:tailEnd/>
              </a:ln>
            </p:spPr>
            <p:txBody>
              <a:bodyPr/>
              <a:lstStyle/>
              <a:p>
                <a:endParaRPr lang="de-DE" sz="800" b="0" dirty="0"/>
              </a:p>
            </p:txBody>
          </p:sp>
        </p:grpSp>
        <p:sp>
          <p:nvSpPr>
            <p:cNvPr id="197" name="noun_project_01303.eps"/>
            <p:cNvSpPr>
              <a:spLocks noChangeAspect="1" noEditPoints="1"/>
            </p:cNvSpPr>
            <p:nvPr/>
          </p:nvSpPr>
          <p:spPr bwMode="auto">
            <a:xfrm>
              <a:off x="8886956" y="6233749"/>
              <a:ext cx="180000" cy="177232"/>
            </a:xfrm>
            <a:custGeom>
              <a:avLst/>
              <a:gdLst>
                <a:gd name="T0" fmla="*/ 1525 w 2899"/>
                <a:gd name="T1" fmla="*/ 2291 h 2891"/>
                <a:gd name="T2" fmla="*/ 1419 w 2899"/>
                <a:gd name="T3" fmla="*/ 2373 h 2891"/>
                <a:gd name="T4" fmla="*/ 1368 w 2899"/>
                <a:gd name="T5" fmla="*/ 2250 h 2891"/>
                <a:gd name="T6" fmla="*/ 902 w 2899"/>
                <a:gd name="T7" fmla="*/ 1987 h 2891"/>
                <a:gd name="T8" fmla="*/ 920 w 2899"/>
                <a:gd name="T9" fmla="*/ 2118 h 2891"/>
                <a:gd name="T10" fmla="*/ 788 w 2899"/>
                <a:gd name="T11" fmla="*/ 2101 h 2891"/>
                <a:gd name="T12" fmla="*/ 839 w 2899"/>
                <a:gd name="T13" fmla="*/ 1978 h 2891"/>
                <a:gd name="T14" fmla="*/ 2147 w 2899"/>
                <a:gd name="T15" fmla="*/ 2011 h 2891"/>
                <a:gd name="T16" fmla="*/ 2065 w 2899"/>
                <a:gd name="T17" fmla="*/ 2117 h 2891"/>
                <a:gd name="T18" fmla="*/ 1983 w 2899"/>
                <a:gd name="T19" fmla="*/ 2011 h 2891"/>
                <a:gd name="T20" fmla="*/ 2323 w 2899"/>
                <a:gd name="T21" fmla="*/ 1356 h 2891"/>
                <a:gd name="T22" fmla="*/ 2374 w 2899"/>
                <a:gd name="T23" fmla="*/ 1479 h 2891"/>
                <a:gd name="T24" fmla="*/ 2242 w 2899"/>
                <a:gd name="T25" fmla="*/ 1496 h 2891"/>
                <a:gd name="T26" fmla="*/ 2260 w 2899"/>
                <a:gd name="T27" fmla="*/ 1365 h 2891"/>
                <a:gd name="T28" fmla="*/ 665 w 2899"/>
                <a:gd name="T29" fmla="*/ 1395 h 2891"/>
                <a:gd name="T30" fmla="*/ 615 w 2899"/>
                <a:gd name="T31" fmla="*/ 1518 h 2891"/>
                <a:gd name="T32" fmla="*/ 509 w 2899"/>
                <a:gd name="T33" fmla="*/ 1437 h 2891"/>
                <a:gd name="T34" fmla="*/ 928 w 2899"/>
                <a:gd name="T35" fmla="*/ 746 h 2891"/>
                <a:gd name="T36" fmla="*/ 1907 w 2899"/>
                <a:gd name="T37" fmla="*/ 1301 h 2891"/>
                <a:gd name="T38" fmla="*/ 2026 w 2899"/>
                <a:gd name="T39" fmla="*/ 1403 h 2891"/>
                <a:gd name="T40" fmla="*/ 2002 w 2899"/>
                <a:gd name="T41" fmla="*/ 1556 h 2891"/>
                <a:gd name="T42" fmla="*/ 1423 w 2899"/>
                <a:gd name="T43" fmla="*/ 1619 h 2891"/>
                <a:gd name="T44" fmla="*/ 776 w 2899"/>
                <a:gd name="T45" fmla="*/ 986 h 2891"/>
                <a:gd name="T46" fmla="*/ 780 w 2899"/>
                <a:gd name="T47" fmla="*/ 821 h 2891"/>
                <a:gd name="T48" fmla="*/ 928 w 2899"/>
                <a:gd name="T49" fmla="*/ 746 h 2891"/>
                <a:gd name="T50" fmla="*/ 2123 w 2899"/>
                <a:gd name="T51" fmla="*/ 828 h 2891"/>
                <a:gd name="T52" fmla="*/ 2017 w 2899"/>
                <a:gd name="T53" fmla="*/ 910 h 2891"/>
                <a:gd name="T54" fmla="*/ 1965 w 2899"/>
                <a:gd name="T55" fmla="*/ 787 h 2891"/>
                <a:gd name="T56" fmla="*/ 1487 w 2899"/>
                <a:gd name="T57" fmla="*/ 524 h 2891"/>
                <a:gd name="T58" fmla="*/ 1504 w 2899"/>
                <a:gd name="T59" fmla="*/ 656 h 2891"/>
                <a:gd name="T60" fmla="*/ 1373 w 2899"/>
                <a:gd name="T61" fmla="*/ 639 h 2891"/>
                <a:gd name="T62" fmla="*/ 1423 w 2899"/>
                <a:gd name="T63" fmla="*/ 515 h 2891"/>
                <a:gd name="T64" fmla="*/ 1047 w 2899"/>
                <a:gd name="T65" fmla="*/ 390 h 2891"/>
                <a:gd name="T66" fmla="*/ 595 w 2899"/>
                <a:gd name="T67" fmla="*/ 703 h 2891"/>
                <a:gd name="T68" fmla="*/ 343 w 2899"/>
                <a:gd name="T69" fmla="*/ 1195 h 2891"/>
                <a:gd name="T70" fmla="*/ 364 w 2899"/>
                <a:gd name="T71" fmla="*/ 1767 h 2891"/>
                <a:gd name="T72" fmla="*/ 648 w 2899"/>
                <a:gd name="T73" fmla="*/ 2240 h 2891"/>
                <a:gd name="T74" fmla="*/ 1123 w 2899"/>
                <a:gd name="T75" fmla="*/ 2524 h 2891"/>
                <a:gd name="T76" fmla="*/ 1697 w 2899"/>
                <a:gd name="T77" fmla="*/ 2544 h 2891"/>
                <a:gd name="T78" fmla="*/ 2190 w 2899"/>
                <a:gd name="T79" fmla="*/ 2294 h 2891"/>
                <a:gd name="T80" fmla="*/ 2504 w 2899"/>
                <a:gd name="T81" fmla="*/ 1843 h 2891"/>
                <a:gd name="T82" fmla="*/ 2565 w 2899"/>
                <a:gd name="T83" fmla="*/ 1275 h 2891"/>
                <a:gd name="T84" fmla="*/ 2351 w 2899"/>
                <a:gd name="T85" fmla="*/ 764 h 2891"/>
                <a:gd name="T86" fmla="*/ 1926 w 2899"/>
                <a:gd name="T87" fmla="*/ 421 h 2891"/>
                <a:gd name="T88" fmla="*/ 1449 w 2899"/>
                <a:gd name="T89" fmla="*/ 0 h 2891"/>
                <a:gd name="T90" fmla="*/ 2074 w 2899"/>
                <a:gd name="T91" fmla="*/ 141 h 2891"/>
                <a:gd name="T92" fmla="*/ 2564 w 2899"/>
                <a:gd name="T93" fmla="*/ 521 h 2891"/>
                <a:gd name="T94" fmla="*/ 2851 w 2899"/>
                <a:gd name="T95" fmla="*/ 1076 h 2891"/>
                <a:gd name="T96" fmla="*/ 2872 w 2899"/>
                <a:gd name="T97" fmla="*/ 1725 h 2891"/>
                <a:gd name="T98" fmla="*/ 2619 w 2899"/>
                <a:gd name="T99" fmla="*/ 2299 h 2891"/>
                <a:gd name="T100" fmla="*/ 2155 w 2899"/>
                <a:gd name="T101" fmla="*/ 2709 h 2891"/>
                <a:gd name="T102" fmla="*/ 1544 w 2899"/>
                <a:gd name="T103" fmla="*/ 2888 h 2891"/>
                <a:gd name="T104" fmla="*/ 905 w 2899"/>
                <a:gd name="T105" fmla="*/ 2786 h 2891"/>
                <a:gd name="T106" fmla="*/ 392 w 2899"/>
                <a:gd name="T107" fmla="*/ 2436 h 2891"/>
                <a:gd name="T108" fmla="*/ 73 w 2899"/>
                <a:gd name="T109" fmla="*/ 1902 h 2891"/>
                <a:gd name="T110" fmla="*/ 12 w 2899"/>
                <a:gd name="T111" fmla="*/ 1257 h 2891"/>
                <a:gd name="T112" fmla="*/ 229 w 2899"/>
                <a:gd name="T113" fmla="*/ 665 h 2891"/>
                <a:gd name="T114" fmla="*/ 666 w 2899"/>
                <a:gd name="T115" fmla="*/ 228 h 2891"/>
                <a:gd name="T116" fmla="*/ 1260 w 2899"/>
                <a:gd name="T117" fmla="*/ 12 h 2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99" h="2891">
                  <a:moveTo>
                    <a:pt x="1441" y="2207"/>
                  </a:moveTo>
                  <a:lnTo>
                    <a:pt x="1462" y="2211"/>
                  </a:lnTo>
                  <a:lnTo>
                    <a:pt x="1482" y="2219"/>
                  </a:lnTo>
                  <a:lnTo>
                    <a:pt x="1499" y="2233"/>
                  </a:lnTo>
                  <a:lnTo>
                    <a:pt x="1513" y="2250"/>
                  </a:lnTo>
                  <a:lnTo>
                    <a:pt x="1522" y="2270"/>
                  </a:lnTo>
                  <a:lnTo>
                    <a:pt x="1525" y="2291"/>
                  </a:lnTo>
                  <a:lnTo>
                    <a:pt x="1522" y="2313"/>
                  </a:lnTo>
                  <a:lnTo>
                    <a:pt x="1513" y="2333"/>
                  </a:lnTo>
                  <a:lnTo>
                    <a:pt x="1499" y="2350"/>
                  </a:lnTo>
                  <a:lnTo>
                    <a:pt x="1482" y="2364"/>
                  </a:lnTo>
                  <a:lnTo>
                    <a:pt x="1462" y="2373"/>
                  </a:lnTo>
                  <a:lnTo>
                    <a:pt x="1441" y="2376"/>
                  </a:lnTo>
                  <a:lnTo>
                    <a:pt x="1419" y="2373"/>
                  </a:lnTo>
                  <a:lnTo>
                    <a:pt x="1399" y="2364"/>
                  </a:lnTo>
                  <a:lnTo>
                    <a:pt x="1382" y="2350"/>
                  </a:lnTo>
                  <a:lnTo>
                    <a:pt x="1368" y="2333"/>
                  </a:lnTo>
                  <a:lnTo>
                    <a:pt x="1359" y="2313"/>
                  </a:lnTo>
                  <a:lnTo>
                    <a:pt x="1356" y="2291"/>
                  </a:lnTo>
                  <a:lnTo>
                    <a:pt x="1359" y="2270"/>
                  </a:lnTo>
                  <a:lnTo>
                    <a:pt x="1368" y="2250"/>
                  </a:lnTo>
                  <a:lnTo>
                    <a:pt x="1382" y="2233"/>
                  </a:lnTo>
                  <a:lnTo>
                    <a:pt x="1399" y="2219"/>
                  </a:lnTo>
                  <a:lnTo>
                    <a:pt x="1419" y="2211"/>
                  </a:lnTo>
                  <a:lnTo>
                    <a:pt x="1441" y="2207"/>
                  </a:lnTo>
                  <a:close/>
                  <a:moveTo>
                    <a:pt x="860" y="1975"/>
                  </a:moveTo>
                  <a:lnTo>
                    <a:pt x="882" y="1978"/>
                  </a:lnTo>
                  <a:lnTo>
                    <a:pt x="902" y="1987"/>
                  </a:lnTo>
                  <a:lnTo>
                    <a:pt x="920" y="2000"/>
                  </a:lnTo>
                  <a:lnTo>
                    <a:pt x="933" y="2018"/>
                  </a:lnTo>
                  <a:lnTo>
                    <a:pt x="942" y="2038"/>
                  </a:lnTo>
                  <a:lnTo>
                    <a:pt x="946" y="2059"/>
                  </a:lnTo>
                  <a:lnTo>
                    <a:pt x="942" y="2081"/>
                  </a:lnTo>
                  <a:lnTo>
                    <a:pt x="933" y="2101"/>
                  </a:lnTo>
                  <a:lnTo>
                    <a:pt x="920" y="2118"/>
                  </a:lnTo>
                  <a:lnTo>
                    <a:pt x="902" y="2132"/>
                  </a:lnTo>
                  <a:lnTo>
                    <a:pt x="882" y="2140"/>
                  </a:lnTo>
                  <a:lnTo>
                    <a:pt x="860" y="2143"/>
                  </a:lnTo>
                  <a:lnTo>
                    <a:pt x="839" y="2140"/>
                  </a:lnTo>
                  <a:lnTo>
                    <a:pt x="819" y="2132"/>
                  </a:lnTo>
                  <a:lnTo>
                    <a:pt x="802" y="2118"/>
                  </a:lnTo>
                  <a:lnTo>
                    <a:pt x="788" y="2101"/>
                  </a:lnTo>
                  <a:lnTo>
                    <a:pt x="780" y="2081"/>
                  </a:lnTo>
                  <a:lnTo>
                    <a:pt x="776" y="2059"/>
                  </a:lnTo>
                  <a:lnTo>
                    <a:pt x="780" y="2038"/>
                  </a:lnTo>
                  <a:lnTo>
                    <a:pt x="788" y="2018"/>
                  </a:lnTo>
                  <a:lnTo>
                    <a:pt x="802" y="2000"/>
                  </a:lnTo>
                  <a:lnTo>
                    <a:pt x="819" y="1987"/>
                  </a:lnTo>
                  <a:lnTo>
                    <a:pt x="839" y="1978"/>
                  </a:lnTo>
                  <a:lnTo>
                    <a:pt x="860" y="1975"/>
                  </a:lnTo>
                  <a:close/>
                  <a:moveTo>
                    <a:pt x="2065" y="1949"/>
                  </a:moveTo>
                  <a:lnTo>
                    <a:pt x="2086" y="1952"/>
                  </a:lnTo>
                  <a:lnTo>
                    <a:pt x="2106" y="1960"/>
                  </a:lnTo>
                  <a:lnTo>
                    <a:pt x="2124" y="1974"/>
                  </a:lnTo>
                  <a:lnTo>
                    <a:pt x="2137" y="1991"/>
                  </a:lnTo>
                  <a:lnTo>
                    <a:pt x="2147" y="2011"/>
                  </a:lnTo>
                  <a:lnTo>
                    <a:pt x="2150" y="2033"/>
                  </a:lnTo>
                  <a:lnTo>
                    <a:pt x="2147" y="2054"/>
                  </a:lnTo>
                  <a:lnTo>
                    <a:pt x="2137" y="2074"/>
                  </a:lnTo>
                  <a:lnTo>
                    <a:pt x="2124" y="2092"/>
                  </a:lnTo>
                  <a:lnTo>
                    <a:pt x="2106" y="2105"/>
                  </a:lnTo>
                  <a:lnTo>
                    <a:pt x="2086" y="2114"/>
                  </a:lnTo>
                  <a:lnTo>
                    <a:pt x="2065" y="2117"/>
                  </a:lnTo>
                  <a:lnTo>
                    <a:pt x="2043" y="2114"/>
                  </a:lnTo>
                  <a:lnTo>
                    <a:pt x="2023" y="2105"/>
                  </a:lnTo>
                  <a:lnTo>
                    <a:pt x="2006" y="2092"/>
                  </a:lnTo>
                  <a:lnTo>
                    <a:pt x="1992" y="2074"/>
                  </a:lnTo>
                  <a:lnTo>
                    <a:pt x="1983" y="2054"/>
                  </a:lnTo>
                  <a:lnTo>
                    <a:pt x="1980" y="2033"/>
                  </a:lnTo>
                  <a:lnTo>
                    <a:pt x="1983" y="2011"/>
                  </a:lnTo>
                  <a:lnTo>
                    <a:pt x="1992" y="1991"/>
                  </a:lnTo>
                  <a:lnTo>
                    <a:pt x="2006" y="1974"/>
                  </a:lnTo>
                  <a:lnTo>
                    <a:pt x="2023" y="1960"/>
                  </a:lnTo>
                  <a:lnTo>
                    <a:pt x="2043" y="1952"/>
                  </a:lnTo>
                  <a:lnTo>
                    <a:pt x="2065" y="1949"/>
                  </a:lnTo>
                  <a:close/>
                  <a:moveTo>
                    <a:pt x="2302" y="1353"/>
                  </a:moveTo>
                  <a:lnTo>
                    <a:pt x="2323" y="1356"/>
                  </a:lnTo>
                  <a:lnTo>
                    <a:pt x="2343" y="1365"/>
                  </a:lnTo>
                  <a:lnTo>
                    <a:pt x="2360" y="1378"/>
                  </a:lnTo>
                  <a:lnTo>
                    <a:pt x="2374" y="1395"/>
                  </a:lnTo>
                  <a:lnTo>
                    <a:pt x="2382" y="1415"/>
                  </a:lnTo>
                  <a:lnTo>
                    <a:pt x="2386" y="1437"/>
                  </a:lnTo>
                  <a:lnTo>
                    <a:pt x="2382" y="1459"/>
                  </a:lnTo>
                  <a:lnTo>
                    <a:pt x="2374" y="1479"/>
                  </a:lnTo>
                  <a:lnTo>
                    <a:pt x="2360" y="1496"/>
                  </a:lnTo>
                  <a:lnTo>
                    <a:pt x="2343" y="1509"/>
                  </a:lnTo>
                  <a:lnTo>
                    <a:pt x="2323" y="1518"/>
                  </a:lnTo>
                  <a:lnTo>
                    <a:pt x="2302" y="1521"/>
                  </a:lnTo>
                  <a:lnTo>
                    <a:pt x="2280" y="1518"/>
                  </a:lnTo>
                  <a:lnTo>
                    <a:pt x="2260" y="1509"/>
                  </a:lnTo>
                  <a:lnTo>
                    <a:pt x="2242" y="1496"/>
                  </a:lnTo>
                  <a:lnTo>
                    <a:pt x="2229" y="1479"/>
                  </a:lnTo>
                  <a:lnTo>
                    <a:pt x="2220" y="1459"/>
                  </a:lnTo>
                  <a:lnTo>
                    <a:pt x="2216" y="1437"/>
                  </a:lnTo>
                  <a:lnTo>
                    <a:pt x="2220" y="1415"/>
                  </a:lnTo>
                  <a:lnTo>
                    <a:pt x="2229" y="1395"/>
                  </a:lnTo>
                  <a:lnTo>
                    <a:pt x="2242" y="1378"/>
                  </a:lnTo>
                  <a:lnTo>
                    <a:pt x="2260" y="1365"/>
                  </a:lnTo>
                  <a:lnTo>
                    <a:pt x="2280" y="1356"/>
                  </a:lnTo>
                  <a:lnTo>
                    <a:pt x="2302" y="1353"/>
                  </a:lnTo>
                  <a:close/>
                  <a:moveTo>
                    <a:pt x="593" y="1353"/>
                  </a:moveTo>
                  <a:lnTo>
                    <a:pt x="615" y="1356"/>
                  </a:lnTo>
                  <a:lnTo>
                    <a:pt x="635" y="1365"/>
                  </a:lnTo>
                  <a:lnTo>
                    <a:pt x="652" y="1378"/>
                  </a:lnTo>
                  <a:lnTo>
                    <a:pt x="665" y="1395"/>
                  </a:lnTo>
                  <a:lnTo>
                    <a:pt x="674" y="1415"/>
                  </a:lnTo>
                  <a:lnTo>
                    <a:pt x="677" y="1437"/>
                  </a:lnTo>
                  <a:lnTo>
                    <a:pt x="674" y="1459"/>
                  </a:lnTo>
                  <a:lnTo>
                    <a:pt x="665" y="1479"/>
                  </a:lnTo>
                  <a:lnTo>
                    <a:pt x="652" y="1496"/>
                  </a:lnTo>
                  <a:lnTo>
                    <a:pt x="635" y="1509"/>
                  </a:lnTo>
                  <a:lnTo>
                    <a:pt x="615" y="1518"/>
                  </a:lnTo>
                  <a:lnTo>
                    <a:pt x="593" y="1521"/>
                  </a:lnTo>
                  <a:lnTo>
                    <a:pt x="571" y="1518"/>
                  </a:lnTo>
                  <a:lnTo>
                    <a:pt x="551" y="1509"/>
                  </a:lnTo>
                  <a:lnTo>
                    <a:pt x="534" y="1496"/>
                  </a:lnTo>
                  <a:lnTo>
                    <a:pt x="521" y="1479"/>
                  </a:lnTo>
                  <a:lnTo>
                    <a:pt x="512" y="1459"/>
                  </a:lnTo>
                  <a:lnTo>
                    <a:pt x="509" y="1437"/>
                  </a:lnTo>
                  <a:lnTo>
                    <a:pt x="512" y="1415"/>
                  </a:lnTo>
                  <a:lnTo>
                    <a:pt x="521" y="1395"/>
                  </a:lnTo>
                  <a:lnTo>
                    <a:pt x="534" y="1378"/>
                  </a:lnTo>
                  <a:lnTo>
                    <a:pt x="551" y="1365"/>
                  </a:lnTo>
                  <a:lnTo>
                    <a:pt x="571" y="1356"/>
                  </a:lnTo>
                  <a:lnTo>
                    <a:pt x="593" y="1353"/>
                  </a:lnTo>
                  <a:close/>
                  <a:moveTo>
                    <a:pt x="928" y="746"/>
                  </a:moveTo>
                  <a:lnTo>
                    <a:pt x="953" y="750"/>
                  </a:lnTo>
                  <a:lnTo>
                    <a:pt x="978" y="759"/>
                  </a:lnTo>
                  <a:lnTo>
                    <a:pt x="1002" y="773"/>
                  </a:lnTo>
                  <a:lnTo>
                    <a:pt x="1025" y="793"/>
                  </a:lnTo>
                  <a:lnTo>
                    <a:pt x="1490" y="1299"/>
                  </a:lnTo>
                  <a:lnTo>
                    <a:pt x="1878" y="1299"/>
                  </a:lnTo>
                  <a:lnTo>
                    <a:pt x="1907" y="1301"/>
                  </a:lnTo>
                  <a:lnTo>
                    <a:pt x="1934" y="1307"/>
                  </a:lnTo>
                  <a:lnTo>
                    <a:pt x="1957" y="1317"/>
                  </a:lnTo>
                  <a:lnTo>
                    <a:pt x="1977" y="1329"/>
                  </a:lnTo>
                  <a:lnTo>
                    <a:pt x="1994" y="1345"/>
                  </a:lnTo>
                  <a:lnTo>
                    <a:pt x="2007" y="1362"/>
                  </a:lnTo>
                  <a:lnTo>
                    <a:pt x="2018" y="1382"/>
                  </a:lnTo>
                  <a:lnTo>
                    <a:pt x="2026" y="1403"/>
                  </a:lnTo>
                  <a:lnTo>
                    <a:pt x="2031" y="1425"/>
                  </a:lnTo>
                  <a:lnTo>
                    <a:pt x="2033" y="1448"/>
                  </a:lnTo>
                  <a:lnTo>
                    <a:pt x="2032" y="1471"/>
                  </a:lnTo>
                  <a:lnTo>
                    <a:pt x="2029" y="1493"/>
                  </a:lnTo>
                  <a:lnTo>
                    <a:pt x="2022" y="1515"/>
                  </a:lnTo>
                  <a:lnTo>
                    <a:pt x="2013" y="1536"/>
                  </a:lnTo>
                  <a:lnTo>
                    <a:pt x="2002" y="1556"/>
                  </a:lnTo>
                  <a:lnTo>
                    <a:pt x="1987" y="1574"/>
                  </a:lnTo>
                  <a:lnTo>
                    <a:pt x="1970" y="1589"/>
                  </a:lnTo>
                  <a:lnTo>
                    <a:pt x="1951" y="1602"/>
                  </a:lnTo>
                  <a:lnTo>
                    <a:pt x="1929" y="1611"/>
                  </a:lnTo>
                  <a:lnTo>
                    <a:pt x="1905" y="1617"/>
                  </a:lnTo>
                  <a:lnTo>
                    <a:pt x="1878" y="1619"/>
                  </a:lnTo>
                  <a:lnTo>
                    <a:pt x="1423" y="1619"/>
                  </a:lnTo>
                  <a:lnTo>
                    <a:pt x="1395" y="1617"/>
                  </a:lnTo>
                  <a:lnTo>
                    <a:pt x="1369" y="1611"/>
                  </a:lnTo>
                  <a:lnTo>
                    <a:pt x="1345" y="1600"/>
                  </a:lnTo>
                  <a:lnTo>
                    <a:pt x="1325" y="1585"/>
                  </a:lnTo>
                  <a:lnTo>
                    <a:pt x="1306" y="1566"/>
                  </a:lnTo>
                  <a:lnTo>
                    <a:pt x="794" y="1010"/>
                  </a:lnTo>
                  <a:lnTo>
                    <a:pt x="776" y="986"/>
                  </a:lnTo>
                  <a:lnTo>
                    <a:pt x="761" y="962"/>
                  </a:lnTo>
                  <a:lnTo>
                    <a:pt x="753" y="937"/>
                  </a:lnTo>
                  <a:lnTo>
                    <a:pt x="750" y="913"/>
                  </a:lnTo>
                  <a:lnTo>
                    <a:pt x="752" y="888"/>
                  </a:lnTo>
                  <a:lnTo>
                    <a:pt x="757" y="865"/>
                  </a:lnTo>
                  <a:lnTo>
                    <a:pt x="768" y="842"/>
                  </a:lnTo>
                  <a:lnTo>
                    <a:pt x="780" y="821"/>
                  </a:lnTo>
                  <a:lnTo>
                    <a:pt x="796" y="802"/>
                  </a:lnTo>
                  <a:lnTo>
                    <a:pt x="814" y="785"/>
                  </a:lnTo>
                  <a:lnTo>
                    <a:pt x="834" y="770"/>
                  </a:lnTo>
                  <a:lnTo>
                    <a:pt x="856" y="759"/>
                  </a:lnTo>
                  <a:lnTo>
                    <a:pt x="879" y="751"/>
                  </a:lnTo>
                  <a:lnTo>
                    <a:pt x="904" y="746"/>
                  </a:lnTo>
                  <a:lnTo>
                    <a:pt x="928" y="746"/>
                  </a:lnTo>
                  <a:close/>
                  <a:moveTo>
                    <a:pt x="2038" y="744"/>
                  </a:moveTo>
                  <a:lnTo>
                    <a:pt x="2060" y="747"/>
                  </a:lnTo>
                  <a:lnTo>
                    <a:pt x="2080" y="756"/>
                  </a:lnTo>
                  <a:lnTo>
                    <a:pt x="2097" y="769"/>
                  </a:lnTo>
                  <a:lnTo>
                    <a:pt x="2110" y="787"/>
                  </a:lnTo>
                  <a:lnTo>
                    <a:pt x="2119" y="806"/>
                  </a:lnTo>
                  <a:lnTo>
                    <a:pt x="2123" y="828"/>
                  </a:lnTo>
                  <a:lnTo>
                    <a:pt x="2119" y="850"/>
                  </a:lnTo>
                  <a:lnTo>
                    <a:pt x="2110" y="870"/>
                  </a:lnTo>
                  <a:lnTo>
                    <a:pt x="2097" y="887"/>
                  </a:lnTo>
                  <a:lnTo>
                    <a:pt x="2080" y="901"/>
                  </a:lnTo>
                  <a:lnTo>
                    <a:pt x="2060" y="910"/>
                  </a:lnTo>
                  <a:lnTo>
                    <a:pt x="2038" y="913"/>
                  </a:lnTo>
                  <a:lnTo>
                    <a:pt x="2017" y="910"/>
                  </a:lnTo>
                  <a:lnTo>
                    <a:pt x="1996" y="901"/>
                  </a:lnTo>
                  <a:lnTo>
                    <a:pt x="1979" y="887"/>
                  </a:lnTo>
                  <a:lnTo>
                    <a:pt x="1965" y="870"/>
                  </a:lnTo>
                  <a:lnTo>
                    <a:pt x="1957" y="850"/>
                  </a:lnTo>
                  <a:lnTo>
                    <a:pt x="1953" y="828"/>
                  </a:lnTo>
                  <a:lnTo>
                    <a:pt x="1957" y="806"/>
                  </a:lnTo>
                  <a:lnTo>
                    <a:pt x="1965" y="787"/>
                  </a:lnTo>
                  <a:lnTo>
                    <a:pt x="1979" y="769"/>
                  </a:lnTo>
                  <a:lnTo>
                    <a:pt x="1996" y="756"/>
                  </a:lnTo>
                  <a:lnTo>
                    <a:pt x="2017" y="747"/>
                  </a:lnTo>
                  <a:lnTo>
                    <a:pt x="2038" y="744"/>
                  </a:lnTo>
                  <a:close/>
                  <a:moveTo>
                    <a:pt x="1445" y="511"/>
                  </a:moveTo>
                  <a:lnTo>
                    <a:pt x="1467" y="515"/>
                  </a:lnTo>
                  <a:lnTo>
                    <a:pt x="1487" y="524"/>
                  </a:lnTo>
                  <a:lnTo>
                    <a:pt x="1504" y="537"/>
                  </a:lnTo>
                  <a:lnTo>
                    <a:pt x="1518" y="554"/>
                  </a:lnTo>
                  <a:lnTo>
                    <a:pt x="1526" y="574"/>
                  </a:lnTo>
                  <a:lnTo>
                    <a:pt x="1529" y="596"/>
                  </a:lnTo>
                  <a:lnTo>
                    <a:pt x="1526" y="618"/>
                  </a:lnTo>
                  <a:lnTo>
                    <a:pt x="1518" y="639"/>
                  </a:lnTo>
                  <a:lnTo>
                    <a:pt x="1504" y="656"/>
                  </a:lnTo>
                  <a:lnTo>
                    <a:pt x="1487" y="670"/>
                  </a:lnTo>
                  <a:lnTo>
                    <a:pt x="1467" y="679"/>
                  </a:lnTo>
                  <a:lnTo>
                    <a:pt x="1445" y="682"/>
                  </a:lnTo>
                  <a:lnTo>
                    <a:pt x="1423" y="679"/>
                  </a:lnTo>
                  <a:lnTo>
                    <a:pt x="1403" y="670"/>
                  </a:lnTo>
                  <a:lnTo>
                    <a:pt x="1386" y="656"/>
                  </a:lnTo>
                  <a:lnTo>
                    <a:pt x="1373" y="639"/>
                  </a:lnTo>
                  <a:lnTo>
                    <a:pt x="1364" y="618"/>
                  </a:lnTo>
                  <a:lnTo>
                    <a:pt x="1361" y="596"/>
                  </a:lnTo>
                  <a:lnTo>
                    <a:pt x="1364" y="574"/>
                  </a:lnTo>
                  <a:lnTo>
                    <a:pt x="1373" y="554"/>
                  </a:lnTo>
                  <a:lnTo>
                    <a:pt x="1386" y="537"/>
                  </a:lnTo>
                  <a:lnTo>
                    <a:pt x="1403" y="524"/>
                  </a:lnTo>
                  <a:lnTo>
                    <a:pt x="1423" y="515"/>
                  </a:lnTo>
                  <a:lnTo>
                    <a:pt x="1445" y="511"/>
                  </a:lnTo>
                  <a:close/>
                  <a:moveTo>
                    <a:pt x="1449" y="316"/>
                  </a:moveTo>
                  <a:lnTo>
                    <a:pt x="1365" y="320"/>
                  </a:lnTo>
                  <a:lnTo>
                    <a:pt x="1282" y="329"/>
                  </a:lnTo>
                  <a:lnTo>
                    <a:pt x="1201" y="344"/>
                  </a:lnTo>
                  <a:lnTo>
                    <a:pt x="1123" y="364"/>
                  </a:lnTo>
                  <a:lnTo>
                    <a:pt x="1047" y="390"/>
                  </a:lnTo>
                  <a:lnTo>
                    <a:pt x="972" y="421"/>
                  </a:lnTo>
                  <a:lnTo>
                    <a:pt x="901" y="457"/>
                  </a:lnTo>
                  <a:lnTo>
                    <a:pt x="833" y="497"/>
                  </a:lnTo>
                  <a:lnTo>
                    <a:pt x="768" y="542"/>
                  </a:lnTo>
                  <a:lnTo>
                    <a:pt x="706" y="592"/>
                  </a:lnTo>
                  <a:lnTo>
                    <a:pt x="648" y="646"/>
                  </a:lnTo>
                  <a:lnTo>
                    <a:pt x="595" y="703"/>
                  </a:lnTo>
                  <a:lnTo>
                    <a:pt x="545" y="764"/>
                  </a:lnTo>
                  <a:lnTo>
                    <a:pt x="499" y="829"/>
                  </a:lnTo>
                  <a:lnTo>
                    <a:pt x="457" y="896"/>
                  </a:lnTo>
                  <a:lnTo>
                    <a:pt x="421" y="967"/>
                  </a:lnTo>
                  <a:lnTo>
                    <a:pt x="390" y="1040"/>
                  </a:lnTo>
                  <a:lnTo>
                    <a:pt x="364" y="1116"/>
                  </a:lnTo>
                  <a:lnTo>
                    <a:pt x="343" y="1195"/>
                  </a:lnTo>
                  <a:lnTo>
                    <a:pt x="328" y="1275"/>
                  </a:lnTo>
                  <a:lnTo>
                    <a:pt x="319" y="1357"/>
                  </a:lnTo>
                  <a:lnTo>
                    <a:pt x="316" y="1441"/>
                  </a:lnTo>
                  <a:lnTo>
                    <a:pt x="319" y="1526"/>
                  </a:lnTo>
                  <a:lnTo>
                    <a:pt x="328" y="1608"/>
                  </a:lnTo>
                  <a:lnTo>
                    <a:pt x="343" y="1689"/>
                  </a:lnTo>
                  <a:lnTo>
                    <a:pt x="364" y="1767"/>
                  </a:lnTo>
                  <a:lnTo>
                    <a:pt x="390" y="1843"/>
                  </a:lnTo>
                  <a:lnTo>
                    <a:pt x="421" y="1917"/>
                  </a:lnTo>
                  <a:lnTo>
                    <a:pt x="457" y="1988"/>
                  </a:lnTo>
                  <a:lnTo>
                    <a:pt x="499" y="2056"/>
                  </a:lnTo>
                  <a:lnTo>
                    <a:pt x="545" y="2120"/>
                  </a:lnTo>
                  <a:lnTo>
                    <a:pt x="595" y="2183"/>
                  </a:lnTo>
                  <a:lnTo>
                    <a:pt x="648" y="2240"/>
                  </a:lnTo>
                  <a:lnTo>
                    <a:pt x="706" y="2294"/>
                  </a:lnTo>
                  <a:lnTo>
                    <a:pt x="768" y="2344"/>
                  </a:lnTo>
                  <a:lnTo>
                    <a:pt x="833" y="2389"/>
                  </a:lnTo>
                  <a:lnTo>
                    <a:pt x="901" y="2430"/>
                  </a:lnTo>
                  <a:lnTo>
                    <a:pt x="972" y="2467"/>
                  </a:lnTo>
                  <a:lnTo>
                    <a:pt x="1047" y="2498"/>
                  </a:lnTo>
                  <a:lnTo>
                    <a:pt x="1123" y="2524"/>
                  </a:lnTo>
                  <a:lnTo>
                    <a:pt x="1201" y="2544"/>
                  </a:lnTo>
                  <a:lnTo>
                    <a:pt x="1282" y="2559"/>
                  </a:lnTo>
                  <a:lnTo>
                    <a:pt x="1365" y="2569"/>
                  </a:lnTo>
                  <a:lnTo>
                    <a:pt x="1449" y="2572"/>
                  </a:lnTo>
                  <a:lnTo>
                    <a:pt x="1533" y="2569"/>
                  </a:lnTo>
                  <a:lnTo>
                    <a:pt x="1617" y="2559"/>
                  </a:lnTo>
                  <a:lnTo>
                    <a:pt x="1697" y="2544"/>
                  </a:lnTo>
                  <a:lnTo>
                    <a:pt x="1776" y="2524"/>
                  </a:lnTo>
                  <a:lnTo>
                    <a:pt x="1851" y="2498"/>
                  </a:lnTo>
                  <a:lnTo>
                    <a:pt x="1926" y="2467"/>
                  </a:lnTo>
                  <a:lnTo>
                    <a:pt x="1996" y="2430"/>
                  </a:lnTo>
                  <a:lnTo>
                    <a:pt x="2064" y="2389"/>
                  </a:lnTo>
                  <a:lnTo>
                    <a:pt x="2128" y="2344"/>
                  </a:lnTo>
                  <a:lnTo>
                    <a:pt x="2190" y="2294"/>
                  </a:lnTo>
                  <a:lnTo>
                    <a:pt x="2248" y="2240"/>
                  </a:lnTo>
                  <a:lnTo>
                    <a:pt x="2301" y="2183"/>
                  </a:lnTo>
                  <a:lnTo>
                    <a:pt x="2351" y="2120"/>
                  </a:lnTo>
                  <a:lnTo>
                    <a:pt x="2396" y="2056"/>
                  </a:lnTo>
                  <a:lnTo>
                    <a:pt x="2437" y="1988"/>
                  </a:lnTo>
                  <a:lnTo>
                    <a:pt x="2473" y="1917"/>
                  </a:lnTo>
                  <a:lnTo>
                    <a:pt x="2504" y="1843"/>
                  </a:lnTo>
                  <a:lnTo>
                    <a:pt x="2530" y="1767"/>
                  </a:lnTo>
                  <a:lnTo>
                    <a:pt x="2551" y="1689"/>
                  </a:lnTo>
                  <a:lnTo>
                    <a:pt x="2565" y="1608"/>
                  </a:lnTo>
                  <a:lnTo>
                    <a:pt x="2574" y="1526"/>
                  </a:lnTo>
                  <a:lnTo>
                    <a:pt x="2578" y="1441"/>
                  </a:lnTo>
                  <a:lnTo>
                    <a:pt x="2574" y="1357"/>
                  </a:lnTo>
                  <a:lnTo>
                    <a:pt x="2565" y="1275"/>
                  </a:lnTo>
                  <a:lnTo>
                    <a:pt x="2551" y="1195"/>
                  </a:lnTo>
                  <a:lnTo>
                    <a:pt x="2530" y="1116"/>
                  </a:lnTo>
                  <a:lnTo>
                    <a:pt x="2504" y="1040"/>
                  </a:lnTo>
                  <a:lnTo>
                    <a:pt x="2473" y="967"/>
                  </a:lnTo>
                  <a:lnTo>
                    <a:pt x="2437" y="896"/>
                  </a:lnTo>
                  <a:lnTo>
                    <a:pt x="2396" y="829"/>
                  </a:lnTo>
                  <a:lnTo>
                    <a:pt x="2351" y="764"/>
                  </a:lnTo>
                  <a:lnTo>
                    <a:pt x="2301" y="703"/>
                  </a:lnTo>
                  <a:lnTo>
                    <a:pt x="2248" y="646"/>
                  </a:lnTo>
                  <a:lnTo>
                    <a:pt x="2190" y="592"/>
                  </a:lnTo>
                  <a:lnTo>
                    <a:pt x="2128" y="542"/>
                  </a:lnTo>
                  <a:lnTo>
                    <a:pt x="2064" y="497"/>
                  </a:lnTo>
                  <a:lnTo>
                    <a:pt x="1996" y="457"/>
                  </a:lnTo>
                  <a:lnTo>
                    <a:pt x="1926" y="421"/>
                  </a:lnTo>
                  <a:lnTo>
                    <a:pt x="1851" y="390"/>
                  </a:lnTo>
                  <a:lnTo>
                    <a:pt x="1776" y="364"/>
                  </a:lnTo>
                  <a:lnTo>
                    <a:pt x="1697" y="344"/>
                  </a:lnTo>
                  <a:lnTo>
                    <a:pt x="1617" y="329"/>
                  </a:lnTo>
                  <a:lnTo>
                    <a:pt x="1533" y="320"/>
                  </a:lnTo>
                  <a:lnTo>
                    <a:pt x="1449" y="316"/>
                  </a:lnTo>
                  <a:close/>
                  <a:moveTo>
                    <a:pt x="1449" y="0"/>
                  </a:moveTo>
                  <a:lnTo>
                    <a:pt x="1544" y="3"/>
                  </a:lnTo>
                  <a:lnTo>
                    <a:pt x="1638" y="12"/>
                  </a:lnTo>
                  <a:lnTo>
                    <a:pt x="1730" y="27"/>
                  </a:lnTo>
                  <a:lnTo>
                    <a:pt x="1819" y="48"/>
                  </a:lnTo>
                  <a:lnTo>
                    <a:pt x="1907" y="74"/>
                  </a:lnTo>
                  <a:lnTo>
                    <a:pt x="1992" y="105"/>
                  </a:lnTo>
                  <a:lnTo>
                    <a:pt x="2074" y="141"/>
                  </a:lnTo>
                  <a:lnTo>
                    <a:pt x="2155" y="182"/>
                  </a:lnTo>
                  <a:lnTo>
                    <a:pt x="2231" y="228"/>
                  </a:lnTo>
                  <a:lnTo>
                    <a:pt x="2305" y="278"/>
                  </a:lnTo>
                  <a:lnTo>
                    <a:pt x="2375" y="333"/>
                  </a:lnTo>
                  <a:lnTo>
                    <a:pt x="2442" y="392"/>
                  </a:lnTo>
                  <a:lnTo>
                    <a:pt x="2505" y="454"/>
                  </a:lnTo>
                  <a:lnTo>
                    <a:pt x="2564" y="521"/>
                  </a:lnTo>
                  <a:lnTo>
                    <a:pt x="2619" y="591"/>
                  </a:lnTo>
                  <a:lnTo>
                    <a:pt x="2669" y="665"/>
                  </a:lnTo>
                  <a:lnTo>
                    <a:pt x="2716" y="741"/>
                  </a:lnTo>
                  <a:lnTo>
                    <a:pt x="2757" y="821"/>
                  </a:lnTo>
                  <a:lnTo>
                    <a:pt x="2794" y="903"/>
                  </a:lnTo>
                  <a:lnTo>
                    <a:pt x="2825" y="988"/>
                  </a:lnTo>
                  <a:lnTo>
                    <a:pt x="2851" y="1076"/>
                  </a:lnTo>
                  <a:lnTo>
                    <a:pt x="2872" y="1165"/>
                  </a:lnTo>
                  <a:lnTo>
                    <a:pt x="2887" y="1257"/>
                  </a:lnTo>
                  <a:lnTo>
                    <a:pt x="2896" y="1350"/>
                  </a:lnTo>
                  <a:lnTo>
                    <a:pt x="2899" y="1446"/>
                  </a:lnTo>
                  <a:lnTo>
                    <a:pt x="2896" y="1540"/>
                  </a:lnTo>
                  <a:lnTo>
                    <a:pt x="2887" y="1634"/>
                  </a:lnTo>
                  <a:lnTo>
                    <a:pt x="2872" y="1725"/>
                  </a:lnTo>
                  <a:lnTo>
                    <a:pt x="2851" y="1814"/>
                  </a:lnTo>
                  <a:lnTo>
                    <a:pt x="2825" y="1902"/>
                  </a:lnTo>
                  <a:lnTo>
                    <a:pt x="2794" y="1986"/>
                  </a:lnTo>
                  <a:lnTo>
                    <a:pt x="2757" y="2069"/>
                  </a:lnTo>
                  <a:lnTo>
                    <a:pt x="2716" y="2149"/>
                  </a:lnTo>
                  <a:lnTo>
                    <a:pt x="2669" y="2226"/>
                  </a:lnTo>
                  <a:lnTo>
                    <a:pt x="2619" y="2299"/>
                  </a:lnTo>
                  <a:lnTo>
                    <a:pt x="2564" y="2369"/>
                  </a:lnTo>
                  <a:lnTo>
                    <a:pt x="2505" y="2436"/>
                  </a:lnTo>
                  <a:lnTo>
                    <a:pt x="2442" y="2498"/>
                  </a:lnTo>
                  <a:lnTo>
                    <a:pt x="2375" y="2557"/>
                  </a:lnTo>
                  <a:lnTo>
                    <a:pt x="2305" y="2612"/>
                  </a:lnTo>
                  <a:lnTo>
                    <a:pt x="2231" y="2663"/>
                  </a:lnTo>
                  <a:lnTo>
                    <a:pt x="2155" y="2709"/>
                  </a:lnTo>
                  <a:lnTo>
                    <a:pt x="2074" y="2750"/>
                  </a:lnTo>
                  <a:lnTo>
                    <a:pt x="1992" y="2786"/>
                  </a:lnTo>
                  <a:lnTo>
                    <a:pt x="1907" y="2818"/>
                  </a:lnTo>
                  <a:lnTo>
                    <a:pt x="1819" y="2844"/>
                  </a:lnTo>
                  <a:lnTo>
                    <a:pt x="1730" y="2864"/>
                  </a:lnTo>
                  <a:lnTo>
                    <a:pt x="1638" y="2879"/>
                  </a:lnTo>
                  <a:lnTo>
                    <a:pt x="1544" y="2888"/>
                  </a:lnTo>
                  <a:lnTo>
                    <a:pt x="1449" y="2891"/>
                  </a:lnTo>
                  <a:lnTo>
                    <a:pt x="1354" y="2888"/>
                  </a:lnTo>
                  <a:lnTo>
                    <a:pt x="1260" y="2879"/>
                  </a:lnTo>
                  <a:lnTo>
                    <a:pt x="1168" y="2864"/>
                  </a:lnTo>
                  <a:lnTo>
                    <a:pt x="1078" y="2844"/>
                  </a:lnTo>
                  <a:lnTo>
                    <a:pt x="990" y="2818"/>
                  </a:lnTo>
                  <a:lnTo>
                    <a:pt x="905" y="2786"/>
                  </a:lnTo>
                  <a:lnTo>
                    <a:pt x="823" y="2750"/>
                  </a:lnTo>
                  <a:lnTo>
                    <a:pt x="742" y="2709"/>
                  </a:lnTo>
                  <a:lnTo>
                    <a:pt x="666" y="2663"/>
                  </a:lnTo>
                  <a:lnTo>
                    <a:pt x="592" y="2612"/>
                  </a:lnTo>
                  <a:lnTo>
                    <a:pt x="522" y="2557"/>
                  </a:lnTo>
                  <a:lnTo>
                    <a:pt x="455" y="2498"/>
                  </a:lnTo>
                  <a:lnTo>
                    <a:pt x="392" y="2436"/>
                  </a:lnTo>
                  <a:lnTo>
                    <a:pt x="334" y="2369"/>
                  </a:lnTo>
                  <a:lnTo>
                    <a:pt x="279" y="2299"/>
                  </a:lnTo>
                  <a:lnTo>
                    <a:pt x="229" y="2226"/>
                  </a:lnTo>
                  <a:lnTo>
                    <a:pt x="182" y="2149"/>
                  </a:lnTo>
                  <a:lnTo>
                    <a:pt x="141" y="2069"/>
                  </a:lnTo>
                  <a:lnTo>
                    <a:pt x="104" y="1986"/>
                  </a:lnTo>
                  <a:lnTo>
                    <a:pt x="73" y="1902"/>
                  </a:lnTo>
                  <a:lnTo>
                    <a:pt x="47" y="1814"/>
                  </a:lnTo>
                  <a:lnTo>
                    <a:pt x="27" y="1725"/>
                  </a:lnTo>
                  <a:lnTo>
                    <a:pt x="12" y="1634"/>
                  </a:lnTo>
                  <a:lnTo>
                    <a:pt x="3" y="1540"/>
                  </a:lnTo>
                  <a:lnTo>
                    <a:pt x="0" y="1446"/>
                  </a:lnTo>
                  <a:lnTo>
                    <a:pt x="3" y="1350"/>
                  </a:lnTo>
                  <a:lnTo>
                    <a:pt x="12" y="1257"/>
                  </a:lnTo>
                  <a:lnTo>
                    <a:pt x="27" y="1165"/>
                  </a:lnTo>
                  <a:lnTo>
                    <a:pt x="47" y="1076"/>
                  </a:lnTo>
                  <a:lnTo>
                    <a:pt x="73" y="988"/>
                  </a:lnTo>
                  <a:lnTo>
                    <a:pt x="104" y="903"/>
                  </a:lnTo>
                  <a:lnTo>
                    <a:pt x="141" y="821"/>
                  </a:lnTo>
                  <a:lnTo>
                    <a:pt x="182" y="741"/>
                  </a:lnTo>
                  <a:lnTo>
                    <a:pt x="229" y="665"/>
                  </a:lnTo>
                  <a:lnTo>
                    <a:pt x="279" y="591"/>
                  </a:lnTo>
                  <a:lnTo>
                    <a:pt x="334" y="521"/>
                  </a:lnTo>
                  <a:lnTo>
                    <a:pt x="392" y="454"/>
                  </a:lnTo>
                  <a:lnTo>
                    <a:pt x="455" y="392"/>
                  </a:lnTo>
                  <a:lnTo>
                    <a:pt x="522" y="333"/>
                  </a:lnTo>
                  <a:lnTo>
                    <a:pt x="592" y="278"/>
                  </a:lnTo>
                  <a:lnTo>
                    <a:pt x="666" y="228"/>
                  </a:lnTo>
                  <a:lnTo>
                    <a:pt x="742" y="182"/>
                  </a:lnTo>
                  <a:lnTo>
                    <a:pt x="823" y="141"/>
                  </a:lnTo>
                  <a:lnTo>
                    <a:pt x="905" y="105"/>
                  </a:lnTo>
                  <a:lnTo>
                    <a:pt x="990" y="74"/>
                  </a:lnTo>
                  <a:lnTo>
                    <a:pt x="1078" y="48"/>
                  </a:lnTo>
                  <a:lnTo>
                    <a:pt x="1168" y="27"/>
                  </a:lnTo>
                  <a:lnTo>
                    <a:pt x="1260" y="12"/>
                  </a:lnTo>
                  <a:lnTo>
                    <a:pt x="1354" y="3"/>
                  </a:lnTo>
                  <a:lnTo>
                    <a:pt x="1449" y="0"/>
                  </a:lnTo>
                  <a:close/>
                </a:path>
              </a:pathLst>
            </a:custGeom>
            <a:solidFill>
              <a:schemeClr val="tx1"/>
            </a:solidFill>
            <a:ln>
              <a:solidFill>
                <a:schemeClr val="tx1"/>
              </a:solidFill>
            </a:ln>
          </p:spPr>
          <p:txBody>
            <a:bodyPr/>
            <a:lstStyle/>
            <a:p>
              <a:endParaRPr lang="de-DE" sz="800" b="0" dirty="0"/>
            </a:p>
          </p:txBody>
        </p:sp>
        <p:sp>
          <p:nvSpPr>
            <p:cNvPr id="198" name="noun_project_01304.eps"/>
            <p:cNvSpPr>
              <a:spLocks noChangeAspect="1" noEditPoints="1"/>
            </p:cNvSpPr>
            <p:nvPr/>
          </p:nvSpPr>
          <p:spPr bwMode="auto">
            <a:xfrm>
              <a:off x="6352366" y="6258428"/>
              <a:ext cx="180000" cy="127875"/>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sz="800" b="0" dirty="0"/>
            </a:p>
          </p:txBody>
        </p:sp>
        <p:sp>
          <p:nvSpPr>
            <p:cNvPr id="199" name="Rechteck 198"/>
            <p:cNvSpPr/>
            <p:nvPr/>
          </p:nvSpPr>
          <p:spPr bwMode="auto">
            <a:xfrm>
              <a:off x="2773323"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Dokument</a:t>
              </a:r>
            </a:p>
          </p:txBody>
        </p:sp>
        <p:sp>
          <p:nvSpPr>
            <p:cNvPr id="200" name="Rechteck 199"/>
            <p:cNvSpPr/>
            <p:nvPr/>
          </p:nvSpPr>
          <p:spPr bwMode="auto">
            <a:xfrm>
              <a:off x="6573639"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Kommunikation</a:t>
              </a:r>
            </a:p>
          </p:txBody>
        </p:sp>
        <p:sp>
          <p:nvSpPr>
            <p:cNvPr id="201" name="Rechteck 200"/>
            <p:cNvSpPr/>
            <p:nvPr/>
          </p:nvSpPr>
          <p:spPr bwMode="auto">
            <a:xfrm>
              <a:off x="7840411"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Schnittstelle</a:t>
              </a:r>
            </a:p>
          </p:txBody>
        </p:sp>
        <p:sp>
          <p:nvSpPr>
            <p:cNvPr id="202" name="Rechteck 201"/>
            <p:cNvSpPr/>
            <p:nvPr/>
          </p:nvSpPr>
          <p:spPr bwMode="auto">
            <a:xfrm>
              <a:off x="9107182"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Fristablauf</a:t>
              </a:r>
            </a:p>
          </p:txBody>
        </p:sp>
        <p:sp>
          <p:nvSpPr>
            <p:cNvPr id="203" name="Rechteck 202"/>
            <p:cNvSpPr/>
            <p:nvPr/>
          </p:nvSpPr>
          <p:spPr bwMode="auto">
            <a:xfrm>
              <a:off x="4040095"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Formular mit Logik</a:t>
              </a:r>
            </a:p>
          </p:txBody>
        </p:sp>
        <p:sp>
          <p:nvSpPr>
            <p:cNvPr id="204" name="Rechteck 203"/>
            <p:cNvSpPr/>
            <p:nvPr/>
          </p:nvSpPr>
          <p:spPr bwMode="auto">
            <a:xfrm>
              <a:off x="5306867" y="6232365"/>
              <a:ext cx="900000" cy="180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lang="de-DE" sz="800" b="0" dirty="0"/>
                <a:t>Checkliste</a:t>
              </a:r>
            </a:p>
          </p:txBody>
        </p:sp>
        <p:grpSp>
          <p:nvGrpSpPr>
            <p:cNvPr id="205" name="Gruppieren 204"/>
            <p:cNvGrpSpPr>
              <a:grpSpLocks noChangeAspect="1"/>
            </p:cNvGrpSpPr>
            <p:nvPr/>
          </p:nvGrpSpPr>
          <p:grpSpPr>
            <a:xfrm>
              <a:off x="5089074" y="6177297"/>
              <a:ext cx="180000" cy="290137"/>
              <a:chOff x="-1227749" y="5257321"/>
              <a:chExt cx="347663" cy="560387"/>
            </a:xfrm>
          </p:grpSpPr>
          <p:sp>
            <p:nvSpPr>
              <p:cNvPr id="217" name="Freeform 297"/>
              <p:cNvSpPr>
                <a:spLocks noEditPoints="1"/>
              </p:cNvSpPr>
              <p:nvPr/>
            </p:nvSpPr>
            <p:spPr bwMode="auto">
              <a:xfrm>
                <a:off x="-1176949" y="5358921"/>
                <a:ext cx="63500" cy="63500"/>
              </a:xfrm>
              <a:custGeom>
                <a:avLst/>
                <a:gdLst>
                  <a:gd name="T0" fmla="*/ 315 w 406"/>
                  <a:gd name="T1" fmla="*/ 140 h 399"/>
                  <a:gd name="T2" fmla="*/ 282 w 406"/>
                  <a:gd name="T3" fmla="*/ 187 h 399"/>
                  <a:gd name="T4" fmla="*/ 254 w 406"/>
                  <a:gd name="T5" fmla="*/ 231 h 399"/>
                  <a:gd name="T6" fmla="*/ 231 w 406"/>
                  <a:gd name="T7" fmla="*/ 270 h 399"/>
                  <a:gd name="T8" fmla="*/ 217 w 406"/>
                  <a:gd name="T9" fmla="*/ 297 h 399"/>
                  <a:gd name="T10" fmla="*/ 212 w 406"/>
                  <a:gd name="T11" fmla="*/ 308 h 399"/>
                  <a:gd name="T12" fmla="*/ 281 w 406"/>
                  <a:gd name="T13" fmla="*/ 341 h 399"/>
                  <a:gd name="T14" fmla="*/ 315 w 406"/>
                  <a:gd name="T15" fmla="*/ 333 h 399"/>
                  <a:gd name="T16" fmla="*/ 339 w 406"/>
                  <a:gd name="T17" fmla="*/ 310 h 399"/>
                  <a:gd name="T18" fmla="*/ 349 w 406"/>
                  <a:gd name="T19" fmla="*/ 277 h 399"/>
                  <a:gd name="T20" fmla="*/ 346 w 406"/>
                  <a:gd name="T21" fmla="*/ 143 h 399"/>
                  <a:gd name="T22" fmla="*/ 332 w 406"/>
                  <a:gd name="T23" fmla="*/ 117 h 399"/>
                  <a:gd name="T24" fmla="*/ 108 w 406"/>
                  <a:gd name="T25" fmla="*/ 97 h 399"/>
                  <a:gd name="T26" fmla="*/ 78 w 406"/>
                  <a:gd name="T27" fmla="*/ 113 h 399"/>
                  <a:gd name="T28" fmla="*/ 61 w 406"/>
                  <a:gd name="T29" fmla="*/ 142 h 399"/>
                  <a:gd name="T30" fmla="*/ 59 w 406"/>
                  <a:gd name="T31" fmla="*/ 277 h 399"/>
                  <a:gd name="T32" fmla="*/ 67 w 406"/>
                  <a:gd name="T33" fmla="*/ 310 h 399"/>
                  <a:gd name="T34" fmla="*/ 92 w 406"/>
                  <a:gd name="T35" fmla="*/ 333 h 399"/>
                  <a:gd name="T36" fmla="*/ 125 w 406"/>
                  <a:gd name="T37" fmla="*/ 341 h 399"/>
                  <a:gd name="T38" fmla="*/ 160 w 406"/>
                  <a:gd name="T39" fmla="*/ 308 h 399"/>
                  <a:gd name="T40" fmla="*/ 132 w 406"/>
                  <a:gd name="T41" fmla="*/ 267 h 399"/>
                  <a:gd name="T42" fmla="*/ 101 w 406"/>
                  <a:gd name="T43" fmla="*/ 241 h 399"/>
                  <a:gd name="T44" fmla="*/ 76 w 406"/>
                  <a:gd name="T45" fmla="*/ 227 h 399"/>
                  <a:gd name="T46" fmla="*/ 64 w 406"/>
                  <a:gd name="T47" fmla="*/ 222 h 399"/>
                  <a:gd name="T48" fmla="*/ 85 w 406"/>
                  <a:gd name="T49" fmla="*/ 168 h 399"/>
                  <a:gd name="T50" fmla="*/ 108 w 406"/>
                  <a:gd name="T51" fmla="*/ 179 h 399"/>
                  <a:gd name="T52" fmla="*/ 144 w 406"/>
                  <a:gd name="T53" fmla="*/ 201 h 399"/>
                  <a:gd name="T54" fmla="*/ 183 w 406"/>
                  <a:gd name="T55" fmla="*/ 238 h 399"/>
                  <a:gd name="T56" fmla="*/ 214 w 406"/>
                  <a:gd name="T57" fmla="*/ 186 h 399"/>
                  <a:gd name="T58" fmla="*/ 255 w 406"/>
                  <a:gd name="T59" fmla="*/ 125 h 399"/>
                  <a:gd name="T60" fmla="*/ 125 w 406"/>
                  <a:gd name="T61" fmla="*/ 94 h 399"/>
                  <a:gd name="T62" fmla="*/ 406 w 406"/>
                  <a:gd name="T63" fmla="*/ 48 h 399"/>
                  <a:gd name="T64" fmla="*/ 372 w 406"/>
                  <a:gd name="T65" fmla="*/ 75 h 399"/>
                  <a:gd name="T66" fmla="*/ 397 w 406"/>
                  <a:gd name="T67" fmla="*/ 113 h 399"/>
                  <a:gd name="T68" fmla="*/ 406 w 406"/>
                  <a:gd name="T69" fmla="*/ 159 h 399"/>
                  <a:gd name="T70" fmla="*/ 402 w 406"/>
                  <a:gd name="T71" fmla="*/ 305 h 399"/>
                  <a:gd name="T72" fmla="*/ 379 w 406"/>
                  <a:gd name="T73" fmla="*/ 353 h 399"/>
                  <a:gd name="T74" fmla="*/ 336 w 406"/>
                  <a:gd name="T75" fmla="*/ 386 h 399"/>
                  <a:gd name="T76" fmla="*/ 281 w 406"/>
                  <a:gd name="T77" fmla="*/ 399 h 399"/>
                  <a:gd name="T78" fmla="*/ 97 w 406"/>
                  <a:gd name="T79" fmla="*/ 396 h 399"/>
                  <a:gd name="T80" fmla="*/ 48 w 406"/>
                  <a:gd name="T81" fmla="*/ 372 h 399"/>
                  <a:gd name="T82" fmla="*/ 13 w 406"/>
                  <a:gd name="T83" fmla="*/ 330 h 399"/>
                  <a:gd name="T84" fmla="*/ 0 w 406"/>
                  <a:gd name="T85" fmla="*/ 277 h 399"/>
                  <a:gd name="T86" fmla="*/ 4 w 406"/>
                  <a:gd name="T87" fmla="*/ 131 h 399"/>
                  <a:gd name="T88" fmla="*/ 29 w 406"/>
                  <a:gd name="T89" fmla="*/ 83 h 399"/>
                  <a:gd name="T90" fmla="*/ 71 w 406"/>
                  <a:gd name="T91" fmla="*/ 50 h 399"/>
                  <a:gd name="T92" fmla="*/ 125 w 406"/>
                  <a:gd name="T93" fmla="*/ 37 h 399"/>
                  <a:gd name="T94" fmla="*/ 302 w 406"/>
                  <a:gd name="T95" fmla="*/ 39 h 399"/>
                  <a:gd name="T96" fmla="*/ 349 w 406"/>
                  <a:gd name="T97" fmla="*/ 1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9">
                    <a:moveTo>
                      <a:pt x="332" y="117"/>
                    </a:moveTo>
                    <a:lnTo>
                      <a:pt x="315" y="140"/>
                    </a:lnTo>
                    <a:lnTo>
                      <a:pt x="298" y="164"/>
                    </a:lnTo>
                    <a:lnTo>
                      <a:pt x="282" y="187"/>
                    </a:lnTo>
                    <a:lnTo>
                      <a:pt x="267" y="210"/>
                    </a:lnTo>
                    <a:lnTo>
                      <a:pt x="254" y="231"/>
                    </a:lnTo>
                    <a:lnTo>
                      <a:pt x="242" y="252"/>
                    </a:lnTo>
                    <a:lnTo>
                      <a:pt x="231" y="270"/>
                    </a:lnTo>
                    <a:lnTo>
                      <a:pt x="224" y="285"/>
                    </a:lnTo>
                    <a:lnTo>
                      <a:pt x="217" y="297"/>
                    </a:lnTo>
                    <a:lnTo>
                      <a:pt x="213" y="305"/>
                    </a:lnTo>
                    <a:lnTo>
                      <a:pt x="212" y="308"/>
                    </a:lnTo>
                    <a:lnTo>
                      <a:pt x="194" y="341"/>
                    </a:lnTo>
                    <a:lnTo>
                      <a:pt x="281" y="341"/>
                    </a:lnTo>
                    <a:lnTo>
                      <a:pt x="299" y="339"/>
                    </a:lnTo>
                    <a:lnTo>
                      <a:pt x="315" y="333"/>
                    </a:lnTo>
                    <a:lnTo>
                      <a:pt x="328" y="323"/>
                    </a:lnTo>
                    <a:lnTo>
                      <a:pt x="339" y="310"/>
                    </a:lnTo>
                    <a:lnTo>
                      <a:pt x="346" y="294"/>
                    </a:lnTo>
                    <a:lnTo>
                      <a:pt x="349" y="277"/>
                    </a:lnTo>
                    <a:lnTo>
                      <a:pt x="349" y="159"/>
                    </a:lnTo>
                    <a:lnTo>
                      <a:pt x="346" y="143"/>
                    </a:lnTo>
                    <a:lnTo>
                      <a:pt x="341" y="130"/>
                    </a:lnTo>
                    <a:lnTo>
                      <a:pt x="332" y="117"/>
                    </a:lnTo>
                    <a:close/>
                    <a:moveTo>
                      <a:pt x="125" y="94"/>
                    </a:moveTo>
                    <a:lnTo>
                      <a:pt x="108" y="97"/>
                    </a:lnTo>
                    <a:lnTo>
                      <a:pt x="92" y="103"/>
                    </a:lnTo>
                    <a:lnTo>
                      <a:pt x="78" y="113"/>
                    </a:lnTo>
                    <a:lnTo>
                      <a:pt x="67" y="126"/>
                    </a:lnTo>
                    <a:lnTo>
                      <a:pt x="61" y="142"/>
                    </a:lnTo>
                    <a:lnTo>
                      <a:pt x="59" y="159"/>
                    </a:lnTo>
                    <a:lnTo>
                      <a:pt x="59" y="277"/>
                    </a:lnTo>
                    <a:lnTo>
                      <a:pt x="61" y="294"/>
                    </a:lnTo>
                    <a:lnTo>
                      <a:pt x="67" y="310"/>
                    </a:lnTo>
                    <a:lnTo>
                      <a:pt x="78" y="323"/>
                    </a:lnTo>
                    <a:lnTo>
                      <a:pt x="92" y="333"/>
                    </a:lnTo>
                    <a:lnTo>
                      <a:pt x="108" y="339"/>
                    </a:lnTo>
                    <a:lnTo>
                      <a:pt x="125" y="341"/>
                    </a:lnTo>
                    <a:lnTo>
                      <a:pt x="177" y="341"/>
                    </a:lnTo>
                    <a:lnTo>
                      <a:pt x="160" y="308"/>
                    </a:lnTo>
                    <a:lnTo>
                      <a:pt x="147" y="285"/>
                    </a:lnTo>
                    <a:lnTo>
                      <a:pt x="132" y="267"/>
                    </a:lnTo>
                    <a:lnTo>
                      <a:pt x="116" y="252"/>
                    </a:lnTo>
                    <a:lnTo>
                      <a:pt x="101" y="241"/>
                    </a:lnTo>
                    <a:lnTo>
                      <a:pt x="87" y="232"/>
                    </a:lnTo>
                    <a:lnTo>
                      <a:pt x="76" y="227"/>
                    </a:lnTo>
                    <a:lnTo>
                      <a:pt x="67" y="224"/>
                    </a:lnTo>
                    <a:lnTo>
                      <a:pt x="64" y="222"/>
                    </a:lnTo>
                    <a:lnTo>
                      <a:pt x="80" y="167"/>
                    </a:lnTo>
                    <a:lnTo>
                      <a:pt x="85" y="168"/>
                    </a:lnTo>
                    <a:lnTo>
                      <a:pt x="94" y="172"/>
                    </a:lnTo>
                    <a:lnTo>
                      <a:pt x="108" y="179"/>
                    </a:lnTo>
                    <a:lnTo>
                      <a:pt x="124" y="188"/>
                    </a:lnTo>
                    <a:lnTo>
                      <a:pt x="144" y="201"/>
                    </a:lnTo>
                    <a:lnTo>
                      <a:pt x="163" y="217"/>
                    </a:lnTo>
                    <a:lnTo>
                      <a:pt x="183" y="238"/>
                    </a:lnTo>
                    <a:lnTo>
                      <a:pt x="197" y="213"/>
                    </a:lnTo>
                    <a:lnTo>
                      <a:pt x="214" y="186"/>
                    </a:lnTo>
                    <a:lnTo>
                      <a:pt x="233" y="156"/>
                    </a:lnTo>
                    <a:lnTo>
                      <a:pt x="255" y="125"/>
                    </a:lnTo>
                    <a:lnTo>
                      <a:pt x="277" y="94"/>
                    </a:lnTo>
                    <a:lnTo>
                      <a:pt x="125" y="94"/>
                    </a:lnTo>
                    <a:close/>
                    <a:moveTo>
                      <a:pt x="375" y="0"/>
                    </a:moveTo>
                    <a:lnTo>
                      <a:pt x="406" y="48"/>
                    </a:lnTo>
                    <a:lnTo>
                      <a:pt x="389" y="61"/>
                    </a:lnTo>
                    <a:lnTo>
                      <a:pt x="372" y="75"/>
                    </a:lnTo>
                    <a:lnTo>
                      <a:pt x="386" y="94"/>
                    </a:lnTo>
                    <a:lnTo>
                      <a:pt x="397" y="113"/>
                    </a:lnTo>
                    <a:lnTo>
                      <a:pt x="403" y="136"/>
                    </a:lnTo>
                    <a:lnTo>
                      <a:pt x="406" y="159"/>
                    </a:lnTo>
                    <a:lnTo>
                      <a:pt x="406" y="277"/>
                    </a:lnTo>
                    <a:lnTo>
                      <a:pt x="402" y="305"/>
                    </a:lnTo>
                    <a:lnTo>
                      <a:pt x="394" y="330"/>
                    </a:lnTo>
                    <a:lnTo>
                      <a:pt x="379" y="353"/>
                    </a:lnTo>
                    <a:lnTo>
                      <a:pt x="359" y="372"/>
                    </a:lnTo>
                    <a:lnTo>
                      <a:pt x="336" y="386"/>
                    </a:lnTo>
                    <a:lnTo>
                      <a:pt x="310" y="396"/>
                    </a:lnTo>
                    <a:lnTo>
                      <a:pt x="281" y="399"/>
                    </a:lnTo>
                    <a:lnTo>
                      <a:pt x="125" y="399"/>
                    </a:lnTo>
                    <a:lnTo>
                      <a:pt x="97" y="396"/>
                    </a:lnTo>
                    <a:lnTo>
                      <a:pt x="71" y="386"/>
                    </a:lnTo>
                    <a:lnTo>
                      <a:pt x="48" y="372"/>
                    </a:lnTo>
                    <a:lnTo>
                      <a:pt x="29" y="353"/>
                    </a:lnTo>
                    <a:lnTo>
                      <a:pt x="13" y="330"/>
                    </a:lnTo>
                    <a:lnTo>
                      <a:pt x="4" y="305"/>
                    </a:lnTo>
                    <a:lnTo>
                      <a:pt x="0" y="277"/>
                    </a:lnTo>
                    <a:lnTo>
                      <a:pt x="0" y="159"/>
                    </a:lnTo>
                    <a:lnTo>
                      <a:pt x="4" y="131"/>
                    </a:lnTo>
                    <a:lnTo>
                      <a:pt x="13" y="105"/>
                    </a:lnTo>
                    <a:lnTo>
                      <a:pt x="29" y="83"/>
                    </a:lnTo>
                    <a:lnTo>
                      <a:pt x="48" y="64"/>
                    </a:lnTo>
                    <a:lnTo>
                      <a:pt x="71" y="50"/>
                    </a:lnTo>
                    <a:lnTo>
                      <a:pt x="97" y="40"/>
                    </a:lnTo>
                    <a:lnTo>
                      <a:pt x="125" y="37"/>
                    </a:lnTo>
                    <a:lnTo>
                      <a:pt x="281" y="37"/>
                    </a:lnTo>
                    <a:lnTo>
                      <a:pt x="302" y="39"/>
                    </a:lnTo>
                    <a:lnTo>
                      <a:pt x="323" y="44"/>
                    </a:lnTo>
                    <a:lnTo>
                      <a:pt x="349" y="19"/>
                    </a:lnTo>
                    <a:lnTo>
                      <a:pt x="375" y="0"/>
                    </a:lnTo>
                    <a:close/>
                  </a:path>
                </a:pathLst>
              </a:custGeom>
              <a:solidFill>
                <a:schemeClr val="tx1"/>
              </a:solidFill>
              <a:ln w="3175">
                <a:noFill/>
                <a:prstDash val="solid"/>
                <a:round/>
                <a:headEnd/>
                <a:tailEnd/>
              </a:ln>
            </p:spPr>
            <p:txBody>
              <a:bodyPr/>
              <a:lstStyle/>
              <a:p>
                <a:endParaRPr lang="de-DE" sz="800" b="0" dirty="0"/>
              </a:p>
            </p:txBody>
          </p:sp>
          <p:sp>
            <p:nvSpPr>
              <p:cNvPr id="218" name="Freeform 298"/>
              <p:cNvSpPr>
                <a:spLocks noEditPoints="1"/>
              </p:cNvSpPr>
              <p:nvPr/>
            </p:nvSpPr>
            <p:spPr bwMode="auto">
              <a:xfrm>
                <a:off x="-1176949" y="5431946"/>
                <a:ext cx="63500" cy="60325"/>
              </a:xfrm>
              <a:custGeom>
                <a:avLst/>
                <a:gdLst>
                  <a:gd name="T0" fmla="*/ 319 w 406"/>
                  <a:gd name="T1" fmla="*/ 134 h 384"/>
                  <a:gd name="T2" fmla="*/ 285 w 406"/>
                  <a:gd name="T3" fmla="*/ 181 h 384"/>
                  <a:gd name="T4" fmla="*/ 256 w 406"/>
                  <a:gd name="T5" fmla="*/ 228 h 384"/>
                  <a:gd name="T6" fmla="*/ 232 w 406"/>
                  <a:gd name="T7" fmla="*/ 268 h 384"/>
                  <a:gd name="T8" fmla="*/ 217 w 406"/>
                  <a:gd name="T9" fmla="*/ 296 h 384"/>
                  <a:gd name="T10" fmla="*/ 212 w 406"/>
                  <a:gd name="T11" fmla="*/ 307 h 384"/>
                  <a:gd name="T12" fmla="*/ 281 w 406"/>
                  <a:gd name="T13" fmla="*/ 326 h 384"/>
                  <a:gd name="T14" fmla="*/ 315 w 406"/>
                  <a:gd name="T15" fmla="*/ 318 h 384"/>
                  <a:gd name="T16" fmla="*/ 339 w 406"/>
                  <a:gd name="T17" fmla="*/ 295 h 384"/>
                  <a:gd name="T18" fmla="*/ 349 w 406"/>
                  <a:gd name="T19" fmla="*/ 263 h 384"/>
                  <a:gd name="T20" fmla="*/ 345 w 406"/>
                  <a:gd name="T21" fmla="*/ 126 h 384"/>
                  <a:gd name="T22" fmla="*/ 125 w 406"/>
                  <a:gd name="T23" fmla="*/ 80 h 384"/>
                  <a:gd name="T24" fmla="*/ 92 w 406"/>
                  <a:gd name="T25" fmla="*/ 89 h 384"/>
                  <a:gd name="T26" fmla="*/ 67 w 406"/>
                  <a:gd name="T27" fmla="*/ 112 h 384"/>
                  <a:gd name="T28" fmla="*/ 59 w 406"/>
                  <a:gd name="T29" fmla="*/ 144 h 384"/>
                  <a:gd name="T30" fmla="*/ 61 w 406"/>
                  <a:gd name="T31" fmla="*/ 279 h 384"/>
                  <a:gd name="T32" fmla="*/ 78 w 406"/>
                  <a:gd name="T33" fmla="*/ 308 h 384"/>
                  <a:gd name="T34" fmla="*/ 108 w 406"/>
                  <a:gd name="T35" fmla="*/ 324 h 384"/>
                  <a:gd name="T36" fmla="*/ 170 w 406"/>
                  <a:gd name="T37" fmla="*/ 326 h 384"/>
                  <a:gd name="T38" fmla="*/ 147 w 406"/>
                  <a:gd name="T39" fmla="*/ 285 h 384"/>
                  <a:gd name="T40" fmla="*/ 116 w 406"/>
                  <a:gd name="T41" fmla="*/ 252 h 384"/>
                  <a:gd name="T42" fmla="*/ 87 w 406"/>
                  <a:gd name="T43" fmla="*/ 232 h 384"/>
                  <a:gd name="T44" fmla="*/ 67 w 406"/>
                  <a:gd name="T45" fmla="*/ 223 h 384"/>
                  <a:gd name="T46" fmla="*/ 80 w 406"/>
                  <a:gd name="T47" fmla="*/ 167 h 384"/>
                  <a:gd name="T48" fmla="*/ 94 w 406"/>
                  <a:gd name="T49" fmla="*/ 171 h 384"/>
                  <a:gd name="T50" fmla="*/ 124 w 406"/>
                  <a:gd name="T51" fmla="*/ 188 h 384"/>
                  <a:gd name="T52" fmla="*/ 163 w 406"/>
                  <a:gd name="T53" fmla="*/ 218 h 384"/>
                  <a:gd name="T54" fmla="*/ 196 w 406"/>
                  <a:gd name="T55" fmla="*/ 216 h 384"/>
                  <a:gd name="T56" fmla="*/ 228 w 406"/>
                  <a:gd name="T57" fmla="*/ 164 h 384"/>
                  <a:gd name="T58" fmla="*/ 267 w 406"/>
                  <a:gd name="T59" fmla="*/ 108 h 384"/>
                  <a:gd name="T60" fmla="*/ 285 w 406"/>
                  <a:gd name="T61" fmla="*/ 80 h 384"/>
                  <a:gd name="T62" fmla="*/ 125 w 406"/>
                  <a:gd name="T63" fmla="*/ 80 h 384"/>
                  <a:gd name="T64" fmla="*/ 406 w 406"/>
                  <a:gd name="T65" fmla="*/ 49 h 384"/>
                  <a:gd name="T66" fmla="*/ 394 w 406"/>
                  <a:gd name="T67" fmla="*/ 92 h 384"/>
                  <a:gd name="T68" fmla="*/ 406 w 406"/>
                  <a:gd name="T69" fmla="*/ 144 h 384"/>
                  <a:gd name="T70" fmla="*/ 402 w 406"/>
                  <a:gd name="T71" fmla="*/ 291 h 384"/>
                  <a:gd name="T72" fmla="*/ 379 w 406"/>
                  <a:gd name="T73" fmla="*/ 338 h 384"/>
                  <a:gd name="T74" fmla="*/ 336 w 406"/>
                  <a:gd name="T75" fmla="*/ 372 h 384"/>
                  <a:gd name="T76" fmla="*/ 281 w 406"/>
                  <a:gd name="T77" fmla="*/ 384 h 384"/>
                  <a:gd name="T78" fmla="*/ 97 w 406"/>
                  <a:gd name="T79" fmla="*/ 381 h 384"/>
                  <a:gd name="T80" fmla="*/ 48 w 406"/>
                  <a:gd name="T81" fmla="*/ 358 h 384"/>
                  <a:gd name="T82" fmla="*/ 13 w 406"/>
                  <a:gd name="T83" fmla="*/ 316 h 384"/>
                  <a:gd name="T84" fmla="*/ 0 w 406"/>
                  <a:gd name="T85" fmla="*/ 263 h 384"/>
                  <a:gd name="T86" fmla="*/ 4 w 406"/>
                  <a:gd name="T87" fmla="*/ 117 h 384"/>
                  <a:gd name="T88" fmla="*/ 29 w 406"/>
                  <a:gd name="T89" fmla="*/ 68 h 384"/>
                  <a:gd name="T90" fmla="*/ 71 w 406"/>
                  <a:gd name="T91" fmla="*/ 35 h 384"/>
                  <a:gd name="T92" fmla="*/ 125 w 406"/>
                  <a:gd name="T93" fmla="*/ 22 h 384"/>
                  <a:gd name="T94" fmla="*/ 308 w 406"/>
                  <a:gd name="T95" fmla="*/ 25 h 384"/>
                  <a:gd name="T96" fmla="*/ 354 w 406"/>
                  <a:gd name="T97" fmla="*/ 1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4">
                    <a:moveTo>
                      <a:pt x="339" y="111"/>
                    </a:moveTo>
                    <a:lnTo>
                      <a:pt x="319" y="134"/>
                    </a:lnTo>
                    <a:lnTo>
                      <a:pt x="302" y="157"/>
                    </a:lnTo>
                    <a:lnTo>
                      <a:pt x="285" y="181"/>
                    </a:lnTo>
                    <a:lnTo>
                      <a:pt x="270" y="205"/>
                    </a:lnTo>
                    <a:lnTo>
                      <a:pt x="256" y="228"/>
                    </a:lnTo>
                    <a:lnTo>
                      <a:pt x="243" y="249"/>
                    </a:lnTo>
                    <a:lnTo>
                      <a:pt x="232" y="268"/>
                    </a:lnTo>
                    <a:lnTo>
                      <a:pt x="224" y="283"/>
                    </a:lnTo>
                    <a:lnTo>
                      <a:pt x="217" y="296"/>
                    </a:lnTo>
                    <a:lnTo>
                      <a:pt x="213" y="304"/>
                    </a:lnTo>
                    <a:lnTo>
                      <a:pt x="212" y="307"/>
                    </a:lnTo>
                    <a:lnTo>
                      <a:pt x="202" y="326"/>
                    </a:lnTo>
                    <a:lnTo>
                      <a:pt x="281" y="326"/>
                    </a:lnTo>
                    <a:lnTo>
                      <a:pt x="299" y="324"/>
                    </a:lnTo>
                    <a:lnTo>
                      <a:pt x="315" y="318"/>
                    </a:lnTo>
                    <a:lnTo>
                      <a:pt x="328" y="308"/>
                    </a:lnTo>
                    <a:lnTo>
                      <a:pt x="339" y="295"/>
                    </a:lnTo>
                    <a:lnTo>
                      <a:pt x="346" y="279"/>
                    </a:lnTo>
                    <a:lnTo>
                      <a:pt x="349" y="263"/>
                    </a:lnTo>
                    <a:lnTo>
                      <a:pt x="349" y="144"/>
                    </a:lnTo>
                    <a:lnTo>
                      <a:pt x="345" y="126"/>
                    </a:lnTo>
                    <a:lnTo>
                      <a:pt x="339" y="111"/>
                    </a:lnTo>
                    <a:close/>
                    <a:moveTo>
                      <a:pt x="125" y="80"/>
                    </a:moveTo>
                    <a:lnTo>
                      <a:pt x="108" y="82"/>
                    </a:lnTo>
                    <a:lnTo>
                      <a:pt x="92" y="89"/>
                    </a:lnTo>
                    <a:lnTo>
                      <a:pt x="78" y="98"/>
                    </a:lnTo>
                    <a:lnTo>
                      <a:pt x="67" y="112"/>
                    </a:lnTo>
                    <a:lnTo>
                      <a:pt x="61" y="127"/>
                    </a:lnTo>
                    <a:lnTo>
                      <a:pt x="59" y="144"/>
                    </a:lnTo>
                    <a:lnTo>
                      <a:pt x="59" y="263"/>
                    </a:lnTo>
                    <a:lnTo>
                      <a:pt x="61" y="279"/>
                    </a:lnTo>
                    <a:lnTo>
                      <a:pt x="67" y="295"/>
                    </a:lnTo>
                    <a:lnTo>
                      <a:pt x="78" y="308"/>
                    </a:lnTo>
                    <a:lnTo>
                      <a:pt x="92" y="318"/>
                    </a:lnTo>
                    <a:lnTo>
                      <a:pt x="108" y="324"/>
                    </a:lnTo>
                    <a:lnTo>
                      <a:pt x="125" y="326"/>
                    </a:lnTo>
                    <a:lnTo>
                      <a:pt x="170" y="326"/>
                    </a:lnTo>
                    <a:lnTo>
                      <a:pt x="160" y="307"/>
                    </a:lnTo>
                    <a:lnTo>
                      <a:pt x="147" y="285"/>
                    </a:lnTo>
                    <a:lnTo>
                      <a:pt x="132" y="266"/>
                    </a:lnTo>
                    <a:lnTo>
                      <a:pt x="116" y="252"/>
                    </a:lnTo>
                    <a:lnTo>
                      <a:pt x="101" y="240"/>
                    </a:lnTo>
                    <a:lnTo>
                      <a:pt x="87" y="232"/>
                    </a:lnTo>
                    <a:lnTo>
                      <a:pt x="76" y="226"/>
                    </a:lnTo>
                    <a:lnTo>
                      <a:pt x="67" y="223"/>
                    </a:lnTo>
                    <a:lnTo>
                      <a:pt x="64" y="222"/>
                    </a:lnTo>
                    <a:lnTo>
                      <a:pt x="80" y="167"/>
                    </a:lnTo>
                    <a:lnTo>
                      <a:pt x="85" y="168"/>
                    </a:lnTo>
                    <a:lnTo>
                      <a:pt x="94" y="171"/>
                    </a:lnTo>
                    <a:lnTo>
                      <a:pt x="108" y="178"/>
                    </a:lnTo>
                    <a:lnTo>
                      <a:pt x="124" y="188"/>
                    </a:lnTo>
                    <a:lnTo>
                      <a:pt x="144" y="200"/>
                    </a:lnTo>
                    <a:lnTo>
                      <a:pt x="163" y="218"/>
                    </a:lnTo>
                    <a:lnTo>
                      <a:pt x="183" y="238"/>
                    </a:lnTo>
                    <a:lnTo>
                      <a:pt x="196" y="216"/>
                    </a:lnTo>
                    <a:lnTo>
                      <a:pt x="211" y="191"/>
                    </a:lnTo>
                    <a:lnTo>
                      <a:pt x="228" y="164"/>
                    </a:lnTo>
                    <a:lnTo>
                      <a:pt x="246" y="136"/>
                    </a:lnTo>
                    <a:lnTo>
                      <a:pt x="267" y="108"/>
                    </a:lnTo>
                    <a:lnTo>
                      <a:pt x="288" y="80"/>
                    </a:lnTo>
                    <a:lnTo>
                      <a:pt x="285" y="80"/>
                    </a:lnTo>
                    <a:lnTo>
                      <a:pt x="281" y="80"/>
                    </a:lnTo>
                    <a:lnTo>
                      <a:pt x="125" y="80"/>
                    </a:lnTo>
                    <a:close/>
                    <a:moveTo>
                      <a:pt x="375" y="0"/>
                    </a:moveTo>
                    <a:lnTo>
                      <a:pt x="406" y="49"/>
                    </a:lnTo>
                    <a:lnTo>
                      <a:pt x="379" y="69"/>
                    </a:lnTo>
                    <a:lnTo>
                      <a:pt x="394" y="92"/>
                    </a:lnTo>
                    <a:lnTo>
                      <a:pt x="402" y="117"/>
                    </a:lnTo>
                    <a:lnTo>
                      <a:pt x="406" y="144"/>
                    </a:lnTo>
                    <a:lnTo>
                      <a:pt x="406" y="263"/>
                    </a:lnTo>
                    <a:lnTo>
                      <a:pt x="402" y="291"/>
                    </a:lnTo>
                    <a:lnTo>
                      <a:pt x="394" y="316"/>
                    </a:lnTo>
                    <a:lnTo>
                      <a:pt x="379" y="338"/>
                    </a:lnTo>
                    <a:lnTo>
                      <a:pt x="359" y="358"/>
                    </a:lnTo>
                    <a:lnTo>
                      <a:pt x="336" y="372"/>
                    </a:lnTo>
                    <a:lnTo>
                      <a:pt x="310" y="381"/>
                    </a:lnTo>
                    <a:lnTo>
                      <a:pt x="281" y="384"/>
                    </a:lnTo>
                    <a:lnTo>
                      <a:pt x="125" y="384"/>
                    </a:lnTo>
                    <a:lnTo>
                      <a:pt x="97" y="381"/>
                    </a:lnTo>
                    <a:lnTo>
                      <a:pt x="71" y="372"/>
                    </a:lnTo>
                    <a:lnTo>
                      <a:pt x="48" y="358"/>
                    </a:lnTo>
                    <a:lnTo>
                      <a:pt x="29" y="338"/>
                    </a:lnTo>
                    <a:lnTo>
                      <a:pt x="13" y="316"/>
                    </a:lnTo>
                    <a:lnTo>
                      <a:pt x="4" y="291"/>
                    </a:lnTo>
                    <a:lnTo>
                      <a:pt x="0" y="263"/>
                    </a:lnTo>
                    <a:lnTo>
                      <a:pt x="0" y="144"/>
                    </a:lnTo>
                    <a:lnTo>
                      <a:pt x="4" y="117"/>
                    </a:lnTo>
                    <a:lnTo>
                      <a:pt x="13" y="91"/>
                    </a:lnTo>
                    <a:lnTo>
                      <a:pt x="29" y="68"/>
                    </a:lnTo>
                    <a:lnTo>
                      <a:pt x="48" y="49"/>
                    </a:lnTo>
                    <a:lnTo>
                      <a:pt x="71" y="35"/>
                    </a:lnTo>
                    <a:lnTo>
                      <a:pt x="97" y="25"/>
                    </a:lnTo>
                    <a:lnTo>
                      <a:pt x="125" y="22"/>
                    </a:lnTo>
                    <a:lnTo>
                      <a:pt x="281" y="22"/>
                    </a:lnTo>
                    <a:lnTo>
                      <a:pt x="308" y="25"/>
                    </a:lnTo>
                    <a:lnTo>
                      <a:pt x="332" y="34"/>
                    </a:lnTo>
                    <a:lnTo>
                      <a:pt x="354" y="15"/>
                    </a:lnTo>
                    <a:lnTo>
                      <a:pt x="375" y="0"/>
                    </a:lnTo>
                    <a:close/>
                  </a:path>
                </a:pathLst>
              </a:custGeom>
              <a:solidFill>
                <a:schemeClr val="tx1"/>
              </a:solidFill>
              <a:ln w="3175">
                <a:noFill/>
                <a:prstDash val="solid"/>
                <a:round/>
                <a:headEnd/>
                <a:tailEnd/>
              </a:ln>
            </p:spPr>
            <p:txBody>
              <a:bodyPr/>
              <a:lstStyle/>
              <a:p>
                <a:endParaRPr lang="de-DE" sz="800" b="0" dirty="0"/>
              </a:p>
            </p:txBody>
          </p:sp>
          <p:sp>
            <p:nvSpPr>
              <p:cNvPr id="219" name="Freeform 299"/>
              <p:cNvSpPr>
                <a:spLocks noEditPoints="1"/>
              </p:cNvSpPr>
              <p:nvPr/>
            </p:nvSpPr>
            <p:spPr bwMode="auto">
              <a:xfrm>
                <a:off x="-1176949" y="5503383"/>
                <a:ext cx="63500" cy="61912"/>
              </a:xfrm>
              <a:custGeom>
                <a:avLst/>
                <a:gdLst>
                  <a:gd name="T0" fmla="*/ 319 w 406"/>
                  <a:gd name="T1" fmla="*/ 134 h 386"/>
                  <a:gd name="T2" fmla="*/ 285 w 406"/>
                  <a:gd name="T3" fmla="*/ 182 h 386"/>
                  <a:gd name="T4" fmla="*/ 256 w 406"/>
                  <a:gd name="T5" fmla="*/ 229 h 386"/>
                  <a:gd name="T6" fmla="*/ 232 w 406"/>
                  <a:gd name="T7" fmla="*/ 268 h 386"/>
                  <a:gd name="T8" fmla="*/ 217 w 406"/>
                  <a:gd name="T9" fmla="*/ 297 h 386"/>
                  <a:gd name="T10" fmla="*/ 212 w 406"/>
                  <a:gd name="T11" fmla="*/ 308 h 386"/>
                  <a:gd name="T12" fmla="*/ 281 w 406"/>
                  <a:gd name="T13" fmla="*/ 328 h 386"/>
                  <a:gd name="T14" fmla="*/ 315 w 406"/>
                  <a:gd name="T15" fmla="*/ 319 h 386"/>
                  <a:gd name="T16" fmla="*/ 339 w 406"/>
                  <a:gd name="T17" fmla="*/ 295 h 386"/>
                  <a:gd name="T18" fmla="*/ 349 w 406"/>
                  <a:gd name="T19" fmla="*/ 263 h 386"/>
                  <a:gd name="T20" fmla="*/ 345 w 406"/>
                  <a:gd name="T21" fmla="*/ 127 h 386"/>
                  <a:gd name="T22" fmla="*/ 125 w 406"/>
                  <a:gd name="T23" fmla="*/ 80 h 386"/>
                  <a:gd name="T24" fmla="*/ 92 w 406"/>
                  <a:gd name="T25" fmla="*/ 90 h 386"/>
                  <a:gd name="T26" fmla="*/ 67 w 406"/>
                  <a:gd name="T27" fmla="*/ 112 h 386"/>
                  <a:gd name="T28" fmla="*/ 59 w 406"/>
                  <a:gd name="T29" fmla="*/ 145 h 386"/>
                  <a:gd name="T30" fmla="*/ 61 w 406"/>
                  <a:gd name="T31" fmla="*/ 280 h 386"/>
                  <a:gd name="T32" fmla="*/ 78 w 406"/>
                  <a:gd name="T33" fmla="*/ 308 h 386"/>
                  <a:gd name="T34" fmla="*/ 108 w 406"/>
                  <a:gd name="T35" fmla="*/ 325 h 386"/>
                  <a:gd name="T36" fmla="*/ 170 w 406"/>
                  <a:gd name="T37" fmla="*/ 328 h 386"/>
                  <a:gd name="T38" fmla="*/ 147 w 406"/>
                  <a:gd name="T39" fmla="*/ 286 h 386"/>
                  <a:gd name="T40" fmla="*/ 116 w 406"/>
                  <a:gd name="T41" fmla="*/ 252 h 386"/>
                  <a:gd name="T42" fmla="*/ 87 w 406"/>
                  <a:gd name="T43" fmla="*/ 233 h 386"/>
                  <a:gd name="T44" fmla="*/ 67 w 406"/>
                  <a:gd name="T45" fmla="*/ 224 h 386"/>
                  <a:gd name="T46" fmla="*/ 80 w 406"/>
                  <a:gd name="T47" fmla="*/ 167 h 386"/>
                  <a:gd name="T48" fmla="*/ 94 w 406"/>
                  <a:gd name="T49" fmla="*/ 173 h 386"/>
                  <a:gd name="T50" fmla="*/ 124 w 406"/>
                  <a:gd name="T51" fmla="*/ 189 h 386"/>
                  <a:gd name="T52" fmla="*/ 163 w 406"/>
                  <a:gd name="T53" fmla="*/ 218 h 386"/>
                  <a:gd name="T54" fmla="*/ 196 w 406"/>
                  <a:gd name="T55" fmla="*/ 217 h 386"/>
                  <a:gd name="T56" fmla="*/ 228 w 406"/>
                  <a:gd name="T57" fmla="*/ 165 h 386"/>
                  <a:gd name="T58" fmla="*/ 267 w 406"/>
                  <a:gd name="T59" fmla="*/ 109 h 386"/>
                  <a:gd name="T60" fmla="*/ 285 w 406"/>
                  <a:gd name="T61" fmla="*/ 81 h 386"/>
                  <a:gd name="T62" fmla="*/ 125 w 406"/>
                  <a:gd name="T63" fmla="*/ 80 h 386"/>
                  <a:gd name="T64" fmla="*/ 406 w 406"/>
                  <a:gd name="T65" fmla="*/ 50 h 386"/>
                  <a:gd name="T66" fmla="*/ 394 w 406"/>
                  <a:gd name="T67" fmla="*/ 92 h 386"/>
                  <a:gd name="T68" fmla="*/ 406 w 406"/>
                  <a:gd name="T69" fmla="*/ 145 h 386"/>
                  <a:gd name="T70" fmla="*/ 402 w 406"/>
                  <a:gd name="T71" fmla="*/ 291 h 386"/>
                  <a:gd name="T72" fmla="*/ 379 w 406"/>
                  <a:gd name="T73" fmla="*/ 339 h 386"/>
                  <a:gd name="T74" fmla="*/ 336 w 406"/>
                  <a:gd name="T75" fmla="*/ 373 h 386"/>
                  <a:gd name="T76" fmla="*/ 281 w 406"/>
                  <a:gd name="T77" fmla="*/ 386 h 386"/>
                  <a:gd name="T78" fmla="*/ 97 w 406"/>
                  <a:gd name="T79" fmla="*/ 382 h 386"/>
                  <a:gd name="T80" fmla="*/ 48 w 406"/>
                  <a:gd name="T81" fmla="*/ 359 h 386"/>
                  <a:gd name="T82" fmla="*/ 13 w 406"/>
                  <a:gd name="T83" fmla="*/ 317 h 386"/>
                  <a:gd name="T84" fmla="*/ 0 w 406"/>
                  <a:gd name="T85" fmla="*/ 263 h 386"/>
                  <a:gd name="T86" fmla="*/ 4 w 406"/>
                  <a:gd name="T87" fmla="*/ 117 h 386"/>
                  <a:gd name="T88" fmla="*/ 29 w 406"/>
                  <a:gd name="T89" fmla="*/ 68 h 386"/>
                  <a:gd name="T90" fmla="*/ 71 w 406"/>
                  <a:gd name="T91" fmla="*/ 35 h 386"/>
                  <a:gd name="T92" fmla="*/ 125 w 406"/>
                  <a:gd name="T93" fmla="*/ 23 h 386"/>
                  <a:gd name="T94" fmla="*/ 308 w 406"/>
                  <a:gd name="T95" fmla="*/ 26 h 386"/>
                  <a:gd name="T96" fmla="*/ 354 w 406"/>
                  <a:gd name="T97" fmla="*/ 1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6">
                    <a:moveTo>
                      <a:pt x="339" y="111"/>
                    </a:moveTo>
                    <a:lnTo>
                      <a:pt x="319" y="134"/>
                    </a:lnTo>
                    <a:lnTo>
                      <a:pt x="302" y="158"/>
                    </a:lnTo>
                    <a:lnTo>
                      <a:pt x="285" y="182"/>
                    </a:lnTo>
                    <a:lnTo>
                      <a:pt x="270" y="206"/>
                    </a:lnTo>
                    <a:lnTo>
                      <a:pt x="256" y="229"/>
                    </a:lnTo>
                    <a:lnTo>
                      <a:pt x="243" y="250"/>
                    </a:lnTo>
                    <a:lnTo>
                      <a:pt x="232" y="268"/>
                    </a:lnTo>
                    <a:lnTo>
                      <a:pt x="224" y="285"/>
                    </a:lnTo>
                    <a:lnTo>
                      <a:pt x="217" y="297"/>
                    </a:lnTo>
                    <a:lnTo>
                      <a:pt x="213" y="305"/>
                    </a:lnTo>
                    <a:lnTo>
                      <a:pt x="212" y="308"/>
                    </a:lnTo>
                    <a:lnTo>
                      <a:pt x="202" y="328"/>
                    </a:lnTo>
                    <a:lnTo>
                      <a:pt x="281" y="328"/>
                    </a:lnTo>
                    <a:lnTo>
                      <a:pt x="299" y="325"/>
                    </a:lnTo>
                    <a:lnTo>
                      <a:pt x="315" y="319"/>
                    </a:lnTo>
                    <a:lnTo>
                      <a:pt x="328" y="308"/>
                    </a:lnTo>
                    <a:lnTo>
                      <a:pt x="339" y="295"/>
                    </a:lnTo>
                    <a:lnTo>
                      <a:pt x="346" y="280"/>
                    </a:lnTo>
                    <a:lnTo>
                      <a:pt x="349" y="263"/>
                    </a:lnTo>
                    <a:lnTo>
                      <a:pt x="349" y="145"/>
                    </a:lnTo>
                    <a:lnTo>
                      <a:pt x="345" y="127"/>
                    </a:lnTo>
                    <a:lnTo>
                      <a:pt x="339" y="111"/>
                    </a:lnTo>
                    <a:close/>
                    <a:moveTo>
                      <a:pt x="125" y="80"/>
                    </a:moveTo>
                    <a:lnTo>
                      <a:pt x="108" y="83"/>
                    </a:lnTo>
                    <a:lnTo>
                      <a:pt x="92" y="90"/>
                    </a:lnTo>
                    <a:lnTo>
                      <a:pt x="78" y="99"/>
                    </a:lnTo>
                    <a:lnTo>
                      <a:pt x="67" y="112"/>
                    </a:lnTo>
                    <a:lnTo>
                      <a:pt x="61" y="127"/>
                    </a:lnTo>
                    <a:lnTo>
                      <a:pt x="59" y="145"/>
                    </a:lnTo>
                    <a:lnTo>
                      <a:pt x="59" y="263"/>
                    </a:lnTo>
                    <a:lnTo>
                      <a:pt x="61" y="280"/>
                    </a:lnTo>
                    <a:lnTo>
                      <a:pt x="67" y="295"/>
                    </a:lnTo>
                    <a:lnTo>
                      <a:pt x="78" y="308"/>
                    </a:lnTo>
                    <a:lnTo>
                      <a:pt x="92" y="319"/>
                    </a:lnTo>
                    <a:lnTo>
                      <a:pt x="108" y="325"/>
                    </a:lnTo>
                    <a:lnTo>
                      <a:pt x="125" y="328"/>
                    </a:lnTo>
                    <a:lnTo>
                      <a:pt x="170" y="328"/>
                    </a:lnTo>
                    <a:lnTo>
                      <a:pt x="160" y="308"/>
                    </a:lnTo>
                    <a:lnTo>
                      <a:pt x="147" y="286"/>
                    </a:lnTo>
                    <a:lnTo>
                      <a:pt x="132" y="267"/>
                    </a:lnTo>
                    <a:lnTo>
                      <a:pt x="116" y="252"/>
                    </a:lnTo>
                    <a:lnTo>
                      <a:pt x="101" y="242"/>
                    </a:lnTo>
                    <a:lnTo>
                      <a:pt x="87" y="233"/>
                    </a:lnTo>
                    <a:lnTo>
                      <a:pt x="76" y="228"/>
                    </a:lnTo>
                    <a:lnTo>
                      <a:pt x="67" y="224"/>
                    </a:lnTo>
                    <a:lnTo>
                      <a:pt x="64" y="223"/>
                    </a:lnTo>
                    <a:lnTo>
                      <a:pt x="80" y="167"/>
                    </a:lnTo>
                    <a:lnTo>
                      <a:pt x="85" y="169"/>
                    </a:lnTo>
                    <a:lnTo>
                      <a:pt x="94" y="173"/>
                    </a:lnTo>
                    <a:lnTo>
                      <a:pt x="108" y="179"/>
                    </a:lnTo>
                    <a:lnTo>
                      <a:pt x="124" y="189"/>
                    </a:lnTo>
                    <a:lnTo>
                      <a:pt x="144" y="202"/>
                    </a:lnTo>
                    <a:lnTo>
                      <a:pt x="163" y="218"/>
                    </a:lnTo>
                    <a:lnTo>
                      <a:pt x="183" y="238"/>
                    </a:lnTo>
                    <a:lnTo>
                      <a:pt x="196" y="217"/>
                    </a:lnTo>
                    <a:lnTo>
                      <a:pt x="211" y="192"/>
                    </a:lnTo>
                    <a:lnTo>
                      <a:pt x="228" y="165"/>
                    </a:lnTo>
                    <a:lnTo>
                      <a:pt x="246" y="137"/>
                    </a:lnTo>
                    <a:lnTo>
                      <a:pt x="267" y="109"/>
                    </a:lnTo>
                    <a:lnTo>
                      <a:pt x="288" y="81"/>
                    </a:lnTo>
                    <a:lnTo>
                      <a:pt x="285" y="81"/>
                    </a:lnTo>
                    <a:lnTo>
                      <a:pt x="281" y="80"/>
                    </a:lnTo>
                    <a:lnTo>
                      <a:pt x="125" y="80"/>
                    </a:lnTo>
                    <a:close/>
                    <a:moveTo>
                      <a:pt x="375" y="0"/>
                    </a:moveTo>
                    <a:lnTo>
                      <a:pt x="406" y="50"/>
                    </a:lnTo>
                    <a:lnTo>
                      <a:pt x="379" y="69"/>
                    </a:lnTo>
                    <a:lnTo>
                      <a:pt x="394" y="92"/>
                    </a:lnTo>
                    <a:lnTo>
                      <a:pt x="402" y="118"/>
                    </a:lnTo>
                    <a:lnTo>
                      <a:pt x="406" y="145"/>
                    </a:lnTo>
                    <a:lnTo>
                      <a:pt x="406" y="263"/>
                    </a:lnTo>
                    <a:lnTo>
                      <a:pt x="402" y="291"/>
                    </a:lnTo>
                    <a:lnTo>
                      <a:pt x="394" y="317"/>
                    </a:lnTo>
                    <a:lnTo>
                      <a:pt x="379" y="339"/>
                    </a:lnTo>
                    <a:lnTo>
                      <a:pt x="359" y="359"/>
                    </a:lnTo>
                    <a:lnTo>
                      <a:pt x="336" y="373"/>
                    </a:lnTo>
                    <a:lnTo>
                      <a:pt x="310" y="382"/>
                    </a:lnTo>
                    <a:lnTo>
                      <a:pt x="281" y="386"/>
                    </a:lnTo>
                    <a:lnTo>
                      <a:pt x="125" y="386"/>
                    </a:lnTo>
                    <a:lnTo>
                      <a:pt x="97" y="382"/>
                    </a:lnTo>
                    <a:lnTo>
                      <a:pt x="71" y="373"/>
                    </a:lnTo>
                    <a:lnTo>
                      <a:pt x="48" y="359"/>
                    </a:lnTo>
                    <a:lnTo>
                      <a:pt x="29" y="339"/>
                    </a:lnTo>
                    <a:lnTo>
                      <a:pt x="13" y="317"/>
                    </a:lnTo>
                    <a:lnTo>
                      <a:pt x="4" y="291"/>
                    </a:lnTo>
                    <a:lnTo>
                      <a:pt x="0" y="263"/>
                    </a:lnTo>
                    <a:lnTo>
                      <a:pt x="0" y="145"/>
                    </a:lnTo>
                    <a:lnTo>
                      <a:pt x="4" y="117"/>
                    </a:lnTo>
                    <a:lnTo>
                      <a:pt x="13" y="91"/>
                    </a:lnTo>
                    <a:lnTo>
                      <a:pt x="29" y="68"/>
                    </a:lnTo>
                    <a:lnTo>
                      <a:pt x="48" y="50"/>
                    </a:lnTo>
                    <a:lnTo>
                      <a:pt x="71" y="35"/>
                    </a:lnTo>
                    <a:lnTo>
                      <a:pt x="97" y="26"/>
                    </a:lnTo>
                    <a:lnTo>
                      <a:pt x="125" y="23"/>
                    </a:lnTo>
                    <a:lnTo>
                      <a:pt x="281" y="23"/>
                    </a:lnTo>
                    <a:lnTo>
                      <a:pt x="308" y="26"/>
                    </a:lnTo>
                    <a:lnTo>
                      <a:pt x="332" y="34"/>
                    </a:lnTo>
                    <a:lnTo>
                      <a:pt x="354"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220" name="Freeform 300"/>
              <p:cNvSpPr>
                <a:spLocks noEditPoints="1"/>
              </p:cNvSpPr>
              <p:nvPr/>
            </p:nvSpPr>
            <p:spPr bwMode="auto">
              <a:xfrm>
                <a:off x="-1176949" y="5573233"/>
                <a:ext cx="63500" cy="61912"/>
              </a:xfrm>
              <a:custGeom>
                <a:avLst/>
                <a:gdLst>
                  <a:gd name="T0" fmla="*/ 319 w 406"/>
                  <a:gd name="T1" fmla="*/ 134 h 385"/>
                  <a:gd name="T2" fmla="*/ 285 w 406"/>
                  <a:gd name="T3" fmla="*/ 181 h 385"/>
                  <a:gd name="T4" fmla="*/ 256 w 406"/>
                  <a:gd name="T5" fmla="*/ 228 h 385"/>
                  <a:gd name="T6" fmla="*/ 232 w 406"/>
                  <a:gd name="T7" fmla="*/ 267 h 385"/>
                  <a:gd name="T8" fmla="*/ 217 w 406"/>
                  <a:gd name="T9" fmla="*/ 297 h 385"/>
                  <a:gd name="T10" fmla="*/ 212 w 406"/>
                  <a:gd name="T11" fmla="*/ 307 h 385"/>
                  <a:gd name="T12" fmla="*/ 281 w 406"/>
                  <a:gd name="T13" fmla="*/ 327 h 385"/>
                  <a:gd name="T14" fmla="*/ 315 w 406"/>
                  <a:gd name="T15" fmla="*/ 318 h 385"/>
                  <a:gd name="T16" fmla="*/ 339 w 406"/>
                  <a:gd name="T17" fmla="*/ 295 h 385"/>
                  <a:gd name="T18" fmla="*/ 349 w 406"/>
                  <a:gd name="T19" fmla="*/ 262 h 385"/>
                  <a:gd name="T20" fmla="*/ 345 w 406"/>
                  <a:gd name="T21" fmla="*/ 126 h 385"/>
                  <a:gd name="T22" fmla="*/ 125 w 406"/>
                  <a:gd name="T23" fmla="*/ 79 h 385"/>
                  <a:gd name="T24" fmla="*/ 92 w 406"/>
                  <a:gd name="T25" fmla="*/ 89 h 385"/>
                  <a:gd name="T26" fmla="*/ 67 w 406"/>
                  <a:gd name="T27" fmla="*/ 111 h 385"/>
                  <a:gd name="T28" fmla="*/ 59 w 406"/>
                  <a:gd name="T29" fmla="*/ 145 h 385"/>
                  <a:gd name="T30" fmla="*/ 61 w 406"/>
                  <a:gd name="T31" fmla="*/ 279 h 385"/>
                  <a:gd name="T32" fmla="*/ 78 w 406"/>
                  <a:gd name="T33" fmla="*/ 308 h 385"/>
                  <a:gd name="T34" fmla="*/ 108 w 406"/>
                  <a:gd name="T35" fmla="*/ 324 h 385"/>
                  <a:gd name="T36" fmla="*/ 170 w 406"/>
                  <a:gd name="T37" fmla="*/ 327 h 385"/>
                  <a:gd name="T38" fmla="*/ 147 w 406"/>
                  <a:gd name="T39" fmla="*/ 285 h 385"/>
                  <a:gd name="T40" fmla="*/ 116 w 406"/>
                  <a:gd name="T41" fmla="*/ 252 h 385"/>
                  <a:gd name="T42" fmla="*/ 87 w 406"/>
                  <a:gd name="T43" fmla="*/ 232 h 385"/>
                  <a:gd name="T44" fmla="*/ 67 w 406"/>
                  <a:gd name="T45" fmla="*/ 223 h 385"/>
                  <a:gd name="T46" fmla="*/ 80 w 406"/>
                  <a:gd name="T47" fmla="*/ 167 h 385"/>
                  <a:gd name="T48" fmla="*/ 94 w 406"/>
                  <a:gd name="T49" fmla="*/ 172 h 385"/>
                  <a:gd name="T50" fmla="*/ 124 w 406"/>
                  <a:gd name="T51" fmla="*/ 188 h 385"/>
                  <a:gd name="T52" fmla="*/ 163 w 406"/>
                  <a:gd name="T53" fmla="*/ 217 h 385"/>
                  <a:gd name="T54" fmla="*/ 196 w 406"/>
                  <a:gd name="T55" fmla="*/ 216 h 385"/>
                  <a:gd name="T56" fmla="*/ 228 w 406"/>
                  <a:gd name="T57" fmla="*/ 164 h 385"/>
                  <a:gd name="T58" fmla="*/ 267 w 406"/>
                  <a:gd name="T59" fmla="*/ 108 h 385"/>
                  <a:gd name="T60" fmla="*/ 285 w 406"/>
                  <a:gd name="T61" fmla="*/ 80 h 385"/>
                  <a:gd name="T62" fmla="*/ 125 w 406"/>
                  <a:gd name="T63" fmla="*/ 79 h 385"/>
                  <a:gd name="T64" fmla="*/ 406 w 406"/>
                  <a:gd name="T65" fmla="*/ 49 h 385"/>
                  <a:gd name="T66" fmla="*/ 394 w 406"/>
                  <a:gd name="T67" fmla="*/ 91 h 385"/>
                  <a:gd name="T68" fmla="*/ 406 w 406"/>
                  <a:gd name="T69" fmla="*/ 145 h 385"/>
                  <a:gd name="T70" fmla="*/ 402 w 406"/>
                  <a:gd name="T71" fmla="*/ 290 h 385"/>
                  <a:gd name="T72" fmla="*/ 379 w 406"/>
                  <a:gd name="T73" fmla="*/ 338 h 385"/>
                  <a:gd name="T74" fmla="*/ 336 w 406"/>
                  <a:gd name="T75" fmla="*/ 372 h 385"/>
                  <a:gd name="T76" fmla="*/ 281 w 406"/>
                  <a:gd name="T77" fmla="*/ 385 h 385"/>
                  <a:gd name="T78" fmla="*/ 97 w 406"/>
                  <a:gd name="T79" fmla="*/ 382 h 385"/>
                  <a:gd name="T80" fmla="*/ 48 w 406"/>
                  <a:gd name="T81" fmla="*/ 358 h 385"/>
                  <a:gd name="T82" fmla="*/ 13 w 406"/>
                  <a:gd name="T83" fmla="*/ 316 h 385"/>
                  <a:gd name="T84" fmla="*/ 0 w 406"/>
                  <a:gd name="T85" fmla="*/ 262 h 385"/>
                  <a:gd name="T86" fmla="*/ 4 w 406"/>
                  <a:gd name="T87" fmla="*/ 117 h 385"/>
                  <a:gd name="T88" fmla="*/ 29 w 406"/>
                  <a:gd name="T89" fmla="*/ 68 h 385"/>
                  <a:gd name="T90" fmla="*/ 71 w 406"/>
                  <a:gd name="T91" fmla="*/ 35 h 385"/>
                  <a:gd name="T92" fmla="*/ 125 w 406"/>
                  <a:gd name="T93" fmla="*/ 22 h 385"/>
                  <a:gd name="T94" fmla="*/ 308 w 406"/>
                  <a:gd name="T95" fmla="*/ 25 h 385"/>
                  <a:gd name="T96" fmla="*/ 354 w 406"/>
                  <a:gd name="T97"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5">
                    <a:moveTo>
                      <a:pt x="339" y="110"/>
                    </a:moveTo>
                    <a:lnTo>
                      <a:pt x="319" y="134"/>
                    </a:lnTo>
                    <a:lnTo>
                      <a:pt x="302" y="158"/>
                    </a:lnTo>
                    <a:lnTo>
                      <a:pt x="285" y="181"/>
                    </a:lnTo>
                    <a:lnTo>
                      <a:pt x="270" y="205"/>
                    </a:lnTo>
                    <a:lnTo>
                      <a:pt x="256" y="228"/>
                    </a:lnTo>
                    <a:lnTo>
                      <a:pt x="243" y="249"/>
                    </a:lnTo>
                    <a:lnTo>
                      <a:pt x="232" y="267"/>
                    </a:lnTo>
                    <a:lnTo>
                      <a:pt x="224" y="284"/>
                    </a:lnTo>
                    <a:lnTo>
                      <a:pt x="217" y="297"/>
                    </a:lnTo>
                    <a:lnTo>
                      <a:pt x="213" y="304"/>
                    </a:lnTo>
                    <a:lnTo>
                      <a:pt x="212" y="307"/>
                    </a:lnTo>
                    <a:lnTo>
                      <a:pt x="202" y="327"/>
                    </a:lnTo>
                    <a:lnTo>
                      <a:pt x="281" y="327"/>
                    </a:lnTo>
                    <a:lnTo>
                      <a:pt x="299" y="324"/>
                    </a:lnTo>
                    <a:lnTo>
                      <a:pt x="315" y="318"/>
                    </a:lnTo>
                    <a:lnTo>
                      <a:pt x="328" y="308"/>
                    </a:lnTo>
                    <a:lnTo>
                      <a:pt x="339" y="295"/>
                    </a:lnTo>
                    <a:lnTo>
                      <a:pt x="346" y="279"/>
                    </a:lnTo>
                    <a:lnTo>
                      <a:pt x="349" y="262"/>
                    </a:lnTo>
                    <a:lnTo>
                      <a:pt x="349" y="145"/>
                    </a:lnTo>
                    <a:lnTo>
                      <a:pt x="345" y="126"/>
                    </a:lnTo>
                    <a:lnTo>
                      <a:pt x="339" y="110"/>
                    </a:lnTo>
                    <a:close/>
                    <a:moveTo>
                      <a:pt x="125" y="79"/>
                    </a:moveTo>
                    <a:lnTo>
                      <a:pt x="108" y="82"/>
                    </a:lnTo>
                    <a:lnTo>
                      <a:pt x="92" y="89"/>
                    </a:lnTo>
                    <a:lnTo>
                      <a:pt x="78" y="99"/>
                    </a:lnTo>
                    <a:lnTo>
                      <a:pt x="67" y="111"/>
                    </a:lnTo>
                    <a:lnTo>
                      <a:pt x="61" y="128"/>
                    </a:lnTo>
                    <a:lnTo>
                      <a:pt x="59" y="145"/>
                    </a:lnTo>
                    <a:lnTo>
                      <a:pt x="59" y="262"/>
                    </a:lnTo>
                    <a:lnTo>
                      <a:pt x="61" y="279"/>
                    </a:lnTo>
                    <a:lnTo>
                      <a:pt x="67" y="295"/>
                    </a:lnTo>
                    <a:lnTo>
                      <a:pt x="78" y="308"/>
                    </a:lnTo>
                    <a:lnTo>
                      <a:pt x="92" y="318"/>
                    </a:lnTo>
                    <a:lnTo>
                      <a:pt x="108" y="324"/>
                    </a:lnTo>
                    <a:lnTo>
                      <a:pt x="125" y="327"/>
                    </a:lnTo>
                    <a:lnTo>
                      <a:pt x="170" y="327"/>
                    </a:lnTo>
                    <a:lnTo>
                      <a:pt x="160" y="307"/>
                    </a:lnTo>
                    <a:lnTo>
                      <a:pt x="147" y="285"/>
                    </a:lnTo>
                    <a:lnTo>
                      <a:pt x="132" y="266"/>
                    </a:lnTo>
                    <a:lnTo>
                      <a:pt x="116" y="252"/>
                    </a:lnTo>
                    <a:lnTo>
                      <a:pt x="101" y="241"/>
                    </a:lnTo>
                    <a:lnTo>
                      <a:pt x="87" y="232"/>
                    </a:lnTo>
                    <a:lnTo>
                      <a:pt x="76" y="227"/>
                    </a:lnTo>
                    <a:lnTo>
                      <a:pt x="67" y="223"/>
                    </a:lnTo>
                    <a:lnTo>
                      <a:pt x="64" y="222"/>
                    </a:lnTo>
                    <a:lnTo>
                      <a:pt x="80" y="167"/>
                    </a:lnTo>
                    <a:lnTo>
                      <a:pt x="85" y="168"/>
                    </a:lnTo>
                    <a:lnTo>
                      <a:pt x="94" y="172"/>
                    </a:lnTo>
                    <a:lnTo>
                      <a:pt x="108" y="178"/>
                    </a:lnTo>
                    <a:lnTo>
                      <a:pt x="124" y="188"/>
                    </a:lnTo>
                    <a:lnTo>
                      <a:pt x="144" y="201"/>
                    </a:lnTo>
                    <a:lnTo>
                      <a:pt x="163" y="217"/>
                    </a:lnTo>
                    <a:lnTo>
                      <a:pt x="183" y="238"/>
                    </a:lnTo>
                    <a:lnTo>
                      <a:pt x="196" y="216"/>
                    </a:lnTo>
                    <a:lnTo>
                      <a:pt x="211" y="191"/>
                    </a:lnTo>
                    <a:lnTo>
                      <a:pt x="228" y="164"/>
                    </a:lnTo>
                    <a:lnTo>
                      <a:pt x="246" y="136"/>
                    </a:lnTo>
                    <a:lnTo>
                      <a:pt x="267" y="108"/>
                    </a:lnTo>
                    <a:lnTo>
                      <a:pt x="288" y="80"/>
                    </a:lnTo>
                    <a:lnTo>
                      <a:pt x="285" y="80"/>
                    </a:lnTo>
                    <a:lnTo>
                      <a:pt x="281" y="79"/>
                    </a:lnTo>
                    <a:lnTo>
                      <a:pt x="125" y="79"/>
                    </a:lnTo>
                    <a:close/>
                    <a:moveTo>
                      <a:pt x="375" y="0"/>
                    </a:moveTo>
                    <a:lnTo>
                      <a:pt x="406" y="49"/>
                    </a:lnTo>
                    <a:lnTo>
                      <a:pt x="379" y="69"/>
                    </a:lnTo>
                    <a:lnTo>
                      <a:pt x="394" y="91"/>
                    </a:lnTo>
                    <a:lnTo>
                      <a:pt x="402" y="117"/>
                    </a:lnTo>
                    <a:lnTo>
                      <a:pt x="406" y="145"/>
                    </a:lnTo>
                    <a:lnTo>
                      <a:pt x="406" y="262"/>
                    </a:lnTo>
                    <a:lnTo>
                      <a:pt x="402" y="290"/>
                    </a:lnTo>
                    <a:lnTo>
                      <a:pt x="394" y="316"/>
                    </a:lnTo>
                    <a:lnTo>
                      <a:pt x="379" y="338"/>
                    </a:lnTo>
                    <a:lnTo>
                      <a:pt x="359" y="358"/>
                    </a:lnTo>
                    <a:lnTo>
                      <a:pt x="336" y="372"/>
                    </a:lnTo>
                    <a:lnTo>
                      <a:pt x="310" y="382"/>
                    </a:lnTo>
                    <a:lnTo>
                      <a:pt x="281" y="385"/>
                    </a:lnTo>
                    <a:lnTo>
                      <a:pt x="125" y="385"/>
                    </a:lnTo>
                    <a:lnTo>
                      <a:pt x="97" y="382"/>
                    </a:lnTo>
                    <a:lnTo>
                      <a:pt x="71" y="372"/>
                    </a:lnTo>
                    <a:lnTo>
                      <a:pt x="48" y="358"/>
                    </a:lnTo>
                    <a:lnTo>
                      <a:pt x="29" y="338"/>
                    </a:lnTo>
                    <a:lnTo>
                      <a:pt x="13" y="316"/>
                    </a:lnTo>
                    <a:lnTo>
                      <a:pt x="4" y="290"/>
                    </a:lnTo>
                    <a:lnTo>
                      <a:pt x="0" y="262"/>
                    </a:lnTo>
                    <a:lnTo>
                      <a:pt x="0" y="145"/>
                    </a:lnTo>
                    <a:lnTo>
                      <a:pt x="4" y="117"/>
                    </a:lnTo>
                    <a:lnTo>
                      <a:pt x="13" y="91"/>
                    </a:lnTo>
                    <a:lnTo>
                      <a:pt x="29" y="68"/>
                    </a:lnTo>
                    <a:lnTo>
                      <a:pt x="48" y="49"/>
                    </a:lnTo>
                    <a:lnTo>
                      <a:pt x="71" y="35"/>
                    </a:lnTo>
                    <a:lnTo>
                      <a:pt x="97" y="25"/>
                    </a:lnTo>
                    <a:lnTo>
                      <a:pt x="125" y="22"/>
                    </a:lnTo>
                    <a:lnTo>
                      <a:pt x="281" y="22"/>
                    </a:lnTo>
                    <a:lnTo>
                      <a:pt x="308" y="25"/>
                    </a:lnTo>
                    <a:lnTo>
                      <a:pt x="332" y="33"/>
                    </a:lnTo>
                    <a:lnTo>
                      <a:pt x="354"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221" name="Freeform 301"/>
              <p:cNvSpPr>
                <a:spLocks noEditPoints="1"/>
              </p:cNvSpPr>
              <p:nvPr/>
            </p:nvSpPr>
            <p:spPr bwMode="auto">
              <a:xfrm>
                <a:off x="-1176949" y="5644671"/>
                <a:ext cx="63500" cy="58737"/>
              </a:xfrm>
              <a:custGeom>
                <a:avLst/>
                <a:gdLst>
                  <a:gd name="T0" fmla="*/ 323 w 406"/>
                  <a:gd name="T1" fmla="*/ 130 h 377"/>
                  <a:gd name="T2" fmla="*/ 287 w 406"/>
                  <a:gd name="T3" fmla="*/ 179 h 377"/>
                  <a:gd name="T4" fmla="*/ 257 w 406"/>
                  <a:gd name="T5" fmla="*/ 226 h 377"/>
                  <a:gd name="T6" fmla="*/ 233 w 406"/>
                  <a:gd name="T7" fmla="*/ 267 h 377"/>
                  <a:gd name="T8" fmla="*/ 217 w 406"/>
                  <a:gd name="T9" fmla="*/ 296 h 377"/>
                  <a:gd name="T10" fmla="*/ 212 w 406"/>
                  <a:gd name="T11" fmla="*/ 308 h 377"/>
                  <a:gd name="T12" fmla="*/ 281 w 406"/>
                  <a:gd name="T13" fmla="*/ 319 h 377"/>
                  <a:gd name="T14" fmla="*/ 315 w 406"/>
                  <a:gd name="T15" fmla="*/ 310 h 377"/>
                  <a:gd name="T16" fmla="*/ 339 w 406"/>
                  <a:gd name="T17" fmla="*/ 287 h 377"/>
                  <a:gd name="T18" fmla="*/ 349 w 406"/>
                  <a:gd name="T19" fmla="*/ 254 h 377"/>
                  <a:gd name="T20" fmla="*/ 349 w 406"/>
                  <a:gd name="T21" fmla="*/ 137 h 377"/>
                  <a:gd name="T22" fmla="*/ 341 w 406"/>
                  <a:gd name="T23" fmla="*/ 108 h 377"/>
                  <a:gd name="T24" fmla="*/ 108 w 406"/>
                  <a:gd name="T25" fmla="*/ 74 h 377"/>
                  <a:gd name="T26" fmla="*/ 78 w 406"/>
                  <a:gd name="T27" fmla="*/ 90 h 377"/>
                  <a:gd name="T28" fmla="*/ 61 w 406"/>
                  <a:gd name="T29" fmla="*/ 120 h 377"/>
                  <a:gd name="T30" fmla="*/ 59 w 406"/>
                  <a:gd name="T31" fmla="*/ 254 h 377"/>
                  <a:gd name="T32" fmla="*/ 67 w 406"/>
                  <a:gd name="T33" fmla="*/ 287 h 377"/>
                  <a:gd name="T34" fmla="*/ 92 w 406"/>
                  <a:gd name="T35" fmla="*/ 310 h 377"/>
                  <a:gd name="T36" fmla="*/ 125 w 406"/>
                  <a:gd name="T37" fmla="*/ 320 h 377"/>
                  <a:gd name="T38" fmla="*/ 160 w 406"/>
                  <a:gd name="T39" fmla="*/ 308 h 377"/>
                  <a:gd name="T40" fmla="*/ 132 w 406"/>
                  <a:gd name="T41" fmla="*/ 267 h 377"/>
                  <a:gd name="T42" fmla="*/ 101 w 406"/>
                  <a:gd name="T43" fmla="*/ 241 h 377"/>
                  <a:gd name="T44" fmla="*/ 76 w 406"/>
                  <a:gd name="T45" fmla="*/ 227 h 377"/>
                  <a:gd name="T46" fmla="*/ 64 w 406"/>
                  <a:gd name="T47" fmla="*/ 222 h 377"/>
                  <a:gd name="T48" fmla="*/ 85 w 406"/>
                  <a:gd name="T49" fmla="*/ 169 h 377"/>
                  <a:gd name="T50" fmla="*/ 108 w 406"/>
                  <a:gd name="T51" fmla="*/ 179 h 377"/>
                  <a:gd name="T52" fmla="*/ 144 w 406"/>
                  <a:gd name="T53" fmla="*/ 201 h 377"/>
                  <a:gd name="T54" fmla="*/ 183 w 406"/>
                  <a:gd name="T55" fmla="*/ 238 h 377"/>
                  <a:gd name="T56" fmla="*/ 212 w 406"/>
                  <a:gd name="T57" fmla="*/ 188 h 377"/>
                  <a:gd name="T58" fmla="*/ 250 w 406"/>
                  <a:gd name="T59" fmla="*/ 131 h 377"/>
                  <a:gd name="T60" fmla="*/ 295 w 406"/>
                  <a:gd name="T61" fmla="*/ 73 h 377"/>
                  <a:gd name="T62" fmla="*/ 281 w 406"/>
                  <a:gd name="T63" fmla="*/ 72 h 377"/>
                  <a:gd name="T64" fmla="*/ 375 w 406"/>
                  <a:gd name="T65" fmla="*/ 0 h 377"/>
                  <a:gd name="T66" fmla="*/ 383 w 406"/>
                  <a:gd name="T67" fmla="*/ 66 h 377"/>
                  <a:gd name="T68" fmla="*/ 403 w 406"/>
                  <a:gd name="T69" fmla="*/ 111 h 377"/>
                  <a:gd name="T70" fmla="*/ 406 w 406"/>
                  <a:gd name="T71" fmla="*/ 254 h 377"/>
                  <a:gd name="T72" fmla="*/ 394 w 406"/>
                  <a:gd name="T73" fmla="*/ 308 h 377"/>
                  <a:gd name="T74" fmla="*/ 359 w 406"/>
                  <a:gd name="T75" fmla="*/ 350 h 377"/>
                  <a:gd name="T76" fmla="*/ 310 w 406"/>
                  <a:gd name="T77" fmla="*/ 373 h 377"/>
                  <a:gd name="T78" fmla="*/ 125 w 406"/>
                  <a:gd name="T79" fmla="*/ 377 h 377"/>
                  <a:gd name="T80" fmla="*/ 71 w 406"/>
                  <a:gd name="T81" fmla="*/ 364 h 377"/>
                  <a:gd name="T82" fmla="*/ 29 w 406"/>
                  <a:gd name="T83" fmla="*/ 330 h 377"/>
                  <a:gd name="T84" fmla="*/ 4 w 406"/>
                  <a:gd name="T85" fmla="*/ 282 h 377"/>
                  <a:gd name="T86" fmla="*/ 0 w 406"/>
                  <a:gd name="T87" fmla="*/ 137 h 377"/>
                  <a:gd name="T88" fmla="*/ 13 w 406"/>
                  <a:gd name="T89" fmla="*/ 83 h 377"/>
                  <a:gd name="T90" fmla="*/ 48 w 406"/>
                  <a:gd name="T91" fmla="*/ 41 h 377"/>
                  <a:gd name="T92" fmla="*/ 97 w 406"/>
                  <a:gd name="T93" fmla="*/ 17 h 377"/>
                  <a:gd name="T94" fmla="*/ 281 w 406"/>
                  <a:gd name="T95" fmla="*/ 14 h 377"/>
                  <a:gd name="T96" fmla="*/ 321 w 406"/>
                  <a:gd name="T97" fmla="*/ 21 h 377"/>
                  <a:gd name="T98" fmla="*/ 357 w 406"/>
                  <a:gd name="T99" fmla="*/ 1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377">
                    <a:moveTo>
                      <a:pt x="341" y="108"/>
                    </a:moveTo>
                    <a:lnTo>
                      <a:pt x="323" y="130"/>
                    </a:lnTo>
                    <a:lnTo>
                      <a:pt x="304" y="155"/>
                    </a:lnTo>
                    <a:lnTo>
                      <a:pt x="287" y="179"/>
                    </a:lnTo>
                    <a:lnTo>
                      <a:pt x="271" y="203"/>
                    </a:lnTo>
                    <a:lnTo>
                      <a:pt x="257" y="226"/>
                    </a:lnTo>
                    <a:lnTo>
                      <a:pt x="244" y="248"/>
                    </a:lnTo>
                    <a:lnTo>
                      <a:pt x="233" y="267"/>
                    </a:lnTo>
                    <a:lnTo>
                      <a:pt x="225" y="283"/>
                    </a:lnTo>
                    <a:lnTo>
                      <a:pt x="217" y="296"/>
                    </a:lnTo>
                    <a:lnTo>
                      <a:pt x="213" y="305"/>
                    </a:lnTo>
                    <a:lnTo>
                      <a:pt x="212" y="308"/>
                    </a:lnTo>
                    <a:lnTo>
                      <a:pt x="206" y="319"/>
                    </a:lnTo>
                    <a:lnTo>
                      <a:pt x="281" y="319"/>
                    </a:lnTo>
                    <a:lnTo>
                      <a:pt x="299" y="316"/>
                    </a:lnTo>
                    <a:lnTo>
                      <a:pt x="315" y="310"/>
                    </a:lnTo>
                    <a:lnTo>
                      <a:pt x="328" y="300"/>
                    </a:lnTo>
                    <a:lnTo>
                      <a:pt x="339" y="287"/>
                    </a:lnTo>
                    <a:lnTo>
                      <a:pt x="346" y="271"/>
                    </a:lnTo>
                    <a:lnTo>
                      <a:pt x="349" y="254"/>
                    </a:lnTo>
                    <a:lnTo>
                      <a:pt x="349" y="254"/>
                    </a:lnTo>
                    <a:lnTo>
                      <a:pt x="349" y="137"/>
                    </a:lnTo>
                    <a:lnTo>
                      <a:pt x="346" y="122"/>
                    </a:lnTo>
                    <a:lnTo>
                      <a:pt x="341" y="108"/>
                    </a:lnTo>
                    <a:close/>
                    <a:moveTo>
                      <a:pt x="125" y="72"/>
                    </a:moveTo>
                    <a:lnTo>
                      <a:pt x="108" y="74"/>
                    </a:lnTo>
                    <a:lnTo>
                      <a:pt x="92" y="81"/>
                    </a:lnTo>
                    <a:lnTo>
                      <a:pt x="78" y="90"/>
                    </a:lnTo>
                    <a:lnTo>
                      <a:pt x="67" y="103"/>
                    </a:lnTo>
                    <a:lnTo>
                      <a:pt x="61" y="120"/>
                    </a:lnTo>
                    <a:lnTo>
                      <a:pt x="59" y="137"/>
                    </a:lnTo>
                    <a:lnTo>
                      <a:pt x="59" y="254"/>
                    </a:lnTo>
                    <a:lnTo>
                      <a:pt x="61" y="271"/>
                    </a:lnTo>
                    <a:lnTo>
                      <a:pt x="67" y="287"/>
                    </a:lnTo>
                    <a:lnTo>
                      <a:pt x="78" y="300"/>
                    </a:lnTo>
                    <a:lnTo>
                      <a:pt x="92" y="310"/>
                    </a:lnTo>
                    <a:lnTo>
                      <a:pt x="108" y="316"/>
                    </a:lnTo>
                    <a:lnTo>
                      <a:pt x="125" y="320"/>
                    </a:lnTo>
                    <a:lnTo>
                      <a:pt x="165" y="320"/>
                    </a:lnTo>
                    <a:lnTo>
                      <a:pt x="160" y="308"/>
                    </a:lnTo>
                    <a:lnTo>
                      <a:pt x="147" y="285"/>
                    </a:lnTo>
                    <a:lnTo>
                      <a:pt x="132" y="267"/>
                    </a:lnTo>
                    <a:lnTo>
                      <a:pt x="116" y="252"/>
                    </a:lnTo>
                    <a:lnTo>
                      <a:pt x="101" y="241"/>
                    </a:lnTo>
                    <a:lnTo>
                      <a:pt x="87" y="233"/>
                    </a:lnTo>
                    <a:lnTo>
                      <a:pt x="76" y="227"/>
                    </a:lnTo>
                    <a:lnTo>
                      <a:pt x="67" y="224"/>
                    </a:lnTo>
                    <a:lnTo>
                      <a:pt x="64" y="222"/>
                    </a:lnTo>
                    <a:lnTo>
                      <a:pt x="80" y="167"/>
                    </a:lnTo>
                    <a:lnTo>
                      <a:pt x="85" y="169"/>
                    </a:lnTo>
                    <a:lnTo>
                      <a:pt x="94" y="172"/>
                    </a:lnTo>
                    <a:lnTo>
                      <a:pt x="108" y="179"/>
                    </a:lnTo>
                    <a:lnTo>
                      <a:pt x="124" y="188"/>
                    </a:lnTo>
                    <a:lnTo>
                      <a:pt x="144" y="201"/>
                    </a:lnTo>
                    <a:lnTo>
                      <a:pt x="163" y="217"/>
                    </a:lnTo>
                    <a:lnTo>
                      <a:pt x="183" y="238"/>
                    </a:lnTo>
                    <a:lnTo>
                      <a:pt x="197" y="215"/>
                    </a:lnTo>
                    <a:lnTo>
                      <a:pt x="212" y="188"/>
                    </a:lnTo>
                    <a:lnTo>
                      <a:pt x="230" y="160"/>
                    </a:lnTo>
                    <a:lnTo>
                      <a:pt x="250" y="131"/>
                    </a:lnTo>
                    <a:lnTo>
                      <a:pt x="272" y="102"/>
                    </a:lnTo>
                    <a:lnTo>
                      <a:pt x="295" y="73"/>
                    </a:lnTo>
                    <a:lnTo>
                      <a:pt x="288" y="72"/>
                    </a:lnTo>
                    <a:lnTo>
                      <a:pt x="281" y="72"/>
                    </a:lnTo>
                    <a:lnTo>
                      <a:pt x="125" y="72"/>
                    </a:lnTo>
                    <a:close/>
                    <a:moveTo>
                      <a:pt x="375" y="0"/>
                    </a:moveTo>
                    <a:lnTo>
                      <a:pt x="406" y="50"/>
                    </a:lnTo>
                    <a:lnTo>
                      <a:pt x="383" y="66"/>
                    </a:lnTo>
                    <a:lnTo>
                      <a:pt x="395" y="87"/>
                    </a:lnTo>
                    <a:lnTo>
                      <a:pt x="403" y="111"/>
                    </a:lnTo>
                    <a:lnTo>
                      <a:pt x="406" y="137"/>
                    </a:lnTo>
                    <a:lnTo>
                      <a:pt x="406" y="254"/>
                    </a:lnTo>
                    <a:lnTo>
                      <a:pt x="402" y="282"/>
                    </a:lnTo>
                    <a:lnTo>
                      <a:pt x="394" y="308"/>
                    </a:lnTo>
                    <a:lnTo>
                      <a:pt x="379" y="330"/>
                    </a:lnTo>
                    <a:lnTo>
                      <a:pt x="359" y="350"/>
                    </a:lnTo>
                    <a:lnTo>
                      <a:pt x="336" y="364"/>
                    </a:lnTo>
                    <a:lnTo>
                      <a:pt x="310" y="373"/>
                    </a:lnTo>
                    <a:lnTo>
                      <a:pt x="281" y="377"/>
                    </a:lnTo>
                    <a:lnTo>
                      <a:pt x="125" y="377"/>
                    </a:lnTo>
                    <a:lnTo>
                      <a:pt x="97" y="373"/>
                    </a:lnTo>
                    <a:lnTo>
                      <a:pt x="71" y="364"/>
                    </a:lnTo>
                    <a:lnTo>
                      <a:pt x="48" y="350"/>
                    </a:lnTo>
                    <a:lnTo>
                      <a:pt x="29" y="330"/>
                    </a:lnTo>
                    <a:lnTo>
                      <a:pt x="13" y="308"/>
                    </a:lnTo>
                    <a:lnTo>
                      <a:pt x="4" y="282"/>
                    </a:lnTo>
                    <a:lnTo>
                      <a:pt x="0" y="254"/>
                    </a:lnTo>
                    <a:lnTo>
                      <a:pt x="0" y="137"/>
                    </a:lnTo>
                    <a:lnTo>
                      <a:pt x="4" y="109"/>
                    </a:lnTo>
                    <a:lnTo>
                      <a:pt x="13" y="83"/>
                    </a:lnTo>
                    <a:lnTo>
                      <a:pt x="29" y="60"/>
                    </a:lnTo>
                    <a:lnTo>
                      <a:pt x="48" y="41"/>
                    </a:lnTo>
                    <a:lnTo>
                      <a:pt x="71" y="27"/>
                    </a:lnTo>
                    <a:lnTo>
                      <a:pt x="97" y="17"/>
                    </a:lnTo>
                    <a:lnTo>
                      <a:pt x="125" y="14"/>
                    </a:lnTo>
                    <a:lnTo>
                      <a:pt x="281" y="14"/>
                    </a:lnTo>
                    <a:lnTo>
                      <a:pt x="301" y="16"/>
                    </a:lnTo>
                    <a:lnTo>
                      <a:pt x="321" y="21"/>
                    </a:lnTo>
                    <a:lnTo>
                      <a:pt x="339" y="28"/>
                    </a:lnTo>
                    <a:lnTo>
                      <a:pt x="357" y="13"/>
                    </a:lnTo>
                    <a:lnTo>
                      <a:pt x="375" y="0"/>
                    </a:lnTo>
                    <a:close/>
                  </a:path>
                </a:pathLst>
              </a:custGeom>
              <a:solidFill>
                <a:schemeClr val="tx1"/>
              </a:solidFill>
              <a:ln w="3175">
                <a:noFill/>
                <a:prstDash val="solid"/>
                <a:round/>
                <a:headEnd/>
                <a:tailEnd/>
              </a:ln>
            </p:spPr>
            <p:txBody>
              <a:bodyPr/>
              <a:lstStyle/>
              <a:p>
                <a:endParaRPr lang="de-DE" sz="800" b="0" dirty="0"/>
              </a:p>
            </p:txBody>
          </p:sp>
          <p:sp>
            <p:nvSpPr>
              <p:cNvPr id="222" name="Freeform 302"/>
              <p:cNvSpPr>
                <a:spLocks noEditPoints="1"/>
              </p:cNvSpPr>
              <p:nvPr/>
            </p:nvSpPr>
            <p:spPr bwMode="auto">
              <a:xfrm>
                <a:off x="-1176949" y="5712933"/>
                <a:ext cx="63500" cy="60325"/>
              </a:xfrm>
              <a:custGeom>
                <a:avLst/>
                <a:gdLst>
                  <a:gd name="T0" fmla="*/ 318 w 406"/>
                  <a:gd name="T1" fmla="*/ 136 h 390"/>
                  <a:gd name="T2" fmla="*/ 284 w 406"/>
                  <a:gd name="T3" fmla="*/ 183 h 390"/>
                  <a:gd name="T4" fmla="*/ 255 w 406"/>
                  <a:gd name="T5" fmla="*/ 230 h 390"/>
                  <a:gd name="T6" fmla="*/ 232 w 406"/>
                  <a:gd name="T7" fmla="*/ 268 h 390"/>
                  <a:gd name="T8" fmla="*/ 217 w 406"/>
                  <a:gd name="T9" fmla="*/ 296 h 390"/>
                  <a:gd name="T10" fmla="*/ 212 w 406"/>
                  <a:gd name="T11" fmla="*/ 307 h 390"/>
                  <a:gd name="T12" fmla="*/ 281 w 406"/>
                  <a:gd name="T13" fmla="*/ 332 h 390"/>
                  <a:gd name="T14" fmla="*/ 315 w 406"/>
                  <a:gd name="T15" fmla="*/ 323 h 390"/>
                  <a:gd name="T16" fmla="*/ 339 w 406"/>
                  <a:gd name="T17" fmla="*/ 299 h 390"/>
                  <a:gd name="T18" fmla="*/ 349 w 406"/>
                  <a:gd name="T19" fmla="*/ 267 h 390"/>
                  <a:gd name="T20" fmla="*/ 345 w 406"/>
                  <a:gd name="T21" fmla="*/ 129 h 390"/>
                  <a:gd name="T22" fmla="*/ 125 w 406"/>
                  <a:gd name="T23" fmla="*/ 84 h 390"/>
                  <a:gd name="T24" fmla="*/ 92 w 406"/>
                  <a:gd name="T25" fmla="*/ 94 h 390"/>
                  <a:gd name="T26" fmla="*/ 67 w 406"/>
                  <a:gd name="T27" fmla="*/ 117 h 390"/>
                  <a:gd name="T28" fmla="*/ 59 w 406"/>
                  <a:gd name="T29" fmla="*/ 149 h 390"/>
                  <a:gd name="T30" fmla="*/ 61 w 406"/>
                  <a:gd name="T31" fmla="*/ 284 h 390"/>
                  <a:gd name="T32" fmla="*/ 78 w 406"/>
                  <a:gd name="T33" fmla="*/ 313 h 390"/>
                  <a:gd name="T34" fmla="*/ 108 w 406"/>
                  <a:gd name="T35" fmla="*/ 330 h 390"/>
                  <a:gd name="T36" fmla="*/ 172 w 406"/>
                  <a:gd name="T37" fmla="*/ 332 h 390"/>
                  <a:gd name="T38" fmla="*/ 147 w 406"/>
                  <a:gd name="T39" fmla="*/ 285 h 390"/>
                  <a:gd name="T40" fmla="*/ 116 w 406"/>
                  <a:gd name="T41" fmla="*/ 252 h 390"/>
                  <a:gd name="T42" fmla="*/ 87 w 406"/>
                  <a:gd name="T43" fmla="*/ 233 h 390"/>
                  <a:gd name="T44" fmla="*/ 67 w 406"/>
                  <a:gd name="T45" fmla="*/ 223 h 390"/>
                  <a:gd name="T46" fmla="*/ 80 w 406"/>
                  <a:gd name="T47" fmla="*/ 167 h 390"/>
                  <a:gd name="T48" fmla="*/ 94 w 406"/>
                  <a:gd name="T49" fmla="*/ 172 h 390"/>
                  <a:gd name="T50" fmla="*/ 124 w 406"/>
                  <a:gd name="T51" fmla="*/ 188 h 390"/>
                  <a:gd name="T52" fmla="*/ 163 w 406"/>
                  <a:gd name="T53" fmla="*/ 218 h 390"/>
                  <a:gd name="T54" fmla="*/ 198 w 406"/>
                  <a:gd name="T55" fmla="*/ 212 h 390"/>
                  <a:gd name="T56" fmla="*/ 236 w 406"/>
                  <a:gd name="T57" fmla="*/ 150 h 390"/>
                  <a:gd name="T58" fmla="*/ 285 w 406"/>
                  <a:gd name="T59" fmla="*/ 85 h 390"/>
                  <a:gd name="T60" fmla="*/ 281 w 406"/>
                  <a:gd name="T61" fmla="*/ 84 h 390"/>
                  <a:gd name="T62" fmla="*/ 375 w 406"/>
                  <a:gd name="T63" fmla="*/ 0 h 390"/>
                  <a:gd name="T64" fmla="*/ 377 w 406"/>
                  <a:gd name="T65" fmla="*/ 71 h 390"/>
                  <a:gd name="T66" fmla="*/ 398 w 406"/>
                  <a:gd name="T67" fmla="*/ 107 h 390"/>
                  <a:gd name="T68" fmla="*/ 406 w 406"/>
                  <a:gd name="T69" fmla="*/ 149 h 390"/>
                  <a:gd name="T70" fmla="*/ 402 w 406"/>
                  <a:gd name="T71" fmla="*/ 295 h 390"/>
                  <a:gd name="T72" fmla="*/ 379 w 406"/>
                  <a:gd name="T73" fmla="*/ 344 h 390"/>
                  <a:gd name="T74" fmla="*/ 336 w 406"/>
                  <a:gd name="T75" fmla="*/ 377 h 390"/>
                  <a:gd name="T76" fmla="*/ 281 w 406"/>
                  <a:gd name="T77" fmla="*/ 390 h 390"/>
                  <a:gd name="T78" fmla="*/ 97 w 406"/>
                  <a:gd name="T79" fmla="*/ 387 h 390"/>
                  <a:gd name="T80" fmla="*/ 48 w 406"/>
                  <a:gd name="T81" fmla="*/ 363 h 390"/>
                  <a:gd name="T82" fmla="*/ 13 w 406"/>
                  <a:gd name="T83" fmla="*/ 321 h 390"/>
                  <a:gd name="T84" fmla="*/ 0 w 406"/>
                  <a:gd name="T85" fmla="*/ 267 h 390"/>
                  <a:gd name="T86" fmla="*/ 4 w 406"/>
                  <a:gd name="T87" fmla="*/ 121 h 390"/>
                  <a:gd name="T88" fmla="*/ 29 w 406"/>
                  <a:gd name="T89" fmla="*/ 72 h 390"/>
                  <a:gd name="T90" fmla="*/ 71 w 406"/>
                  <a:gd name="T91" fmla="*/ 40 h 390"/>
                  <a:gd name="T92" fmla="*/ 125 w 406"/>
                  <a:gd name="T93" fmla="*/ 27 h 390"/>
                  <a:gd name="T94" fmla="*/ 307 w 406"/>
                  <a:gd name="T95" fmla="*/ 29 h 390"/>
                  <a:gd name="T96" fmla="*/ 352 w 406"/>
                  <a:gd name="T97" fmla="*/ 1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0">
                    <a:moveTo>
                      <a:pt x="337" y="113"/>
                    </a:moveTo>
                    <a:lnTo>
                      <a:pt x="318" y="136"/>
                    </a:lnTo>
                    <a:lnTo>
                      <a:pt x="301" y="160"/>
                    </a:lnTo>
                    <a:lnTo>
                      <a:pt x="284" y="183"/>
                    </a:lnTo>
                    <a:lnTo>
                      <a:pt x="269" y="207"/>
                    </a:lnTo>
                    <a:lnTo>
                      <a:pt x="255" y="230"/>
                    </a:lnTo>
                    <a:lnTo>
                      <a:pt x="243" y="250"/>
                    </a:lnTo>
                    <a:lnTo>
                      <a:pt x="232" y="268"/>
                    </a:lnTo>
                    <a:lnTo>
                      <a:pt x="224" y="284"/>
                    </a:lnTo>
                    <a:lnTo>
                      <a:pt x="217" y="296"/>
                    </a:lnTo>
                    <a:lnTo>
                      <a:pt x="213" y="305"/>
                    </a:lnTo>
                    <a:lnTo>
                      <a:pt x="212" y="307"/>
                    </a:lnTo>
                    <a:lnTo>
                      <a:pt x="200" y="332"/>
                    </a:lnTo>
                    <a:lnTo>
                      <a:pt x="281" y="332"/>
                    </a:lnTo>
                    <a:lnTo>
                      <a:pt x="299" y="330"/>
                    </a:lnTo>
                    <a:lnTo>
                      <a:pt x="315" y="323"/>
                    </a:lnTo>
                    <a:lnTo>
                      <a:pt x="328" y="313"/>
                    </a:lnTo>
                    <a:lnTo>
                      <a:pt x="339" y="299"/>
                    </a:lnTo>
                    <a:lnTo>
                      <a:pt x="346" y="284"/>
                    </a:lnTo>
                    <a:lnTo>
                      <a:pt x="349" y="267"/>
                    </a:lnTo>
                    <a:lnTo>
                      <a:pt x="349" y="149"/>
                    </a:lnTo>
                    <a:lnTo>
                      <a:pt x="345" y="129"/>
                    </a:lnTo>
                    <a:lnTo>
                      <a:pt x="337" y="113"/>
                    </a:lnTo>
                    <a:close/>
                    <a:moveTo>
                      <a:pt x="125" y="84"/>
                    </a:moveTo>
                    <a:lnTo>
                      <a:pt x="108" y="87"/>
                    </a:lnTo>
                    <a:lnTo>
                      <a:pt x="92" y="94"/>
                    </a:lnTo>
                    <a:lnTo>
                      <a:pt x="78" y="104"/>
                    </a:lnTo>
                    <a:lnTo>
                      <a:pt x="67" y="117"/>
                    </a:lnTo>
                    <a:lnTo>
                      <a:pt x="61" y="132"/>
                    </a:lnTo>
                    <a:lnTo>
                      <a:pt x="59" y="149"/>
                    </a:lnTo>
                    <a:lnTo>
                      <a:pt x="59" y="267"/>
                    </a:lnTo>
                    <a:lnTo>
                      <a:pt x="61" y="284"/>
                    </a:lnTo>
                    <a:lnTo>
                      <a:pt x="67" y="299"/>
                    </a:lnTo>
                    <a:lnTo>
                      <a:pt x="78" y="313"/>
                    </a:lnTo>
                    <a:lnTo>
                      <a:pt x="92" y="323"/>
                    </a:lnTo>
                    <a:lnTo>
                      <a:pt x="108" y="330"/>
                    </a:lnTo>
                    <a:lnTo>
                      <a:pt x="125" y="332"/>
                    </a:lnTo>
                    <a:lnTo>
                      <a:pt x="172" y="332"/>
                    </a:lnTo>
                    <a:lnTo>
                      <a:pt x="160" y="308"/>
                    </a:lnTo>
                    <a:lnTo>
                      <a:pt x="147" y="285"/>
                    </a:lnTo>
                    <a:lnTo>
                      <a:pt x="132" y="267"/>
                    </a:lnTo>
                    <a:lnTo>
                      <a:pt x="116" y="252"/>
                    </a:lnTo>
                    <a:lnTo>
                      <a:pt x="101" y="240"/>
                    </a:lnTo>
                    <a:lnTo>
                      <a:pt x="87" y="233"/>
                    </a:lnTo>
                    <a:lnTo>
                      <a:pt x="76" y="226"/>
                    </a:lnTo>
                    <a:lnTo>
                      <a:pt x="67" y="223"/>
                    </a:lnTo>
                    <a:lnTo>
                      <a:pt x="64" y="222"/>
                    </a:lnTo>
                    <a:lnTo>
                      <a:pt x="80" y="167"/>
                    </a:lnTo>
                    <a:lnTo>
                      <a:pt x="85" y="168"/>
                    </a:lnTo>
                    <a:lnTo>
                      <a:pt x="94" y="172"/>
                    </a:lnTo>
                    <a:lnTo>
                      <a:pt x="108" y="179"/>
                    </a:lnTo>
                    <a:lnTo>
                      <a:pt x="124" y="188"/>
                    </a:lnTo>
                    <a:lnTo>
                      <a:pt x="144" y="200"/>
                    </a:lnTo>
                    <a:lnTo>
                      <a:pt x="163" y="218"/>
                    </a:lnTo>
                    <a:lnTo>
                      <a:pt x="183" y="238"/>
                    </a:lnTo>
                    <a:lnTo>
                      <a:pt x="198" y="212"/>
                    </a:lnTo>
                    <a:lnTo>
                      <a:pt x="216" y="182"/>
                    </a:lnTo>
                    <a:lnTo>
                      <a:pt x="236" y="150"/>
                    </a:lnTo>
                    <a:lnTo>
                      <a:pt x="260" y="118"/>
                    </a:lnTo>
                    <a:lnTo>
                      <a:pt x="285" y="85"/>
                    </a:lnTo>
                    <a:lnTo>
                      <a:pt x="283" y="85"/>
                    </a:lnTo>
                    <a:lnTo>
                      <a:pt x="281" y="84"/>
                    </a:lnTo>
                    <a:lnTo>
                      <a:pt x="125" y="84"/>
                    </a:lnTo>
                    <a:close/>
                    <a:moveTo>
                      <a:pt x="375" y="0"/>
                    </a:moveTo>
                    <a:lnTo>
                      <a:pt x="406" y="49"/>
                    </a:lnTo>
                    <a:lnTo>
                      <a:pt x="377" y="71"/>
                    </a:lnTo>
                    <a:lnTo>
                      <a:pt x="389" y="89"/>
                    </a:lnTo>
                    <a:lnTo>
                      <a:pt x="398" y="107"/>
                    </a:lnTo>
                    <a:lnTo>
                      <a:pt x="405" y="127"/>
                    </a:lnTo>
                    <a:lnTo>
                      <a:pt x="406" y="149"/>
                    </a:lnTo>
                    <a:lnTo>
                      <a:pt x="406" y="267"/>
                    </a:lnTo>
                    <a:lnTo>
                      <a:pt x="402" y="295"/>
                    </a:lnTo>
                    <a:lnTo>
                      <a:pt x="394" y="321"/>
                    </a:lnTo>
                    <a:lnTo>
                      <a:pt x="379" y="344"/>
                    </a:lnTo>
                    <a:lnTo>
                      <a:pt x="359" y="363"/>
                    </a:lnTo>
                    <a:lnTo>
                      <a:pt x="336" y="377"/>
                    </a:lnTo>
                    <a:lnTo>
                      <a:pt x="310" y="387"/>
                    </a:lnTo>
                    <a:lnTo>
                      <a:pt x="281" y="390"/>
                    </a:lnTo>
                    <a:lnTo>
                      <a:pt x="125" y="390"/>
                    </a:lnTo>
                    <a:lnTo>
                      <a:pt x="97" y="387"/>
                    </a:lnTo>
                    <a:lnTo>
                      <a:pt x="71" y="377"/>
                    </a:lnTo>
                    <a:lnTo>
                      <a:pt x="48" y="363"/>
                    </a:lnTo>
                    <a:lnTo>
                      <a:pt x="29" y="344"/>
                    </a:lnTo>
                    <a:lnTo>
                      <a:pt x="13" y="321"/>
                    </a:lnTo>
                    <a:lnTo>
                      <a:pt x="4" y="295"/>
                    </a:lnTo>
                    <a:lnTo>
                      <a:pt x="0" y="267"/>
                    </a:lnTo>
                    <a:lnTo>
                      <a:pt x="0" y="149"/>
                    </a:lnTo>
                    <a:lnTo>
                      <a:pt x="4" y="121"/>
                    </a:lnTo>
                    <a:lnTo>
                      <a:pt x="13" y="96"/>
                    </a:lnTo>
                    <a:lnTo>
                      <a:pt x="29" y="72"/>
                    </a:lnTo>
                    <a:lnTo>
                      <a:pt x="48" y="54"/>
                    </a:lnTo>
                    <a:lnTo>
                      <a:pt x="71" y="40"/>
                    </a:lnTo>
                    <a:lnTo>
                      <a:pt x="97" y="30"/>
                    </a:lnTo>
                    <a:lnTo>
                      <a:pt x="125" y="27"/>
                    </a:lnTo>
                    <a:lnTo>
                      <a:pt x="281" y="27"/>
                    </a:lnTo>
                    <a:lnTo>
                      <a:pt x="307" y="29"/>
                    </a:lnTo>
                    <a:lnTo>
                      <a:pt x="329" y="37"/>
                    </a:lnTo>
                    <a:lnTo>
                      <a:pt x="352" y="16"/>
                    </a:lnTo>
                    <a:lnTo>
                      <a:pt x="375" y="0"/>
                    </a:lnTo>
                    <a:close/>
                  </a:path>
                </a:pathLst>
              </a:custGeom>
              <a:solidFill>
                <a:schemeClr val="tx1"/>
              </a:solidFill>
              <a:ln w="3175">
                <a:noFill/>
                <a:prstDash val="solid"/>
                <a:round/>
                <a:headEnd/>
                <a:tailEnd/>
              </a:ln>
            </p:spPr>
            <p:txBody>
              <a:bodyPr/>
              <a:lstStyle/>
              <a:p>
                <a:endParaRPr lang="de-DE" sz="800" b="0" dirty="0"/>
              </a:p>
            </p:txBody>
          </p:sp>
          <p:sp>
            <p:nvSpPr>
              <p:cNvPr id="223" name="Rectangle 303"/>
              <p:cNvSpPr>
                <a:spLocks noChangeArrowheads="1"/>
              </p:cNvSpPr>
              <p:nvPr/>
            </p:nvSpPr>
            <p:spPr bwMode="auto">
              <a:xfrm>
                <a:off x="-1100749" y="5411308"/>
                <a:ext cx="160338" cy="11112"/>
              </a:xfrm>
              <a:prstGeom prst="rect">
                <a:avLst/>
              </a:prstGeom>
              <a:solidFill>
                <a:schemeClr val="tx1"/>
              </a:solidFill>
              <a:ln w="3175">
                <a:noFill/>
                <a:prstDash val="solid"/>
                <a:round/>
                <a:headEnd/>
                <a:tailEnd/>
              </a:ln>
            </p:spPr>
            <p:txBody>
              <a:bodyPr/>
              <a:lstStyle/>
              <a:p>
                <a:endParaRPr lang="de-DE" sz="800" b="0" dirty="0"/>
              </a:p>
            </p:txBody>
          </p:sp>
          <p:sp>
            <p:nvSpPr>
              <p:cNvPr id="224" name="Rectangle 304"/>
              <p:cNvSpPr>
                <a:spLocks noChangeArrowheads="1"/>
              </p:cNvSpPr>
              <p:nvPr/>
            </p:nvSpPr>
            <p:spPr bwMode="auto">
              <a:xfrm>
                <a:off x="-1100749" y="5479571"/>
                <a:ext cx="160338" cy="12700"/>
              </a:xfrm>
              <a:prstGeom prst="rect">
                <a:avLst/>
              </a:prstGeom>
              <a:solidFill>
                <a:schemeClr val="tx1"/>
              </a:solidFill>
              <a:ln w="3175">
                <a:noFill/>
                <a:prstDash val="solid"/>
                <a:round/>
                <a:headEnd/>
                <a:tailEnd/>
              </a:ln>
            </p:spPr>
            <p:txBody>
              <a:bodyPr/>
              <a:lstStyle/>
              <a:p>
                <a:endParaRPr lang="de-DE" sz="800" b="0" dirty="0"/>
              </a:p>
            </p:txBody>
          </p:sp>
          <p:sp>
            <p:nvSpPr>
              <p:cNvPr id="225" name="Rectangle 305"/>
              <p:cNvSpPr>
                <a:spLocks noChangeArrowheads="1"/>
              </p:cNvSpPr>
              <p:nvPr/>
            </p:nvSpPr>
            <p:spPr bwMode="auto">
              <a:xfrm>
                <a:off x="-1100749" y="5551008"/>
                <a:ext cx="160338" cy="11112"/>
              </a:xfrm>
              <a:prstGeom prst="rect">
                <a:avLst/>
              </a:prstGeom>
              <a:solidFill>
                <a:schemeClr val="tx1"/>
              </a:solidFill>
              <a:ln w="3175">
                <a:noFill/>
                <a:prstDash val="solid"/>
                <a:round/>
                <a:headEnd/>
                <a:tailEnd/>
              </a:ln>
            </p:spPr>
            <p:txBody>
              <a:bodyPr/>
              <a:lstStyle/>
              <a:p>
                <a:endParaRPr lang="de-DE" sz="800" b="0" dirty="0"/>
              </a:p>
            </p:txBody>
          </p:sp>
          <p:sp>
            <p:nvSpPr>
              <p:cNvPr id="226" name="Rectangle 306"/>
              <p:cNvSpPr>
                <a:spLocks noChangeArrowheads="1"/>
              </p:cNvSpPr>
              <p:nvPr/>
            </p:nvSpPr>
            <p:spPr bwMode="auto">
              <a:xfrm>
                <a:off x="-1100749" y="5624033"/>
                <a:ext cx="160338" cy="11112"/>
              </a:xfrm>
              <a:prstGeom prst="rect">
                <a:avLst/>
              </a:prstGeom>
              <a:solidFill>
                <a:schemeClr val="tx1"/>
              </a:solidFill>
              <a:ln w="3175">
                <a:noFill/>
                <a:prstDash val="solid"/>
                <a:round/>
                <a:headEnd/>
                <a:tailEnd/>
              </a:ln>
            </p:spPr>
            <p:txBody>
              <a:bodyPr/>
              <a:lstStyle/>
              <a:p>
                <a:endParaRPr lang="de-DE" sz="800" b="0" dirty="0"/>
              </a:p>
            </p:txBody>
          </p:sp>
          <p:sp>
            <p:nvSpPr>
              <p:cNvPr id="227" name="Rectangle 307"/>
              <p:cNvSpPr>
                <a:spLocks noChangeArrowheads="1"/>
              </p:cNvSpPr>
              <p:nvPr/>
            </p:nvSpPr>
            <p:spPr bwMode="auto">
              <a:xfrm>
                <a:off x="-1100749" y="5693883"/>
                <a:ext cx="160338" cy="11112"/>
              </a:xfrm>
              <a:prstGeom prst="rect">
                <a:avLst/>
              </a:prstGeom>
              <a:solidFill>
                <a:schemeClr val="tx1"/>
              </a:solidFill>
              <a:ln w="3175">
                <a:noFill/>
                <a:prstDash val="solid"/>
                <a:round/>
                <a:headEnd/>
                <a:tailEnd/>
              </a:ln>
            </p:spPr>
            <p:txBody>
              <a:bodyPr/>
              <a:lstStyle/>
              <a:p>
                <a:endParaRPr lang="de-DE" sz="800" b="0" dirty="0"/>
              </a:p>
            </p:txBody>
          </p:sp>
          <p:sp>
            <p:nvSpPr>
              <p:cNvPr id="228" name="Rectangle 308"/>
              <p:cNvSpPr>
                <a:spLocks noChangeArrowheads="1"/>
              </p:cNvSpPr>
              <p:nvPr/>
            </p:nvSpPr>
            <p:spPr bwMode="auto">
              <a:xfrm>
                <a:off x="-1100749" y="5762146"/>
                <a:ext cx="160338" cy="11112"/>
              </a:xfrm>
              <a:prstGeom prst="rect">
                <a:avLst/>
              </a:prstGeom>
              <a:solidFill>
                <a:schemeClr val="tx1"/>
              </a:solidFill>
              <a:ln w="3175">
                <a:noFill/>
                <a:prstDash val="solid"/>
                <a:round/>
                <a:headEnd/>
                <a:tailEnd/>
              </a:ln>
            </p:spPr>
            <p:txBody>
              <a:bodyPr/>
              <a:lstStyle/>
              <a:p>
                <a:endParaRPr lang="de-DE" sz="800" b="0" dirty="0"/>
              </a:p>
            </p:txBody>
          </p:sp>
          <p:sp>
            <p:nvSpPr>
              <p:cNvPr id="229" name="Freeform 309"/>
              <p:cNvSpPr>
                <a:spLocks noEditPoints="1"/>
              </p:cNvSpPr>
              <p:nvPr/>
            </p:nvSpPr>
            <p:spPr bwMode="auto">
              <a:xfrm>
                <a:off x="-1227749" y="5257321"/>
                <a:ext cx="347663" cy="560387"/>
              </a:xfrm>
              <a:custGeom>
                <a:avLst/>
                <a:gdLst>
                  <a:gd name="T0" fmla="*/ 241 w 2199"/>
                  <a:gd name="T1" fmla="*/ 585 h 3523"/>
                  <a:gd name="T2" fmla="*/ 192 w 2199"/>
                  <a:gd name="T3" fmla="*/ 634 h 3523"/>
                  <a:gd name="T4" fmla="*/ 181 w 2199"/>
                  <a:gd name="T5" fmla="*/ 3266 h 3523"/>
                  <a:gd name="T6" fmla="*/ 205 w 2199"/>
                  <a:gd name="T7" fmla="*/ 3330 h 3523"/>
                  <a:gd name="T8" fmla="*/ 262 w 2199"/>
                  <a:gd name="T9" fmla="*/ 3367 h 3523"/>
                  <a:gd name="T10" fmla="*/ 1945 w 2199"/>
                  <a:gd name="T11" fmla="*/ 3367 h 3523"/>
                  <a:gd name="T12" fmla="*/ 2004 w 2199"/>
                  <a:gd name="T13" fmla="*/ 3330 h 3523"/>
                  <a:gd name="T14" fmla="*/ 2026 w 2199"/>
                  <a:gd name="T15" fmla="*/ 3266 h 3523"/>
                  <a:gd name="T16" fmla="*/ 2015 w 2199"/>
                  <a:gd name="T17" fmla="*/ 634 h 3523"/>
                  <a:gd name="T18" fmla="*/ 1968 w 2199"/>
                  <a:gd name="T19" fmla="*/ 585 h 3523"/>
                  <a:gd name="T20" fmla="*/ 286 w 2199"/>
                  <a:gd name="T21" fmla="*/ 575 h 3523"/>
                  <a:gd name="T22" fmla="*/ 1056 w 2199"/>
                  <a:gd name="T23" fmla="*/ 78 h 3523"/>
                  <a:gd name="T24" fmla="*/ 1029 w 2199"/>
                  <a:gd name="T25" fmla="*/ 131 h 3523"/>
                  <a:gd name="T26" fmla="*/ 1056 w 2199"/>
                  <a:gd name="T27" fmla="*/ 183 h 3523"/>
                  <a:gd name="T28" fmla="*/ 1116 w 2199"/>
                  <a:gd name="T29" fmla="*/ 193 h 3523"/>
                  <a:gd name="T30" fmla="*/ 1157 w 2199"/>
                  <a:gd name="T31" fmla="*/ 152 h 3523"/>
                  <a:gd name="T32" fmla="*/ 1147 w 2199"/>
                  <a:gd name="T33" fmla="*/ 92 h 3523"/>
                  <a:gd name="T34" fmla="*/ 1094 w 2199"/>
                  <a:gd name="T35" fmla="*/ 67 h 3523"/>
                  <a:gd name="T36" fmla="*/ 1124 w 2199"/>
                  <a:gd name="T37" fmla="*/ 1 h 3523"/>
                  <a:gd name="T38" fmla="*/ 1173 w 2199"/>
                  <a:gd name="T39" fmla="*/ 14 h 3523"/>
                  <a:gd name="T40" fmla="*/ 1227 w 2199"/>
                  <a:gd name="T41" fmla="*/ 50 h 3523"/>
                  <a:gd name="T42" fmla="*/ 1269 w 2199"/>
                  <a:gd name="T43" fmla="*/ 123 h 3523"/>
                  <a:gd name="T44" fmla="*/ 1303 w 2199"/>
                  <a:gd name="T45" fmla="*/ 217 h 3523"/>
                  <a:gd name="T46" fmla="*/ 1328 w 2199"/>
                  <a:gd name="T47" fmla="*/ 269 h 3523"/>
                  <a:gd name="T48" fmla="*/ 1353 w 2199"/>
                  <a:gd name="T49" fmla="*/ 296 h 3523"/>
                  <a:gd name="T50" fmla="*/ 1389 w 2199"/>
                  <a:gd name="T51" fmla="*/ 311 h 3523"/>
                  <a:gd name="T52" fmla="*/ 1464 w 2199"/>
                  <a:gd name="T53" fmla="*/ 325 h 3523"/>
                  <a:gd name="T54" fmla="*/ 1556 w 2199"/>
                  <a:gd name="T55" fmla="*/ 341 h 3523"/>
                  <a:gd name="T56" fmla="*/ 1641 w 2199"/>
                  <a:gd name="T57" fmla="*/ 359 h 3523"/>
                  <a:gd name="T58" fmla="*/ 2118 w 2199"/>
                  <a:gd name="T59" fmla="*/ 368 h 3523"/>
                  <a:gd name="T60" fmla="*/ 2176 w 2199"/>
                  <a:gd name="T61" fmla="*/ 405 h 3523"/>
                  <a:gd name="T62" fmla="*/ 2199 w 2199"/>
                  <a:gd name="T63" fmla="*/ 470 h 3523"/>
                  <a:gd name="T64" fmla="*/ 2189 w 2199"/>
                  <a:gd name="T65" fmla="*/ 3465 h 3523"/>
                  <a:gd name="T66" fmla="*/ 2140 w 2199"/>
                  <a:gd name="T67" fmla="*/ 3512 h 3523"/>
                  <a:gd name="T68" fmla="*/ 105 w 2199"/>
                  <a:gd name="T69" fmla="*/ 3523 h 3523"/>
                  <a:gd name="T70" fmla="*/ 39 w 2199"/>
                  <a:gd name="T71" fmla="*/ 3500 h 3523"/>
                  <a:gd name="T72" fmla="*/ 3 w 2199"/>
                  <a:gd name="T73" fmla="*/ 3442 h 3523"/>
                  <a:gd name="T74" fmla="*/ 3 w 2199"/>
                  <a:gd name="T75" fmla="*/ 446 h 3523"/>
                  <a:gd name="T76" fmla="*/ 39 w 2199"/>
                  <a:gd name="T77" fmla="*/ 388 h 3523"/>
                  <a:gd name="T78" fmla="*/ 105 w 2199"/>
                  <a:gd name="T79" fmla="*/ 366 h 3523"/>
                  <a:gd name="T80" fmla="*/ 584 w 2199"/>
                  <a:gd name="T81" fmla="*/ 352 h 3523"/>
                  <a:gd name="T82" fmla="*/ 684 w 2199"/>
                  <a:gd name="T83" fmla="*/ 333 h 3523"/>
                  <a:gd name="T84" fmla="*/ 777 w 2199"/>
                  <a:gd name="T85" fmla="*/ 316 h 3523"/>
                  <a:gd name="T86" fmla="*/ 831 w 2199"/>
                  <a:gd name="T87" fmla="*/ 302 h 3523"/>
                  <a:gd name="T88" fmla="*/ 858 w 2199"/>
                  <a:gd name="T89" fmla="*/ 281 h 3523"/>
                  <a:gd name="T90" fmla="*/ 883 w 2199"/>
                  <a:gd name="T91" fmla="*/ 239 h 3523"/>
                  <a:gd name="T92" fmla="*/ 912 w 2199"/>
                  <a:gd name="T93" fmla="*/ 160 h 3523"/>
                  <a:gd name="T94" fmla="*/ 952 w 2199"/>
                  <a:gd name="T95" fmla="*/ 70 h 3523"/>
                  <a:gd name="T96" fmla="*/ 1005 w 2199"/>
                  <a:gd name="T97" fmla="*/ 23 h 3523"/>
                  <a:gd name="T98" fmla="*/ 1057 w 2199"/>
                  <a:gd name="T99" fmla="*/ 3 h 3523"/>
                  <a:gd name="T100" fmla="*/ 1094 w 2199"/>
                  <a:gd name="T101" fmla="*/ 0 h 3523"/>
                  <a:gd name="T102" fmla="*/ 1102 w 2199"/>
                  <a:gd name="T103" fmla="*/ 0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9" h="3523">
                    <a:moveTo>
                      <a:pt x="286" y="575"/>
                    </a:moveTo>
                    <a:lnTo>
                      <a:pt x="262" y="578"/>
                    </a:lnTo>
                    <a:lnTo>
                      <a:pt x="241" y="585"/>
                    </a:lnTo>
                    <a:lnTo>
                      <a:pt x="221" y="598"/>
                    </a:lnTo>
                    <a:lnTo>
                      <a:pt x="205" y="614"/>
                    </a:lnTo>
                    <a:lnTo>
                      <a:pt x="192" y="634"/>
                    </a:lnTo>
                    <a:lnTo>
                      <a:pt x="185" y="655"/>
                    </a:lnTo>
                    <a:lnTo>
                      <a:pt x="181" y="680"/>
                    </a:lnTo>
                    <a:lnTo>
                      <a:pt x="181" y="3266"/>
                    </a:lnTo>
                    <a:lnTo>
                      <a:pt x="185" y="3290"/>
                    </a:lnTo>
                    <a:lnTo>
                      <a:pt x="192" y="3311"/>
                    </a:lnTo>
                    <a:lnTo>
                      <a:pt x="205" y="3330"/>
                    </a:lnTo>
                    <a:lnTo>
                      <a:pt x="221" y="3347"/>
                    </a:lnTo>
                    <a:lnTo>
                      <a:pt x="241" y="3359"/>
                    </a:lnTo>
                    <a:lnTo>
                      <a:pt x="262" y="3367"/>
                    </a:lnTo>
                    <a:lnTo>
                      <a:pt x="286" y="3370"/>
                    </a:lnTo>
                    <a:lnTo>
                      <a:pt x="1922" y="3370"/>
                    </a:lnTo>
                    <a:lnTo>
                      <a:pt x="1945" y="3367"/>
                    </a:lnTo>
                    <a:lnTo>
                      <a:pt x="1968" y="3359"/>
                    </a:lnTo>
                    <a:lnTo>
                      <a:pt x="1987" y="3347"/>
                    </a:lnTo>
                    <a:lnTo>
                      <a:pt x="2004" y="3330"/>
                    </a:lnTo>
                    <a:lnTo>
                      <a:pt x="2015" y="3311"/>
                    </a:lnTo>
                    <a:lnTo>
                      <a:pt x="2024" y="3290"/>
                    </a:lnTo>
                    <a:lnTo>
                      <a:pt x="2026" y="3266"/>
                    </a:lnTo>
                    <a:lnTo>
                      <a:pt x="2026" y="680"/>
                    </a:lnTo>
                    <a:lnTo>
                      <a:pt x="2024" y="655"/>
                    </a:lnTo>
                    <a:lnTo>
                      <a:pt x="2015" y="634"/>
                    </a:lnTo>
                    <a:lnTo>
                      <a:pt x="2004" y="614"/>
                    </a:lnTo>
                    <a:lnTo>
                      <a:pt x="1987" y="598"/>
                    </a:lnTo>
                    <a:lnTo>
                      <a:pt x="1968" y="585"/>
                    </a:lnTo>
                    <a:lnTo>
                      <a:pt x="1945" y="578"/>
                    </a:lnTo>
                    <a:lnTo>
                      <a:pt x="1922" y="575"/>
                    </a:lnTo>
                    <a:lnTo>
                      <a:pt x="286" y="575"/>
                    </a:lnTo>
                    <a:close/>
                    <a:moveTo>
                      <a:pt x="1094" y="67"/>
                    </a:moveTo>
                    <a:lnTo>
                      <a:pt x="1074" y="70"/>
                    </a:lnTo>
                    <a:lnTo>
                      <a:pt x="1056" y="78"/>
                    </a:lnTo>
                    <a:lnTo>
                      <a:pt x="1042" y="92"/>
                    </a:lnTo>
                    <a:lnTo>
                      <a:pt x="1033" y="111"/>
                    </a:lnTo>
                    <a:lnTo>
                      <a:pt x="1029" y="131"/>
                    </a:lnTo>
                    <a:lnTo>
                      <a:pt x="1033" y="152"/>
                    </a:lnTo>
                    <a:lnTo>
                      <a:pt x="1042" y="169"/>
                    </a:lnTo>
                    <a:lnTo>
                      <a:pt x="1056" y="183"/>
                    </a:lnTo>
                    <a:lnTo>
                      <a:pt x="1074" y="193"/>
                    </a:lnTo>
                    <a:lnTo>
                      <a:pt x="1094" y="196"/>
                    </a:lnTo>
                    <a:lnTo>
                      <a:pt x="1116" y="193"/>
                    </a:lnTo>
                    <a:lnTo>
                      <a:pt x="1133" y="183"/>
                    </a:lnTo>
                    <a:lnTo>
                      <a:pt x="1147" y="169"/>
                    </a:lnTo>
                    <a:lnTo>
                      <a:pt x="1157" y="152"/>
                    </a:lnTo>
                    <a:lnTo>
                      <a:pt x="1160" y="131"/>
                    </a:lnTo>
                    <a:lnTo>
                      <a:pt x="1157" y="111"/>
                    </a:lnTo>
                    <a:lnTo>
                      <a:pt x="1147" y="92"/>
                    </a:lnTo>
                    <a:lnTo>
                      <a:pt x="1133" y="78"/>
                    </a:lnTo>
                    <a:lnTo>
                      <a:pt x="1116" y="70"/>
                    </a:lnTo>
                    <a:lnTo>
                      <a:pt x="1094" y="67"/>
                    </a:lnTo>
                    <a:close/>
                    <a:moveTo>
                      <a:pt x="1102" y="0"/>
                    </a:moveTo>
                    <a:lnTo>
                      <a:pt x="1111" y="0"/>
                    </a:lnTo>
                    <a:lnTo>
                      <a:pt x="1124" y="1"/>
                    </a:lnTo>
                    <a:lnTo>
                      <a:pt x="1139" y="3"/>
                    </a:lnTo>
                    <a:lnTo>
                      <a:pt x="1155" y="7"/>
                    </a:lnTo>
                    <a:lnTo>
                      <a:pt x="1173" y="14"/>
                    </a:lnTo>
                    <a:lnTo>
                      <a:pt x="1191" y="24"/>
                    </a:lnTo>
                    <a:lnTo>
                      <a:pt x="1209" y="35"/>
                    </a:lnTo>
                    <a:lnTo>
                      <a:pt x="1227" y="50"/>
                    </a:lnTo>
                    <a:lnTo>
                      <a:pt x="1243" y="70"/>
                    </a:lnTo>
                    <a:lnTo>
                      <a:pt x="1257" y="94"/>
                    </a:lnTo>
                    <a:lnTo>
                      <a:pt x="1269" y="123"/>
                    </a:lnTo>
                    <a:lnTo>
                      <a:pt x="1282" y="159"/>
                    </a:lnTo>
                    <a:lnTo>
                      <a:pt x="1293" y="190"/>
                    </a:lnTo>
                    <a:lnTo>
                      <a:pt x="1303" y="217"/>
                    </a:lnTo>
                    <a:lnTo>
                      <a:pt x="1312" y="238"/>
                    </a:lnTo>
                    <a:lnTo>
                      <a:pt x="1319" y="256"/>
                    </a:lnTo>
                    <a:lnTo>
                      <a:pt x="1328" y="269"/>
                    </a:lnTo>
                    <a:lnTo>
                      <a:pt x="1335" y="281"/>
                    </a:lnTo>
                    <a:lnTo>
                      <a:pt x="1344" y="289"/>
                    </a:lnTo>
                    <a:lnTo>
                      <a:pt x="1353" y="296"/>
                    </a:lnTo>
                    <a:lnTo>
                      <a:pt x="1362" y="302"/>
                    </a:lnTo>
                    <a:lnTo>
                      <a:pt x="1373" y="307"/>
                    </a:lnTo>
                    <a:lnTo>
                      <a:pt x="1389" y="311"/>
                    </a:lnTo>
                    <a:lnTo>
                      <a:pt x="1411" y="315"/>
                    </a:lnTo>
                    <a:lnTo>
                      <a:pt x="1436" y="320"/>
                    </a:lnTo>
                    <a:lnTo>
                      <a:pt x="1464" y="325"/>
                    </a:lnTo>
                    <a:lnTo>
                      <a:pt x="1494" y="330"/>
                    </a:lnTo>
                    <a:lnTo>
                      <a:pt x="1525" y="336"/>
                    </a:lnTo>
                    <a:lnTo>
                      <a:pt x="1556" y="341"/>
                    </a:lnTo>
                    <a:lnTo>
                      <a:pt x="1588" y="347"/>
                    </a:lnTo>
                    <a:lnTo>
                      <a:pt x="1616" y="353"/>
                    </a:lnTo>
                    <a:lnTo>
                      <a:pt x="1641" y="359"/>
                    </a:lnTo>
                    <a:lnTo>
                      <a:pt x="1664" y="366"/>
                    </a:lnTo>
                    <a:lnTo>
                      <a:pt x="2094" y="366"/>
                    </a:lnTo>
                    <a:lnTo>
                      <a:pt x="2118" y="368"/>
                    </a:lnTo>
                    <a:lnTo>
                      <a:pt x="2140" y="375"/>
                    </a:lnTo>
                    <a:lnTo>
                      <a:pt x="2160" y="388"/>
                    </a:lnTo>
                    <a:lnTo>
                      <a:pt x="2176" y="405"/>
                    </a:lnTo>
                    <a:lnTo>
                      <a:pt x="2189" y="424"/>
                    </a:lnTo>
                    <a:lnTo>
                      <a:pt x="2196" y="446"/>
                    </a:lnTo>
                    <a:lnTo>
                      <a:pt x="2199" y="470"/>
                    </a:lnTo>
                    <a:lnTo>
                      <a:pt x="2199" y="3419"/>
                    </a:lnTo>
                    <a:lnTo>
                      <a:pt x="2196" y="3442"/>
                    </a:lnTo>
                    <a:lnTo>
                      <a:pt x="2189" y="3465"/>
                    </a:lnTo>
                    <a:lnTo>
                      <a:pt x="2176" y="3484"/>
                    </a:lnTo>
                    <a:lnTo>
                      <a:pt x="2160" y="3500"/>
                    </a:lnTo>
                    <a:lnTo>
                      <a:pt x="2140" y="3512"/>
                    </a:lnTo>
                    <a:lnTo>
                      <a:pt x="2118" y="3521"/>
                    </a:lnTo>
                    <a:lnTo>
                      <a:pt x="2094" y="3523"/>
                    </a:lnTo>
                    <a:lnTo>
                      <a:pt x="105" y="3523"/>
                    </a:lnTo>
                    <a:lnTo>
                      <a:pt x="81" y="3521"/>
                    </a:lnTo>
                    <a:lnTo>
                      <a:pt x="59" y="3512"/>
                    </a:lnTo>
                    <a:lnTo>
                      <a:pt x="39" y="3500"/>
                    </a:lnTo>
                    <a:lnTo>
                      <a:pt x="23" y="3484"/>
                    </a:lnTo>
                    <a:lnTo>
                      <a:pt x="11" y="3465"/>
                    </a:lnTo>
                    <a:lnTo>
                      <a:pt x="3" y="3442"/>
                    </a:lnTo>
                    <a:lnTo>
                      <a:pt x="0" y="3419"/>
                    </a:lnTo>
                    <a:lnTo>
                      <a:pt x="0" y="470"/>
                    </a:lnTo>
                    <a:lnTo>
                      <a:pt x="3" y="446"/>
                    </a:lnTo>
                    <a:lnTo>
                      <a:pt x="11" y="424"/>
                    </a:lnTo>
                    <a:lnTo>
                      <a:pt x="23" y="405"/>
                    </a:lnTo>
                    <a:lnTo>
                      <a:pt x="39" y="388"/>
                    </a:lnTo>
                    <a:lnTo>
                      <a:pt x="59" y="375"/>
                    </a:lnTo>
                    <a:lnTo>
                      <a:pt x="81" y="368"/>
                    </a:lnTo>
                    <a:lnTo>
                      <a:pt x="105" y="366"/>
                    </a:lnTo>
                    <a:lnTo>
                      <a:pt x="532" y="366"/>
                    </a:lnTo>
                    <a:lnTo>
                      <a:pt x="555" y="358"/>
                    </a:lnTo>
                    <a:lnTo>
                      <a:pt x="584" y="352"/>
                    </a:lnTo>
                    <a:lnTo>
                      <a:pt x="616" y="345"/>
                    </a:lnTo>
                    <a:lnTo>
                      <a:pt x="650" y="340"/>
                    </a:lnTo>
                    <a:lnTo>
                      <a:pt x="684" y="333"/>
                    </a:lnTo>
                    <a:lnTo>
                      <a:pt x="717" y="327"/>
                    </a:lnTo>
                    <a:lnTo>
                      <a:pt x="749" y="322"/>
                    </a:lnTo>
                    <a:lnTo>
                      <a:pt x="777" y="316"/>
                    </a:lnTo>
                    <a:lnTo>
                      <a:pt x="801" y="312"/>
                    </a:lnTo>
                    <a:lnTo>
                      <a:pt x="819" y="307"/>
                    </a:lnTo>
                    <a:lnTo>
                      <a:pt x="831" y="302"/>
                    </a:lnTo>
                    <a:lnTo>
                      <a:pt x="841" y="297"/>
                    </a:lnTo>
                    <a:lnTo>
                      <a:pt x="851" y="289"/>
                    </a:lnTo>
                    <a:lnTo>
                      <a:pt x="858" y="281"/>
                    </a:lnTo>
                    <a:lnTo>
                      <a:pt x="867" y="270"/>
                    </a:lnTo>
                    <a:lnTo>
                      <a:pt x="874" y="256"/>
                    </a:lnTo>
                    <a:lnTo>
                      <a:pt x="883" y="239"/>
                    </a:lnTo>
                    <a:lnTo>
                      <a:pt x="891" y="217"/>
                    </a:lnTo>
                    <a:lnTo>
                      <a:pt x="901" y="191"/>
                    </a:lnTo>
                    <a:lnTo>
                      <a:pt x="912" y="160"/>
                    </a:lnTo>
                    <a:lnTo>
                      <a:pt x="925" y="123"/>
                    </a:lnTo>
                    <a:lnTo>
                      <a:pt x="937" y="94"/>
                    </a:lnTo>
                    <a:lnTo>
                      <a:pt x="952" y="70"/>
                    </a:lnTo>
                    <a:lnTo>
                      <a:pt x="968" y="50"/>
                    </a:lnTo>
                    <a:lnTo>
                      <a:pt x="986" y="34"/>
                    </a:lnTo>
                    <a:lnTo>
                      <a:pt x="1005" y="23"/>
                    </a:lnTo>
                    <a:lnTo>
                      <a:pt x="1023" y="14"/>
                    </a:lnTo>
                    <a:lnTo>
                      <a:pt x="1041" y="7"/>
                    </a:lnTo>
                    <a:lnTo>
                      <a:pt x="1057" y="3"/>
                    </a:lnTo>
                    <a:lnTo>
                      <a:pt x="1073" y="1"/>
                    </a:lnTo>
                    <a:lnTo>
                      <a:pt x="1084" y="0"/>
                    </a:lnTo>
                    <a:lnTo>
                      <a:pt x="1094" y="0"/>
                    </a:lnTo>
                    <a:lnTo>
                      <a:pt x="1094" y="0"/>
                    </a:lnTo>
                    <a:lnTo>
                      <a:pt x="1096" y="0"/>
                    </a:lnTo>
                    <a:lnTo>
                      <a:pt x="1102" y="0"/>
                    </a:lnTo>
                    <a:close/>
                  </a:path>
                </a:pathLst>
              </a:custGeom>
              <a:solidFill>
                <a:schemeClr val="tx1"/>
              </a:solidFill>
              <a:ln w="0">
                <a:solidFill>
                  <a:schemeClr val="tx1"/>
                </a:solidFill>
                <a:prstDash val="solid"/>
                <a:round/>
                <a:headEnd/>
                <a:tailEnd/>
              </a:ln>
            </p:spPr>
            <p:txBody>
              <a:bodyPr/>
              <a:lstStyle/>
              <a:p>
                <a:endParaRPr lang="de-DE" sz="800" b="0" dirty="0"/>
              </a:p>
            </p:txBody>
          </p:sp>
        </p:grpSp>
        <p:grpSp>
          <p:nvGrpSpPr>
            <p:cNvPr id="206" name="Gruppieren 205"/>
            <p:cNvGrpSpPr>
              <a:grpSpLocks noChangeAspect="1"/>
            </p:cNvGrpSpPr>
            <p:nvPr/>
          </p:nvGrpSpPr>
          <p:grpSpPr>
            <a:xfrm>
              <a:off x="3821779" y="6208306"/>
              <a:ext cx="180000" cy="228118"/>
              <a:chOff x="-696070" y="5354178"/>
              <a:chExt cx="288000" cy="364988"/>
            </a:xfrm>
          </p:grpSpPr>
          <p:sp>
            <p:nvSpPr>
              <p:cNvPr id="207"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p>
            </p:txBody>
          </p:sp>
          <p:grpSp>
            <p:nvGrpSpPr>
              <p:cNvPr id="208" name="Gruppieren 207"/>
              <p:cNvGrpSpPr>
                <a:grpSpLocks noChangeAspect="1"/>
              </p:cNvGrpSpPr>
              <p:nvPr/>
            </p:nvGrpSpPr>
            <p:grpSpPr>
              <a:xfrm>
                <a:off x="-649397" y="5481248"/>
                <a:ext cx="204387" cy="180000"/>
                <a:chOff x="-1305411" y="5962628"/>
                <a:chExt cx="947406" cy="834356"/>
              </a:xfrm>
              <a:solidFill>
                <a:srgbClr val="244894"/>
              </a:solidFill>
            </p:grpSpPr>
            <p:grpSp>
              <p:nvGrpSpPr>
                <p:cNvPr id="209" name="noun_project_01063.eps"/>
                <p:cNvGrpSpPr>
                  <a:grpSpLocks/>
                </p:cNvGrpSpPr>
                <p:nvPr/>
              </p:nvGrpSpPr>
              <p:grpSpPr bwMode="auto">
                <a:xfrm>
                  <a:off x="-1305411" y="5962628"/>
                  <a:ext cx="557212" cy="595313"/>
                  <a:chOff x="2223" y="3060"/>
                  <a:chExt cx="351" cy="375"/>
                </a:xfrm>
                <a:grpFill/>
              </p:grpSpPr>
              <p:sp>
                <p:nvSpPr>
                  <p:cNvPr id="213"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214"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215"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216"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grpSp>
            <p:grpSp>
              <p:nvGrpSpPr>
                <p:cNvPr id="210" name="noun_project_01064.eps"/>
                <p:cNvGrpSpPr>
                  <a:grpSpLocks/>
                </p:cNvGrpSpPr>
                <p:nvPr/>
              </p:nvGrpSpPr>
              <p:grpSpPr bwMode="auto">
                <a:xfrm>
                  <a:off x="-953318" y="6201671"/>
                  <a:ext cx="595313" cy="595313"/>
                  <a:chOff x="2734" y="3060"/>
                  <a:chExt cx="375" cy="375"/>
                </a:xfrm>
                <a:grpFill/>
              </p:grpSpPr>
              <p:sp>
                <p:nvSpPr>
                  <p:cNvPr id="211"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solidFill>
                    <a:schemeClr val="tx1"/>
                  </a:solid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sp>
                <p:nvSpPr>
                  <p:cNvPr id="212"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b="0" dirty="0"/>
                  </a:p>
                </p:txBody>
              </p:sp>
            </p:grpSp>
          </p:grpSp>
        </p:grpSp>
      </p:grpSp>
      <p:cxnSp>
        <p:nvCxnSpPr>
          <p:cNvPr id="235" name="Gewinkelte Verbindung 157"/>
          <p:cNvCxnSpPr/>
          <p:nvPr/>
        </p:nvCxnSpPr>
        <p:spPr bwMode="auto">
          <a:xfrm rot="10800000" flipV="1">
            <a:off x="5021704" y="2078022"/>
            <a:ext cx="6480000" cy="1309923"/>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236" name="Abgerundetes Rechteck 235"/>
          <p:cNvSpPr/>
          <p:nvPr/>
        </p:nvSpPr>
        <p:spPr bwMode="auto">
          <a:xfrm>
            <a:off x="3038137" y="2935052"/>
            <a:ext cx="1125800" cy="428355"/>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Sichtung Führungskraft inkl. Kommentarfunktion</a:t>
            </a:r>
          </a:p>
        </p:txBody>
      </p:sp>
      <p:sp>
        <p:nvSpPr>
          <p:cNvPr id="237" name="Rechteck 236">
            <a:extLst>
              <a:ext uri="{FF2B5EF4-FFF2-40B4-BE49-F238E27FC236}">
                <a16:creationId xmlns:a16="http://schemas.microsoft.com/office/drawing/2014/main" id="{780FC983-309F-467F-9EDD-237826CEFECC}"/>
              </a:ext>
            </a:extLst>
          </p:cNvPr>
          <p:cNvSpPr/>
          <p:nvPr/>
        </p:nvSpPr>
        <p:spPr bwMode="auto">
          <a:xfrm>
            <a:off x="1312044" y="2412239"/>
            <a:ext cx="175906" cy="16475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endParaRPr kumimoji="0" lang="de-DE" sz="800" b="1" i="0" u="none" strike="noStrike" cap="none" normalizeH="0" baseline="0" dirty="0">
              <a:ln>
                <a:noFill/>
              </a:ln>
              <a:solidFill>
                <a:srgbClr val="244894"/>
              </a:solidFill>
              <a:effectLst/>
              <a:latin typeface="+mn-lt"/>
            </a:endParaRPr>
          </a:p>
        </p:txBody>
      </p:sp>
      <p:sp>
        <p:nvSpPr>
          <p:cNvPr id="238" name="Abgerundetes Rechteck 237"/>
          <p:cNvSpPr/>
          <p:nvPr/>
        </p:nvSpPr>
        <p:spPr bwMode="auto">
          <a:xfrm>
            <a:off x="1669941" y="2170016"/>
            <a:ext cx="1125800" cy="428355"/>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Widerspruch einlegen</a:t>
            </a:r>
          </a:p>
        </p:txBody>
      </p:sp>
      <p:sp>
        <p:nvSpPr>
          <p:cNvPr id="239" name="Flussdiagramm: Verbindungsstelle 170">
            <a:extLst>
              <a:ext uri="{FF2B5EF4-FFF2-40B4-BE49-F238E27FC236}">
                <a16:creationId xmlns:a16="http://schemas.microsoft.com/office/drawing/2014/main" id="{42F7326F-B6C5-416A-8CF2-685EC50B5EBD}"/>
              </a:ext>
            </a:extLst>
          </p:cNvPr>
          <p:cNvSpPr/>
          <p:nvPr/>
        </p:nvSpPr>
        <p:spPr bwMode="gray">
          <a:xfrm>
            <a:off x="1294230" y="2257218"/>
            <a:ext cx="271143" cy="253950"/>
          </a:xfrm>
          <a:prstGeom prst="flowChartConnector">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noProof="1">
              <a:latin typeface="+mn-lt"/>
            </a:endParaRPr>
          </a:p>
        </p:txBody>
      </p:sp>
      <p:grpSp>
        <p:nvGrpSpPr>
          <p:cNvPr id="240" name="Gruppieren 239"/>
          <p:cNvGrpSpPr/>
          <p:nvPr/>
        </p:nvGrpSpPr>
        <p:grpSpPr>
          <a:xfrm>
            <a:off x="1534491" y="4811780"/>
            <a:ext cx="1125926" cy="720872"/>
            <a:chOff x="4295800" y="6222184"/>
            <a:chExt cx="1152128" cy="787591"/>
          </a:xfrm>
        </p:grpSpPr>
        <p:grpSp>
          <p:nvGrpSpPr>
            <p:cNvPr id="241" name="Group 20">
              <a:extLst>
                <a:ext uri="{FF2B5EF4-FFF2-40B4-BE49-F238E27FC236}">
                  <a16:creationId xmlns:a16="http://schemas.microsoft.com/office/drawing/2014/main" id="{C6144E7F-B5C3-437D-9323-CE4E3349ED29}"/>
                </a:ext>
              </a:extLst>
            </p:cNvPr>
            <p:cNvGrpSpPr>
              <a:grpSpLocks noChangeAspect="1"/>
            </p:cNvGrpSpPr>
            <p:nvPr/>
          </p:nvGrpSpPr>
          <p:grpSpPr>
            <a:xfrm>
              <a:off x="4295800" y="6222184"/>
              <a:ext cx="1152000" cy="787591"/>
              <a:chOff x="7565973" y="4556141"/>
              <a:chExt cx="416180" cy="284531"/>
            </a:xfrm>
            <a:solidFill>
              <a:schemeClr val="accent1"/>
            </a:solidFill>
          </p:grpSpPr>
          <p:sp>
            <p:nvSpPr>
              <p:cNvPr id="243" name="Freeform 7">
                <a:extLst>
                  <a:ext uri="{FF2B5EF4-FFF2-40B4-BE49-F238E27FC236}">
                    <a16:creationId xmlns:a16="http://schemas.microsoft.com/office/drawing/2014/main" id="{6282A240-586D-4EF7-9299-A058C5085EDA}"/>
                  </a:ext>
                </a:extLst>
              </p:cNvPr>
              <p:cNvSpPr>
                <a:spLocks/>
              </p:cNvSpPr>
              <p:nvPr/>
            </p:nvSpPr>
            <p:spPr bwMode="auto">
              <a:xfrm>
                <a:off x="7565973" y="4613618"/>
                <a:ext cx="414903" cy="227054"/>
              </a:xfrm>
              <a:custGeom>
                <a:avLst/>
                <a:gdLst>
                  <a:gd name="T0" fmla="*/ 3218 w 3248"/>
                  <a:gd name="T1" fmla="*/ 44 h 1958"/>
                  <a:gd name="T2" fmla="*/ 3173 w 3248"/>
                  <a:gd name="T3" fmla="*/ 82 h 1958"/>
                  <a:gd name="T4" fmla="*/ 3116 w 3248"/>
                  <a:gd name="T5" fmla="*/ 118 h 1958"/>
                  <a:gd name="T6" fmla="*/ 3045 w 3248"/>
                  <a:gd name="T7" fmla="*/ 151 h 1958"/>
                  <a:gd name="T8" fmla="*/ 2868 w 3248"/>
                  <a:gd name="T9" fmla="*/ 207 h 1958"/>
                  <a:gd name="T10" fmla="*/ 2648 w 3248"/>
                  <a:gd name="T11" fmla="*/ 257 h 1958"/>
                  <a:gd name="T12" fmla="*/ 2391 w 3248"/>
                  <a:gd name="T13" fmla="*/ 295 h 1958"/>
                  <a:gd name="T14" fmla="*/ 2103 w 3248"/>
                  <a:gd name="T15" fmla="*/ 323 h 1958"/>
                  <a:gd name="T16" fmla="*/ 1788 w 3248"/>
                  <a:gd name="T17" fmla="*/ 335 h 1958"/>
                  <a:gd name="T18" fmla="*/ 1460 w 3248"/>
                  <a:gd name="T19" fmla="*/ 337 h 1958"/>
                  <a:gd name="T20" fmla="*/ 1146 w 3248"/>
                  <a:gd name="T21" fmla="*/ 323 h 1958"/>
                  <a:gd name="T22" fmla="*/ 858 w 3248"/>
                  <a:gd name="T23" fmla="*/ 295 h 1958"/>
                  <a:gd name="T24" fmla="*/ 600 w 3248"/>
                  <a:gd name="T25" fmla="*/ 257 h 1958"/>
                  <a:gd name="T26" fmla="*/ 380 w 3248"/>
                  <a:gd name="T27" fmla="*/ 207 h 1958"/>
                  <a:gd name="T28" fmla="*/ 206 w 3248"/>
                  <a:gd name="T29" fmla="*/ 151 h 1958"/>
                  <a:gd name="T30" fmla="*/ 135 w 3248"/>
                  <a:gd name="T31" fmla="*/ 118 h 1958"/>
                  <a:gd name="T32" fmla="*/ 76 w 3248"/>
                  <a:gd name="T33" fmla="*/ 82 h 1958"/>
                  <a:gd name="T34" fmla="*/ 31 w 3248"/>
                  <a:gd name="T35" fmla="*/ 44 h 1958"/>
                  <a:gd name="T36" fmla="*/ 0 w 3248"/>
                  <a:gd name="T37" fmla="*/ 0 h 1958"/>
                  <a:gd name="T38" fmla="*/ 14 w 3248"/>
                  <a:gd name="T39" fmla="*/ 1641 h 1958"/>
                  <a:gd name="T40" fmla="*/ 52 w 3248"/>
                  <a:gd name="T41" fmla="*/ 1684 h 1958"/>
                  <a:gd name="T42" fmla="*/ 104 w 3248"/>
                  <a:gd name="T43" fmla="*/ 1719 h 1958"/>
                  <a:gd name="T44" fmla="*/ 168 w 3248"/>
                  <a:gd name="T45" fmla="*/ 1755 h 1958"/>
                  <a:gd name="T46" fmla="*/ 286 w 3248"/>
                  <a:gd name="T47" fmla="*/ 1800 h 1958"/>
                  <a:gd name="T48" fmla="*/ 487 w 3248"/>
                  <a:gd name="T49" fmla="*/ 1854 h 1958"/>
                  <a:gd name="T50" fmla="*/ 725 w 3248"/>
                  <a:gd name="T51" fmla="*/ 1897 h 1958"/>
                  <a:gd name="T52" fmla="*/ 999 w 3248"/>
                  <a:gd name="T53" fmla="*/ 1930 h 1958"/>
                  <a:gd name="T54" fmla="*/ 1302 w 3248"/>
                  <a:gd name="T55" fmla="*/ 1951 h 1958"/>
                  <a:gd name="T56" fmla="*/ 1625 w 3248"/>
                  <a:gd name="T57" fmla="*/ 1958 h 1958"/>
                  <a:gd name="T58" fmla="*/ 1949 w 3248"/>
                  <a:gd name="T59" fmla="*/ 1951 h 1958"/>
                  <a:gd name="T60" fmla="*/ 2251 w 3248"/>
                  <a:gd name="T61" fmla="*/ 1930 h 1958"/>
                  <a:gd name="T62" fmla="*/ 2525 w 3248"/>
                  <a:gd name="T63" fmla="*/ 1897 h 1958"/>
                  <a:gd name="T64" fmla="*/ 2764 w 3248"/>
                  <a:gd name="T65" fmla="*/ 1854 h 1958"/>
                  <a:gd name="T66" fmla="*/ 2962 w 3248"/>
                  <a:gd name="T67" fmla="*/ 1800 h 1958"/>
                  <a:gd name="T68" fmla="*/ 3081 w 3248"/>
                  <a:gd name="T69" fmla="*/ 1755 h 1958"/>
                  <a:gd name="T70" fmla="*/ 3147 w 3248"/>
                  <a:gd name="T71" fmla="*/ 1719 h 1958"/>
                  <a:gd name="T72" fmla="*/ 3199 w 3248"/>
                  <a:gd name="T73" fmla="*/ 1684 h 1958"/>
                  <a:gd name="T74" fmla="*/ 3236 w 3248"/>
                  <a:gd name="T75" fmla="*/ 1641 h 1958"/>
                  <a:gd name="T76" fmla="*/ 3248 w 3248"/>
                  <a:gd name="T77" fmla="*/ 0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8" h="1958">
                    <a:moveTo>
                      <a:pt x="3236" y="23"/>
                    </a:moveTo>
                    <a:lnTo>
                      <a:pt x="3218" y="44"/>
                    </a:lnTo>
                    <a:lnTo>
                      <a:pt x="3199" y="63"/>
                    </a:lnTo>
                    <a:lnTo>
                      <a:pt x="3173" y="82"/>
                    </a:lnTo>
                    <a:lnTo>
                      <a:pt x="3147" y="101"/>
                    </a:lnTo>
                    <a:lnTo>
                      <a:pt x="3116" y="118"/>
                    </a:lnTo>
                    <a:lnTo>
                      <a:pt x="3081" y="134"/>
                    </a:lnTo>
                    <a:lnTo>
                      <a:pt x="3045" y="151"/>
                    </a:lnTo>
                    <a:lnTo>
                      <a:pt x="2962" y="179"/>
                    </a:lnTo>
                    <a:lnTo>
                      <a:pt x="2868" y="207"/>
                    </a:lnTo>
                    <a:lnTo>
                      <a:pt x="2764" y="233"/>
                    </a:lnTo>
                    <a:lnTo>
                      <a:pt x="2648" y="257"/>
                    </a:lnTo>
                    <a:lnTo>
                      <a:pt x="2525" y="278"/>
                    </a:lnTo>
                    <a:lnTo>
                      <a:pt x="2391" y="295"/>
                    </a:lnTo>
                    <a:lnTo>
                      <a:pt x="2251" y="309"/>
                    </a:lnTo>
                    <a:lnTo>
                      <a:pt x="2103" y="323"/>
                    </a:lnTo>
                    <a:lnTo>
                      <a:pt x="1949" y="330"/>
                    </a:lnTo>
                    <a:lnTo>
                      <a:pt x="1788" y="335"/>
                    </a:lnTo>
                    <a:lnTo>
                      <a:pt x="1625" y="337"/>
                    </a:lnTo>
                    <a:lnTo>
                      <a:pt x="1460" y="337"/>
                    </a:lnTo>
                    <a:lnTo>
                      <a:pt x="1302" y="330"/>
                    </a:lnTo>
                    <a:lnTo>
                      <a:pt x="1146" y="323"/>
                    </a:lnTo>
                    <a:lnTo>
                      <a:pt x="999" y="311"/>
                    </a:lnTo>
                    <a:lnTo>
                      <a:pt x="858" y="295"/>
                    </a:lnTo>
                    <a:lnTo>
                      <a:pt x="725" y="278"/>
                    </a:lnTo>
                    <a:lnTo>
                      <a:pt x="600" y="257"/>
                    </a:lnTo>
                    <a:lnTo>
                      <a:pt x="487" y="233"/>
                    </a:lnTo>
                    <a:lnTo>
                      <a:pt x="380" y="207"/>
                    </a:lnTo>
                    <a:lnTo>
                      <a:pt x="286" y="181"/>
                    </a:lnTo>
                    <a:lnTo>
                      <a:pt x="206" y="151"/>
                    </a:lnTo>
                    <a:lnTo>
                      <a:pt x="168" y="134"/>
                    </a:lnTo>
                    <a:lnTo>
                      <a:pt x="135" y="118"/>
                    </a:lnTo>
                    <a:lnTo>
                      <a:pt x="104" y="101"/>
                    </a:lnTo>
                    <a:lnTo>
                      <a:pt x="76" y="82"/>
                    </a:lnTo>
                    <a:lnTo>
                      <a:pt x="52" y="63"/>
                    </a:lnTo>
                    <a:lnTo>
                      <a:pt x="31" y="44"/>
                    </a:lnTo>
                    <a:lnTo>
                      <a:pt x="14" y="23"/>
                    </a:lnTo>
                    <a:lnTo>
                      <a:pt x="0" y="0"/>
                    </a:lnTo>
                    <a:lnTo>
                      <a:pt x="0" y="1620"/>
                    </a:lnTo>
                    <a:lnTo>
                      <a:pt x="14" y="1641"/>
                    </a:lnTo>
                    <a:lnTo>
                      <a:pt x="31" y="1663"/>
                    </a:lnTo>
                    <a:lnTo>
                      <a:pt x="52" y="1684"/>
                    </a:lnTo>
                    <a:lnTo>
                      <a:pt x="76" y="1703"/>
                    </a:lnTo>
                    <a:lnTo>
                      <a:pt x="104" y="1719"/>
                    </a:lnTo>
                    <a:lnTo>
                      <a:pt x="135" y="1738"/>
                    </a:lnTo>
                    <a:lnTo>
                      <a:pt x="168" y="1755"/>
                    </a:lnTo>
                    <a:lnTo>
                      <a:pt x="206" y="1771"/>
                    </a:lnTo>
                    <a:lnTo>
                      <a:pt x="286" y="1800"/>
                    </a:lnTo>
                    <a:lnTo>
                      <a:pt x="380" y="1828"/>
                    </a:lnTo>
                    <a:lnTo>
                      <a:pt x="487" y="1854"/>
                    </a:lnTo>
                    <a:lnTo>
                      <a:pt x="600" y="1875"/>
                    </a:lnTo>
                    <a:lnTo>
                      <a:pt x="725" y="1897"/>
                    </a:lnTo>
                    <a:lnTo>
                      <a:pt x="858" y="1915"/>
                    </a:lnTo>
                    <a:lnTo>
                      <a:pt x="999" y="1930"/>
                    </a:lnTo>
                    <a:lnTo>
                      <a:pt x="1146" y="1941"/>
                    </a:lnTo>
                    <a:lnTo>
                      <a:pt x="1302" y="1951"/>
                    </a:lnTo>
                    <a:lnTo>
                      <a:pt x="1460" y="1956"/>
                    </a:lnTo>
                    <a:lnTo>
                      <a:pt x="1625" y="1958"/>
                    </a:lnTo>
                    <a:lnTo>
                      <a:pt x="1788" y="1956"/>
                    </a:lnTo>
                    <a:lnTo>
                      <a:pt x="1949" y="1951"/>
                    </a:lnTo>
                    <a:lnTo>
                      <a:pt x="2103" y="1941"/>
                    </a:lnTo>
                    <a:lnTo>
                      <a:pt x="2251" y="1930"/>
                    </a:lnTo>
                    <a:lnTo>
                      <a:pt x="2391" y="1915"/>
                    </a:lnTo>
                    <a:lnTo>
                      <a:pt x="2525" y="1897"/>
                    </a:lnTo>
                    <a:lnTo>
                      <a:pt x="2648" y="1875"/>
                    </a:lnTo>
                    <a:lnTo>
                      <a:pt x="2764" y="1854"/>
                    </a:lnTo>
                    <a:lnTo>
                      <a:pt x="2868" y="1828"/>
                    </a:lnTo>
                    <a:lnTo>
                      <a:pt x="2962" y="1800"/>
                    </a:lnTo>
                    <a:lnTo>
                      <a:pt x="3045" y="1771"/>
                    </a:lnTo>
                    <a:lnTo>
                      <a:pt x="3081" y="1755"/>
                    </a:lnTo>
                    <a:lnTo>
                      <a:pt x="3116" y="1738"/>
                    </a:lnTo>
                    <a:lnTo>
                      <a:pt x="3147" y="1719"/>
                    </a:lnTo>
                    <a:lnTo>
                      <a:pt x="3173" y="1703"/>
                    </a:lnTo>
                    <a:lnTo>
                      <a:pt x="3199" y="1684"/>
                    </a:lnTo>
                    <a:lnTo>
                      <a:pt x="3218" y="1663"/>
                    </a:lnTo>
                    <a:lnTo>
                      <a:pt x="3236" y="1641"/>
                    </a:lnTo>
                    <a:lnTo>
                      <a:pt x="3248" y="1620"/>
                    </a:lnTo>
                    <a:lnTo>
                      <a:pt x="3248" y="0"/>
                    </a:lnTo>
                    <a:lnTo>
                      <a:pt x="3236" y="23"/>
                    </a:lnTo>
                    <a:close/>
                  </a:path>
                </a:pathLst>
              </a:cu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sp>
            <p:nvSpPr>
              <p:cNvPr id="244" name="Oval 8">
                <a:extLst>
                  <a:ext uri="{FF2B5EF4-FFF2-40B4-BE49-F238E27FC236}">
                    <a16:creationId xmlns:a16="http://schemas.microsoft.com/office/drawing/2014/main" id="{80A7073C-2F52-4CF9-A7A9-8D7FEE8D6E90}"/>
                  </a:ext>
                </a:extLst>
              </p:cNvPr>
              <p:cNvSpPr>
                <a:spLocks noChangeArrowheads="1"/>
              </p:cNvSpPr>
              <p:nvPr/>
            </p:nvSpPr>
            <p:spPr bwMode="auto">
              <a:xfrm>
                <a:off x="7566228" y="4556141"/>
                <a:ext cx="415925" cy="83377"/>
              </a:xfrm>
              <a:prstGeom prst="ellipse">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endParaRPr lang="de-DE" sz="800" dirty="0">
                  <a:latin typeface="+mn-lt"/>
                </a:endParaRPr>
              </a:p>
            </p:txBody>
          </p:sp>
        </p:grpSp>
        <p:sp>
          <p:nvSpPr>
            <p:cNvPr id="242" name="Rechteck 241"/>
            <p:cNvSpPr/>
            <p:nvPr/>
          </p:nvSpPr>
          <p:spPr bwMode="auto">
            <a:xfrm>
              <a:off x="4295800" y="6513028"/>
              <a:ext cx="1152128" cy="39600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DMS (eAkte)</a:t>
              </a:r>
              <a:br>
                <a:rPr lang="de-DE" sz="800" b="0" dirty="0">
                  <a:latin typeface="+mn-lt"/>
                </a:rPr>
              </a:br>
              <a:r>
                <a:rPr lang="de-DE" sz="800" b="0" dirty="0">
                  <a:latin typeface="+mn-lt"/>
                </a:rPr>
                <a:t>Geschäftszeichen ziehen und Antrag ablegen</a:t>
              </a:r>
            </a:p>
          </p:txBody>
        </p:sp>
      </p:grpSp>
      <p:sp>
        <p:nvSpPr>
          <p:cNvPr id="245" name="Flussdiagramm: Verzweigung 163">
            <a:extLst>
              <a:ext uri="{FF2B5EF4-FFF2-40B4-BE49-F238E27FC236}">
                <a16:creationId xmlns:a16="http://schemas.microsoft.com/office/drawing/2014/main" id="{0F894D10-92D1-46AC-81ED-B91DEC5EC94B}"/>
              </a:ext>
            </a:extLst>
          </p:cNvPr>
          <p:cNvSpPr>
            <a:spLocks/>
          </p:cNvSpPr>
          <p:nvPr/>
        </p:nvSpPr>
        <p:spPr bwMode="gray">
          <a:xfrm>
            <a:off x="1813901" y="2935052"/>
            <a:ext cx="844429" cy="428355"/>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800" b="0" noProof="1">
                <a:latin typeface="+mn-lt"/>
              </a:rPr>
              <a:t>Neue</a:t>
            </a:r>
            <a:br>
              <a:rPr lang="de-DE" sz="800" b="0" noProof="1">
                <a:latin typeface="+mn-lt"/>
              </a:rPr>
            </a:br>
            <a:r>
              <a:rPr lang="de-DE" sz="800" b="0" noProof="1">
                <a:latin typeface="+mn-lt"/>
              </a:rPr>
              <a:t>Verrichtung?</a:t>
            </a:r>
          </a:p>
        </p:txBody>
      </p:sp>
      <p:grpSp>
        <p:nvGrpSpPr>
          <p:cNvPr id="246" name="Gruppieren 245"/>
          <p:cNvGrpSpPr/>
          <p:nvPr/>
        </p:nvGrpSpPr>
        <p:grpSpPr>
          <a:xfrm>
            <a:off x="1534555" y="3544145"/>
            <a:ext cx="1125800" cy="916178"/>
            <a:chOff x="1559624" y="3904141"/>
            <a:chExt cx="1152000" cy="1000971"/>
          </a:xfrm>
        </p:grpSpPr>
        <p:sp>
          <p:nvSpPr>
            <p:cNvPr id="247" name="Abgerundetes Rechteck 246"/>
            <p:cNvSpPr/>
            <p:nvPr/>
          </p:nvSpPr>
          <p:spPr bwMode="auto">
            <a:xfrm>
              <a:off x="1559624" y="4437112"/>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Wiederöffnung einer alten Verrichtung</a:t>
              </a:r>
            </a:p>
          </p:txBody>
        </p:sp>
        <p:sp>
          <p:nvSpPr>
            <p:cNvPr id="248" name="Abgerundetes Rechteck 247"/>
            <p:cNvSpPr/>
            <p:nvPr/>
          </p:nvSpPr>
          <p:spPr bwMode="auto">
            <a:xfrm>
              <a:off x="1559624" y="3904141"/>
              <a:ext cx="1152000" cy="468000"/>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Erzeugung einer neuen Verrichtung </a:t>
              </a:r>
            </a:p>
          </p:txBody>
        </p:sp>
      </p:grpSp>
      <p:cxnSp>
        <p:nvCxnSpPr>
          <p:cNvPr id="249" name="Gewinkelter Verbinder 248"/>
          <p:cNvCxnSpPr>
            <a:stCxn id="245" idx="2"/>
            <a:endCxn id="248" idx="1"/>
          </p:cNvCxnSpPr>
          <p:nvPr/>
        </p:nvCxnSpPr>
        <p:spPr bwMode="auto">
          <a:xfrm rot="5400000">
            <a:off x="1687878" y="3210085"/>
            <a:ext cx="394916" cy="701561"/>
          </a:xfrm>
          <a:prstGeom prst="bentConnector4">
            <a:avLst>
              <a:gd name="adj1" fmla="val 22883"/>
              <a:gd name="adj2" fmla="val 121722"/>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250" name="Rechteck 249"/>
          <p:cNvSpPr/>
          <p:nvPr/>
        </p:nvSpPr>
        <p:spPr bwMode="auto">
          <a:xfrm>
            <a:off x="1633941" y="3322583"/>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Ja</a:t>
            </a:r>
          </a:p>
        </p:txBody>
      </p:sp>
      <p:cxnSp>
        <p:nvCxnSpPr>
          <p:cNvPr id="251" name="Gerade Verbindung mit Pfeil 250"/>
          <p:cNvCxnSpPr>
            <a:stCxn id="238" idx="2"/>
            <a:endCxn id="245" idx="0"/>
          </p:cNvCxnSpPr>
          <p:nvPr/>
        </p:nvCxnSpPr>
        <p:spPr bwMode="auto">
          <a:xfrm>
            <a:off x="2232841" y="2598371"/>
            <a:ext cx="3275" cy="33668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252" name="Rechteck 251"/>
          <p:cNvSpPr/>
          <p:nvPr/>
        </p:nvSpPr>
        <p:spPr bwMode="auto">
          <a:xfrm>
            <a:off x="1381313" y="3024507"/>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Nein</a:t>
            </a:r>
          </a:p>
        </p:txBody>
      </p:sp>
      <p:cxnSp>
        <p:nvCxnSpPr>
          <p:cNvPr id="253" name="Gerade Verbindung mit Pfeil 252"/>
          <p:cNvCxnSpPr>
            <a:stCxn id="239" idx="6"/>
            <a:endCxn id="238" idx="1"/>
          </p:cNvCxnSpPr>
          <p:nvPr/>
        </p:nvCxnSpPr>
        <p:spPr bwMode="auto">
          <a:xfrm>
            <a:off x="1565373" y="2384193"/>
            <a:ext cx="104568" cy="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254" name="Gewinkelter Verbinder 253"/>
          <p:cNvCxnSpPr>
            <a:stCxn id="245" idx="1"/>
            <a:endCxn id="247" idx="1"/>
          </p:cNvCxnSpPr>
          <p:nvPr/>
        </p:nvCxnSpPr>
        <p:spPr bwMode="auto">
          <a:xfrm rot="10800000" flipV="1">
            <a:off x="1534555" y="3149230"/>
            <a:ext cx="279346" cy="1096916"/>
          </a:xfrm>
          <a:prstGeom prst="bentConnector3">
            <a:avLst>
              <a:gd name="adj1" fmla="val 181834"/>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255" name="Gewinkelter Verbinder 254"/>
          <p:cNvCxnSpPr>
            <a:stCxn id="248" idx="3"/>
            <a:endCxn id="316" idx="1"/>
          </p:cNvCxnSpPr>
          <p:nvPr/>
        </p:nvCxnSpPr>
        <p:spPr bwMode="auto">
          <a:xfrm>
            <a:off x="2660355" y="3758323"/>
            <a:ext cx="521742" cy="498108"/>
          </a:xfrm>
          <a:prstGeom prst="bentConnector3">
            <a:avLst>
              <a:gd name="adj1" fmla="val 50000"/>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256" name="Gerade Verbindung mit Pfeil 255"/>
          <p:cNvCxnSpPr>
            <a:stCxn id="307" idx="3"/>
            <a:endCxn id="326" idx="1"/>
          </p:cNvCxnSpPr>
          <p:nvPr/>
        </p:nvCxnSpPr>
        <p:spPr bwMode="auto">
          <a:xfrm>
            <a:off x="7116002" y="4282077"/>
            <a:ext cx="415773" cy="316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257" name="Gerade Verbindung mit Pfeil 256"/>
          <p:cNvCxnSpPr>
            <a:stCxn id="314" idx="3"/>
            <a:endCxn id="384" idx="1"/>
          </p:cNvCxnSpPr>
          <p:nvPr/>
        </p:nvCxnSpPr>
        <p:spPr bwMode="auto">
          <a:xfrm>
            <a:off x="9557903" y="4282077"/>
            <a:ext cx="571404" cy="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258" name="Rechteck 257"/>
          <p:cNvSpPr/>
          <p:nvPr/>
        </p:nvSpPr>
        <p:spPr bwMode="auto">
          <a:xfrm>
            <a:off x="9682293" y="4157899"/>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Ja</a:t>
            </a:r>
          </a:p>
        </p:txBody>
      </p:sp>
      <p:sp>
        <p:nvSpPr>
          <p:cNvPr id="259" name="noun_project_00453.eps"/>
          <p:cNvSpPr>
            <a:spLocks noChangeAspect="1" noEditPoints="1"/>
          </p:cNvSpPr>
          <p:nvPr/>
        </p:nvSpPr>
        <p:spPr bwMode="auto">
          <a:xfrm>
            <a:off x="2752982" y="4828523"/>
            <a:ext cx="281450" cy="356687"/>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solidFill>
            <a:schemeClr val="tx1"/>
          </a:solidFill>
          <a:ln w="0">
            <a:solidFill>
              <a:schemeClr val="tx1"/>
            </a:solidFill>
            <a:prstDash val="solid"/>
            <a:round/>
            <a:headEnd/>
            <a:tailEnd/>
          </a:ln>
        </p:spPr>
        <p:txBody>
          <a:bodyPr/>
          <a:lstStyle/>
          <a:p>
            <a:endParaRPr lang="de-DE" sz="800" b="0" dirty="0">
              <a:latin typeface="+mn-lt"/>
            </a:endParaRPr>
          </a:p>
        </p:txBody>
      </p:sp>
      <p:grpSp>
        <p:nvGrpSpPr>
          <p:cNvPr id="260" name="noun_project_00456.eps"/>
          <p:cNvGrpSpPr>
            <a:grpSpLocks noChangeAspect="1"/>
          </p:cNvGrpSpPr>
          <p:nvPr/>
        </p:nvGrpSpPr>
        <p:grpSpPr bwMode="auto">
          <a:xfrm>
            <a:off x="2752982" y="5295236"/>
            <a:ext cx="351813" cy="175907"/>
            <a:chOff x="3400" y="3056"/>
            <a:chExt cx="384" cy="192"/>
          </a:xfrm>
          <a:solidFill>
            <a:schemeClr val="tx1"/>
          </a:solidFill>
        </p:grpSpPr>
        <p:sp>
          <p:nvSpPr>
            <p:cNvPr id="261" name="Freeform 379"/>
            <p:cNvSpPr>
              <a:spLocks noChangeAspect="1"/>
            </p:cNvSpPr>
            <p:nvPr/>
          </p:nvSpPr>
          <p:spPr bwMode="auto">
            <a:xfrm>
              <a:off x="3688" y="3056"/>
              <a:ext cx="96" cy="192"/>
            </a:xfrm>
            <a:custGeom>
              <a:avLst/>
              <a:gdLst>
                <a:gd name="T0" fmla="*/ 0 w 864"/>
                <a:gd name="T1" fmla="*/ 0 h 1728"/>
                <a:gd name="T2" fmla="*/ 864 w 864"/>
                <a:gd name="T3" fmla="*/ 864 h 1728"/>
                <a:gd name="T4" fmla="*/ 0 w 864"/>
                <a:gd name="T5" fmla="*/ 1728 h 1728"/>
                <a:gd name="T6" fmla="*/ 0 w 864"/>
                <a:gd name="T7" fmla="*/ 1337 h 1728"/>
                <a:gd name="T8" fmla="*/ 473 w 864"/>
                <a:gd name="T9" fmla="*/ 864 h 1728"/>
                <a:gd name="T10" fmla="*/ 0 w 864"/>
                <a:gd name="T11" fmla="*/ 391 h 1728"/>
                <a:gd name="T12" fmla="*/ 0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0" y="0"/>
                  </a:moveTo>
                  <a:lnTo>
                    <a:pt x="864" y="864"/>
                  </a:lnTo>
                  <a:lnTo>
                    <a:pt x="0" y="1728"/>
                  </a:lnTo>
                  <a:lnTo>
                    <a:pt x="0" y="1337"/>
                  </a:lnTo>
                  <a:lnTo>
                    <a:pt x="473" y="864"/>
                  </a:lnTo>
                  <a:lnTo>
                    <a:pt x="0" y="391"/>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262" name="Freeform 380"/>
            <p:cNvSpPr>
              <a:spLocks noChangeAspect="1"/>
            </p:cNvSpPr>
            <p:nvPr/>
          </p:nvSpPr>
          <p:spPr bwMode="auto">
            <a:xfrm>
              <a:off x="3400" y="3056"/>
              <a:ext cx="96" cy="192"/>
            </a:xfrm>
            <a:custGeom>
              <a:avLst/>
              <a:gdLst>
                <a:gd name="T0" fmla="*/ 864 w 864"/>
                <a:gd name="T1" fmla="*/ 0 h 1728"/>
                <a:gd name="T2" fmla="*/ 864 w 864"/>
                <a:gd name="T3" fmla="*/ 391 h 1728"/>
                <a:gd name="T4" fmla="*/ 391 w 864"/>
                <a:gd name="T5" fmla="*/ 864 h 1728"/>
                <a:gd name="T6" fmla="*/ 864 w 864"/>
                <a:gd name="T7" fmla="*/ 1337 h 1728"/>
                <a:gd name="T8" fmla="*/ 864 w 864"/>
                <a:gd name="T9" fmla="*/ 1728 h 1728"/>
                <a:gd name="T10" fmla="*/ 0 w 864"/>
                <a:gd name="T11" fmla="*/ 864 h 1728"/>
                <a:gd name="T12" fmla="*/ 864 w 864"/>
                <a:gd name="T13" fmla="*/ 0 h 1728"/>
              </a:gdLst>
              <a:ahLst/>
              <a:cxnLst>
                <a:cxn ang="0">
                  <a:pos x="T0" y="T1"/>
                </a:cxn>
                <a:cxn ang="0">
                  <a:pos x="T2" y="T3"/>
                </a:cxn>
                <a:cxn ang="0">
                  <a:pos x="T4" y="T5"/>
                </a:cxn>
                <a:cxn ang="0">
                  <a:pos x="T6" y="T7"/>
                </a:cxn>
                <a:cxn ang="0">
                  <a:pos x="T8" y="T9"/>
                </a:cxn>
                <a:cxn ang="0">
                  <a:pos x="T10" y="T11"/>
                </a:cxn>
                <a:cxn ang="0">
                  <a:pos x="T12" y="T13"/>
                </a:cxn>
              </a:cxnLst>
              <a:rect l="0" t="0" r="r" b="b"/>
              <a:pathLst>
                <a:path w="864" h="1728">
                  <a:moveTo>
                    <a:pt x="864" y="0"/>
                  </a:moveTo>
                  <a:lnTo>
                    <a:pt x="864" y="391"/>
                  </a:lnTo>
                  <a:lnTo>
                    <a:pt x="391" y="864"/>
                  </a:lnTo>
                  <a:lnTo>
                    <a:pt x="864" y="1337"/>
                  </a:lnTo>
                  <a:lnTo>
                    <a:pt x="864" y="1728"/>
                  </a:lnTo>
                  <a:lnTo>
                    <a:pt x="0" y="864"/>
                  </a:lnTo>
                  <a:lnTo>
                    <a:pt x="864"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263" name="Freeform 381"/>
            <p:cNvSpPr>
              <a:spLocks noChangeAspect="1"/>
            </p:cNvSpPr>
            <p:nvPr/>
          </p:nvSpPr>
          <p:spPr bwMode="auto">
            <a:xfrm>
              <a:off x="3569"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264" name="Freeform 382"/>
            <p:cNvSpPr>
              <a:spLocks noChangeAspect="1"/>
            </p:cNvSpPr>
            <p:nvPr/>
          </p:nvSpPr>
          <p:spPr bwMode="auto">
            <a:xfrm>
              <a:off x="3500" y="3133"/>
              <a:ext cx="46" cy="46"/>
            </a:xfrm>
            <a:custGeom>
              <a:avLst/>
              <a:gdLst>
                <a:gd name="T0" fmla="*/ 207 w 414"/>
                <a:gd name="T1" fmla="*/ 0 h 415"/>
                <a:gd name="T2" fmla="*/ 240 w 414"/>
                <a:gd name="T3" fmla="*/ 3 h 415"/>
                <a:gd name="T4" fmla="*/ 273 w 414"/>
                <a:gd name="T5" fmla="*/ 11 h 415"/>
                <a:gd name="T6" fmla="*/ 302 w 414"/>
                <a:gd name="T7" fmla="*/ 23 h 415"/>
                <a:gd name="T8" fmla="*/ 329 w 414"/>
                <a:gd name="T9" fmla="*/ 40 h 415"/>
                <a:gd name="T10" fmla="*/ 354 w 414"/>
                <a:gd name="T11" fmla="*/ 61 h 415"/>
                <a:gd name="T12" fmla="*/ 374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4 w 414"/>
                <a:gd name="T29" fmla="*/ 330 h 415"/>
                <a:gd name="T30" fmla="*/ 354 w 414"/>
                <a:gd name="T31" fmla="*/ 354 h 415"/>
                <a:gd name="T32" fmla="*/ 329 w 414"/>
                <a:gd name="T33" fmla="*/ 375 h 415"/>
                <a:gd name="T34" fmla="*/ 302 w 414"/>
                <a:gd name="T35" fmla="*/ 392 h 415"/>
                <a:gd name="T36" fmla="*/ 273 w 414"/>
                <a:gd name="T37" fmla="*/ 404 h 415"/>
                <a:gd name="T38" fmla="*/ 240 w 414"/>
                <a:gd name="T39" fmla="*/ 412 h 415"/>
                <a:gd name="T40" fmla="*/ 207 w 414"/>
                <a:gd name="T41" fmla="*/ 415 h 415"/>
                <a:gd name="T42" fmla="*/ 173 w 414"/>
                <a:gd name="T43" fmla="*/ 412 h 415"/>
                <a:gd name="T44" fmla="*/ 141 w 414"/>
                <a:gd name="T45" fmla="*/ 404 h 415"/>
                <a:gd name="T46" fmla="*/ 112 w 414"/>
                <a:gd name="T47" fmla="*/ 392 h 415"/>
                <a:gd name="T48" fmla="*/ 84 w 414"/>
                <a:gd name="T49" fmla="*/ 375 h 415"/>
                <a:gd name="T50" fmla="*/ 60 w 414"/>
                <a:gd name="T51" fmla="*/ 354 h 415"/>
                <a:gd name="T52" fmla="*/ 39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39 w 414"/>
                <a:gd name="T69" fmla="*/ 85 h 415"/>
                <a:gd name="T70" fmla="*/ 60 w 414"/>
                <a:gd name="T71" fmla="*/ 61 h 415"/>
                <a:gd name="T72" fmla="*/ 84 w 414"/>
                <a:gd name="T73" fmla="*/ 40 h 415"/>
                <a:gd name="T74" fmla="*/ 112 w 414"/>
                <a:gd name="T75" fmla="*/ 23 h 415"/>
                <a:gd name="T76" fmla="*/ 141 w 414"/>
                <a:gd name="T77" fmla="*/ 11 h 415"/>
                <a:gd name="T78" fmla="*/ 173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0" y="3"/>
                  </a:lnTo>
                  <a:lnTo>
                    <a:pt x="273" y="11"/>
                  </a:lnTo>
                  <a:lnTo>
                    <a:pt x="302" y="23"/>
                  </a:lnTo>
                  <a:lnTo>
                    <a:pt x="329" y="40"/>
                  </a:lnTo>
                  <a:lnTo>
                    <a:pt x="354" y="61"/>
                  </a:lnTo>
                  <a:lnTo>
                    <a:pt x="374" y="85"/>
                  </a:lnTo>
                  <a:lnTo>
                    <a:pt x="391" y="112"/>
                  </a:lnTo>
                  <a:lnTo>
                    <a:pt x="404" y="142"/>
                  </a:lnTo>
                  <a:lnTo>
                    <a:pt x="411" y="174"/>
                  </a:lnTo>
                  <a:lnTo>
                    <a:pt x="414" y="208"/>
                  </a:lnTo>
                  <a:lnTo>
                    <a:pt x="411" y="241"/>
                  </a:lnTo>
                  <a:lnTo>
                    <a:pt x="404" y="274"/>
                  </a:lnTo>
                  <a:lnTo>
                    <a:pt x="391" y="303"/>
                  </a:lnTo>
                  <a:lnTo>
                    <a:pt x="374" y="330"/>
                  </a:lnTo>
                  <a:lnTo>
                    <a:pt x="354" y="354"/>
                  </a:lnTo>
                  <a:lnTo>
                    <a:pt x="329" y="375"/>
                  </a:lnTo>
                  <a:lnTo>
                    <a:pt x="302" y="392"/>
                  </a:lnTo>
                  <a:lnTo>
                    <a:pt x="273" y="404"/>
                  </a:lnTo>
                  <a:lnTo>
                    <a:pt x="240" y="412"/>
                  </a:lnTo>
                  <a:lnTo>
                    <a:pt x="207" y="415"/>
                  </a:lnTo>
                  <a:lnTo>
                    <a:pt x="173" y="412"/>
                  </a:lnTo>
                  <a:lnTo>
                    <a:pt x="141" y="404"/>
                  </a:lnTo>
                  <a:lnTo>
                    <a:pt x="112" y="392"/>
                  </a:lnTo>
                  <a:lnTo>
                    <a:pt x="84" y="375"/>
                  </a:lnTo>
                  <a:lnTo>
                    <a:pt x="60" y="354"/>
                  </a:lnTo>
                  <a:lnTo>
                    <a:pt x="39" y="330"/>
                  </a:lnTo>
                  <a:lnTo>
                    <a:pt x="23" y="303"/>
                  </a:lnTo>
                  <a:lnTo>
                    <a:pt x="10" y="274"/>
                  </a:lnTo>
                  <a:lnTo>
                    <a:pt x="3" y="241"/>
                  </a:lnTo>
                  <a:lnTo>
                    <a:pt x="0" y="208"/>
                  </a:lnTo>
                  <a:lnTo>
                    <a:pt x="3" y="174"/>
                  </a:lnTo>
                  <a:lnTo>
                    <a:pt x="10" y="142"/>
                  </a:lnTo>
                  <a:lnTo>
                    <a:pt x="23" y="112"/>
                  </a:lnTo>
                  <a:lnTo>
                    <a:pt x="39" y="85"/>
                  </a:lnTo>
                  <a:lnTo>
                    <a:pt x="60" y="61"/>
                  </a:lnTo>
                  <a:lnTo>
                    <a:pt x="84" y="40"/>
                  </a:lnTo>
                  <a:lnTo>
                    <a:pt x="112" y="23"/>
                  </a:lnTo>
                  <a:lnTo>
                    <a:pt x="141" y="11"/>
                  </a:lnTo>
                  <a:lnTo>
                    <a:pt x="173"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sp>
          <p:nvSpPr>
            <p:cNvPr id="265" name="Freeform 383"/>
            <p:cNvSpPr>
              <a:spLocks noChangeAspect="1"/>
            </p:cNvSpPr>
            <p:nvPr/>
          </p:nvSpPr>
          <p:spPr bwMode="auto">
            <a:xfrm>
              <a:off x="3638" y="3133"/>
              <a:ext cx="46" cy="46"/>
            </a:xfrm>
            <a:custGeom>
              <a:avLst/>
              <a:gdLst>
                <a:gd name="T0" fmla="*/ 207 w 414"/>
                <a:gd name="T1" fmla="*/ 0 h 415"/>
                <a:gd name="T2" fmla="*/ 241 w 414"/>
                <a:gd name="T3" fmla="*/ 3 h 415"/>
                <a:gd name="T4" fmla="*/ 273 w 414"/>
                <a:gd name="T5" fmla="*/ 11 h 415"/>
                <a:gd name="T6" fmla="*/ 302 w 414"/>
                <a:gd name="T7" fmla="*/ 23 h 415"/>
                <a:gd name="T8" fmla="*/ 330 w 414"/>
                <a:gd name="T9" fmla="*/ 40 h 415"/>
                <a:gd name="T10" fmla="*/ 354 w 414"/>
                <a:gd name="T11" fmla="*/ 61 h 415"/>
                <a:gd name="T12" fmla="*/ 375 w 414"/>
                <a:gd name="T13" fmla="*/ 85 h 415"/>
                <a:gd name="T14" fmla="*/ 391 w 414"/>
                <a:gd name="T15" fmla="*/ 112 h 415"/>
                <a:gd name="T16" fmla="*/ 404 w 414"/>
                <a:gd name="T17" fmla="*/ 142 h 415"/>
                <a:gd name="T18" fmla="*/ 411 w 414"/>
                <a:gd name="T19" fmla="*/ 174 h 415"/>
                <a:gd name="T20" fmla="*/ 414 w 414"/>
                <a:gd name="T21" fmla="*/ 208 h 415"/>
                <a:gd name="T22" fmla="*/ 411 w 414"/>
                <a:gd name="T23" fmla="*/ 241 h 415"/>
                <a:gd name="T24" fmla="*/ 404 w 414"/>
                <a:gd name="T25" fmla="*/ 274 h 415"/>
                <a:gd name="T26" fmla="*/ 391 w 414"/>
                <a:gd name="T27" fmla="*/ 303 h 415"/>
                <a:gd name="T28" fmla="*/ 375 w 414"/>
                <a:gd name="T29" fmla="*/ 330 h 415"/>
                <a:gd name="T30" fmla="*/ 354 w 414"/>
                <a:gd name="T31" fmla="*/ 354 h 415"/>
                <a:gd name="T32" fmla="*/ 330 w 414"/>
                <a:gd name="T33" fmla="*/ 375 h 415"/>
                <a:gd name="T34" fmla="*/ 302 w 414"/>
                <a:gd name="T35" fmla="*/ 392 h 415"/>
                <a:gd name="T36" fmla="*/ 273 w 414"/>
                <a:gd name="T37" fmla="*/ 404 h 415"/>
                <a:gd name="T38" fmla="*/ 241 w 414"/>
                <a:gd name="T39" fmla="*/ 412 h 415"/>
                <a:gd name="T40" fmla="*/ 207 w 414"/>
                <a:gd name="T41" fmla="*/ 415 h 415"/>
                <a:gd name="T42" fmla="*/ 174 w 414"/>
                <a:gd name="T43" fmla="*/ 412 h 415"/>
                <a:gd name="T44" fmla="*/ 141 w 414"/>
                <a:gd name="T45" fmla="*/ 404 h 415"/>
                <a:gd name="T46" fmla="*/ 112 w 414"/>
                <a:gd name="T47" fmla="*/ 392 h 415"/>
                <a:gd name="T48" fmla="*/ 85 w 414"/>
                <a:gd name="T49" fmla="*/ 375 h 415"/>
                <a:gd name="T50" fmla="*/ 60 w 414"/>
                <a:gd name="T51" fmla="*/ 354 h 415"/>
                <a:gd name="T52" fmla="*/ 40 w 414"/>
                <a:gd name="T53" fmla="*/ 330 h 415"/>
                <a:gd name="T54" fmla="*/ 23 w 414"/>
                <a:gd name="T55" fmla="*/ 303 h 415"/>
                <a:gd name="T56" fmla="*/ 10 w 414"/>
                <a:gd name="T57" fmla="*/ 274 h 415"/>
                <a:gd name="T58" fmla="*/ 3 w 414"/>
                <a:gd name="T59" fmla="*/ 241 h 415"/>
                <a:gd name="T60" fmla="*/ 0 w 414"/>
                <a:gd name="T61" fmla="*/ 208 h 415"/>
                <a:gd name="T62" fmla="*/ 3 w 414"/>
                <a:gd name="T63" fmla="*/ 174 h 415"/>
                <a:gd name="T64" fmla="*/ 10 w 414"/>
                <a:gd name="T65" fmla="*/ 142 h 415"/>
                <a:gd name="T66" fmla="*/ 23 w 414"/>
                <a:gd name="T67" fmla="*/ 112 h 415"/>
                <a:gd name="T68" fmla="*/ 40 w 414"/>
                <a:gd name="T69" fmla="*/ 85 h 415"/>
                <a:gd name="T70" fmla="*/ 60 w 414"/>
                <a:gd name="T71" fmla="*/ 61 h 415"/>
                <a:gd name="T72" fmla="*/ 85 w 414"/>
                <a:gd name="T73" fmla="*/ 40 h 415"/>
                <a:gd name="T74" fmla="*/ 112 w 414"/>
                <a:gd name="T75" fmla="*/ 23 h 415"/>
                <a:gd name="T76" fmla="*/ 141 w 414"/>
                <a:gd name="T77" fmla="*/ 11 h 415"/>
                <a:gd name="T78" fmla="*/ 174 w 414"/>
                <a:gd name="T79" fmla="*/ 3 h 415"/>
                <a:gd name="T80" fmla="*/ 207 w 414"/>
                <a:gd name="T81"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5">
                  <a:moveTo>
                    <a:pt x="207" y="0"/>
                  </a:moveTo>
                  <a:lnTo>
                    <a:pt x="241" y="3"/>
                  </a:lnTo>
                  <a:lnTo>
                    <a:pt x="273" y="11"/>
                  </a:lnTo>
                  <a:lnTo>
                    <a:pt x="302" y="23"/>
                  </a:lnTo>
                  <a:lnTo>
                    <a:pt x="330" y="40"/>
                  </a:lnTo>
                  <a:lnTo>
                    <a:pt x="354" y="61"/>
                  </a:lnTo>
                  <a:lnTo>
                    <a:pt x="375" y="85"/>
                  </a:lnTo>
                  <a:lnTo>
                    <a:pt x="391" y="112"/>
                  </a:lnTo>
                  <a:lnTo>
                    <a:pt x="404" y="142"/>
                  </a:lnTo>
                  <a:lnTo>
                    <a:pt x="411" y="174"/>
                  </a:lnTo>
                  <a:lnTo>
                    <a:pt x="414" y="208"/>
                  </a:lnTo>
                  <a:lnTo>
                    <a:pt x="411" y="241"/>
                  </a:lnTo>
                  <a:lnTo>
                    <a:pt x="404" y="274"/>
                  </a:lnTo>
                  <a:lnTo>
                    <a:pt x="391" y="303"/>
                  </a:lnTo>
                  <a:lnTo>
                    <a:pt x="375" y="330"/>
                  </a:lnTo>
                  <a:lnTo>
                    <a:pt x="354" y="354"/>
                  </a:lnTo>
                  <a:lnTo>
                    <a:pt x="330" y="375"/>
                  </a:lnTo>
                  <a:lnTo>
                    <a:pt x="302" y="392"/>
                  </a:lnTo>
                  <a:lnTo>
                    <a:pt x="273" y="404"/>
                  </a:lnTo>
                  <a:lnTo>
                    <a:pt x="241" y="412"/>
                  </a:lnTo>
                  <a:lnTo>
                    <a:pt x="207" y="415"/>
                  </a:lnTo>
                  <a:lnTo>
                    <a:pt x="174" y="412"/>
                  </a:lnTo>
                  <a:lnTo>
                    <a:pt x="141" y="404"/>
                  </a:lnTo>
                  <a:lnTo>
                    <a:pt x="112" y="392"/>
                  </a:lnTo>
                  <a:lnTo>
                    <a:pt x="85" y="375"/>
                  </a:lnTo>
                  <a:lnTo>
                    <a:pt x="60" y="354"/>
                  </a:lnTo>
                  <a:lnTo>
                    <a:pt x="40" y="330"/>
                  </a:lnTo>
                  <a:lnTo>
                    <a:pt x="23" y="303"/>
                  </a:lnTo>
                  <a:lnTo>
                    <a:pt x="10" y="274"/>
                  </a:lnTo>
                  <a:lnTo>
                    <a:pt x="3" y="241"/>
                  </a:lnTo>
                  <a:lnTo>
                    <a:pt x="0" y="208"/>
                  </a:lnTo>
                  <a:lnTo>
                    <a:pt x="3" y="174"/>
                  </a:lnTo>
                  <a:lnTo>
                    <a:pt x="10" y="142"/>
                  </a:lnTo>
                  <a:lnTo>
                    <a:pt x="23" y="112"/>
                  </a:lnTo>
                  <a:lnTo>
                    <a:pt x="40" y="85"/>
                  </a:lnTo>
                  <a:lnTo>
                    <a:pt x="60" y="61"/>
                  </a:lnTo>
                  <a:lnTo>
                    <a:pt x="85" y="40"/>
                  </a:lnTo>
                  <a:lnTo>
                    <a:pt x="112" y="23"/>
                  </a:lnTo>
                  <a:lnTo>
                    <a:pt x="141" y="11"/>
                  </a:lnTo>
                  <a:lnTo>
                    <a:pt x="174" y="3"/>
                  </a:lnTo>
                  <a:lnTo>
                    <a:pt x="207" y="0"/>
                  </a:lnTo>
                  <a:close/>
                </a:path>
              </a:pathLst>
            </a:custGeom>
            <a:grpFill/>
            <a:ln w="0">
              <a:solidFill>
                <a:schemeClr val="tx1"/>
              </a:solidFill>
              <a:prstDash val="solid"/>
              <a:round/>
              <a:headEnd/>
              <a:tailEnd/>
            </a:ln>
          </p:spPr>
          <p:txBody>
            <a:bodyPr/>
            <a:lstStyle/>
            <a:p>
              <a:endParaRPr lang="de-DE" sz="800" b="0" dirty="0">
                <a:latin typeface="+mn-lt"/>
              </a:endParaRPr>
            </a:p>
          </p:txBody>
        </p:sp>
      </p:grpSp>
      <p:grpSp>
        <p:nvGrpSpPr>
          <p:cNvPr id="266" name="Gruppieren 265"/>
          <p:cNvGrpSpPr/>
          <p:nvPr/>
        </p:nvGrpSpPr>
        <p:grpSpPr>
          <a:xfrm>
            <a:off x="2893022" y="2024091"/>
            <a:ext cx="281450" cy="334070"/>
            <a:chOff x="-696070" y="5354178"/>
            <a:chExt cx="288000" cy="364988"/>
          </a:xfrm>
          <a:solidFill>
            <a:schemeClr val="tx1"/>
          </a:solidFill>
        </p:grpSpPr>
        <p:sp>
          <p:nvSpPr>
            <p:cNvPr id="267"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grpSp>
          <p:nvGrpSpPr>
            <p:cNvPr id="268" name="Gruppieren 267"/>
            <p:cNvGrpSpPr>
              <a:grpSpLocks noChangeAspect="1"/>
            </p:cNvGrpSpPr>
            <p:nvPr/>
          </p:nvGrpSpPr>
          <p:grpSpPr>
            <a:xfrm>
              <a:off x="-649397" y="5481248"/>
              <a:ext cx="204387" cy="180000"/>
              <a:chOff x="-1305411" y="5962628"/>
              <a:chExt cx="947406" cy="834356"/>
            </a:xfrm>
            <a:grpFill/>
          </p:grpSpPr>
          <p:grpSp>
            <p:nvGrpSpPr>
              <p:cNvPr id="269" name="noun_project_01063.eps"/>
              <p:cNvGrpSpPr>
                <a:grpSpLocks/>
              </p:cNvGrpSpPr>
              <p:nvPr/>
            </p:nvGrpSpPr>
            <p:grpSpPr bwMode="auto">
              <a:xfrm>
                <a:off x="-1305411" y="5962628"/>
                <a:ext cx="557212" cy="595313"/>
                <a:chOff x="2223" y="3060"/>
                <a:chExt cx="351" cy="375"/>
              </a:xfrm>
              <a:grpFill/>
            </p:grpSpPr>
            <p:sp>
              <p:nvSpPr>
                <p:cNvPr id="273"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274"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275"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276"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nvGrpSpPr>
              <p:cNvPr id="270" name="noun_project_01064.eps"/>
              <p:cNvGrpSpPr>
                <a:grpSpLocks/>
              </p:cNvGrpSpPr>
              <p:nvPr/>
            </p:nvGrpSpPr>
            <p:grpSpPr bwMode="auto">
              <a:xfrm>
                <a:off x="-953318" y="6201671"/>
                <a:ext cx="595313" cy="595313"/>
                <a:chOff x="2734" y="3060"/>
                <a:chExt cx="375" cy="375"/>
              </a:xfrm>
              <a:grpFill/>
            </p:grpSpPr>
            <p:sp>
              <p:nvSpPr>
                <p:cNvPr id="271"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272"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grpSp>
      <p:sp>
        <p:nvSpPr>
          <p:cNvPr id="277" name="Rechteck: abgerundete Ecken 222">
            <a:extLst>
              <a:ext uri="{FF2B5EF4-FFF2-40B4-BE49-F238E27FC236}">
                <a16:creationId xmlns:a16="http://schemas.microsoft.com/office/drawing/2014/main" id="{41F37388-DB60-4FD8-BF6A-CC3A26A6556C}"/>
              </a:ext>
            </a:extLst>
          </p:cNvPr>
          <p:cNvSpPr/>
          <p:nvPr/>
        </p:nvSpPr>
        <p:spPr bwMode="auto">
          <a:xfrm>
            <a:off x="2089553" y="3895516"/>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Neue Verrichtung</a:t>
            </a:r>
          </a:p>
        </p:txBody>
      </p:sp>
      <p:sp>
        <p:nvSpPr>
          <p:cNvPr id="278" name="Rechteck: abgerundete Ecken 202">
            <a:extLst>
              <a:ext uri="{FF2B5EF4-FFF2-40B4-BE49-F238E27FC236}">
                <a16:creationId xmlns:a16="http://schemas.microsoft.com/office/drawing/2014/main" id="{5477891B-A646-4268-9059-F0AE614BD715}"/>
              </a:ext>
            </a:extLst>
          </p:cNvPr>
          <p:cNvSpPr/>
          <p:nvPr/>
        </p:nvSpPr>
        <p:spPr bwMode="auto">
          <a:xfrm>
            <a:off x="2089553" y="4428487"/>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Wieder geöffnet</a:t>
            </a:r>
          </a:p>
        </p:txBody>
      </p:sp>
      <p:sp>
        <p:nvSpPr>
          <p:cNvPr id="279" name="Rechteck 278"/>
          <p:cNvSpPr/>
          <p:nvPr/>
        </p:nvSpPr>
        <p:spPr bwMode="auto">
          <a:xfrm>
            <a:off x="8805239" y="3145421"/>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Nein</a:t>
            </a:r>
          </a:p>
        </p:txBody>
      </p:sp>
      <p:sp>
        <p:nvSpPr>
          <p:cNvPr id="280" name="noun_project_01304.eps"/>
          <p:cNvSpPr>
            <a:spLocks noChangeAspect="1" noEditPoints="1"/>
          </p:cNvSpPr>
          <p:nvPr/>
        </p:nvSpPr>
        <p:spPr bwMode="auto">
          <a:xfrm>
            <a:off x="9197353" y="2927065"/>
            <a:ext cx="281450" cy="199947"/>
          </a:xfrm>
          <a:custGeom>
            <a:avLst/>
            <a:gdLst>
              <a:gd name="T0" fmla="*/ 2071 w 3164"/>
              <a:gd name="T1" fmla="*/ 1272 h 2226"/>
              <a:gd name="T2" fmla="*/ 2989 w 3164"/>
              <a:gd name="T3" fmla="*/ 2226 h 2226"/>
              <a:gd name="T4" fmla="*/ 175 w 3164"/>
              <a:gd name="T5" fmla="*/ 2226 h 2226"/>
              <a:gd name="T6" fmla="*/ 1097 w 3164"/>
              <a:gd name="T7" fmla="*/ 1282 h 2226"/>
              <a:gd name="T8" fmla="*/ 1580 w 3164"/>
              <a:gd name="T9" fmla="*/ 1738 h 2226"/>
              <a:gd name="T10" fmla="*/ 2071 w 3164"/>
              <a:gd name="T11" fmla="*/ 1272 h 2226"/>
              <a:gd name="T12" fmla="*/ 3164 w 3164"/>
              <a:gd name="T13" fmla="*/ 238 h 2226"/>
              <a:gd name="T14" fmla="*/ 3164 w 3164"/>
              <a:gd name="T15" fmla="*/ 2060 h 2226"/>
              <a:gd name="T16" fmla="*/ 2243 w 3164"/>
              <a:gd name="T17" fmla="*/ 1107 h 2226"/>
              <a:gd name="T18" fmla="*/ 3164 w 3164"/>
              <a:gd name="T19" fmla="*/ 238 h 2226"/>
              <a:gd name="T20" fmla="*/ 0 w 3164"/>
              <a:gd name="T21" fmla="*/ 238 h 2226"/>
              <a:gd name="T22" fmla="*/ 923 w 3164"/>
              <a:gd name="T23" fmla="*/ 1111 h 2226"/>
              <a:gd name="T24" fmla="*/ 0 w 3164"/>
              <a:gd name="T25" fmla="*/ 2060 h 2226"/>
              <a:gd name="T26" fmla="*/ 0 w 3164"/>
              <a:gd name="T27" fmla="*/ 238 h 2226"/>
              <a:gd name="T28" fmla="*/ 224 w 3164"/>
              <a:gd name="T29" fmla="*/ 0 h 2226"/>
              <a:gd name="T30" fmla="*/ 2935 w 3164"/>
              <a:gd name="T31" fmla="*/ 0 h 2226"/>
              <a:gd name="T32" fmla="*/ 1580 w 3164"/>
              <a:gd name="T33" fmla="*/ 1295 h 2226"/>
              <a:gd name="T34" fmla="*/ 224 w 3164"/>
              <a:gd name="T35" fmla="*/ 0 h 2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64" h="2226">
                <a:moveTo>
                  <a:pt x="2071" y="1272"/>
                </a:moveTo>
                <a:lnTo>
                  <a:pt x="2989" y="2226"/>
                </a:lnTo>
                <a:lnTo>
                  <a:pt x="175" y="2226"/>
                </a:lnTo>
                <a:lnTo>
                  <a:pt x="1097" y="1282"/>
                </a:lnTo>
                <a:lnTo>
                  <a:pt x="1580" y="1738"/>
                </a:lnTo>
                <a:lnTo>
                  <a:pt x="2071" y="1272"/>
                </a:lnTo>
                <a:close/>
                <a:moveTo>
                  <a:pt x="3164" y="238"/>
                </a:moveTo>
                <a:lnTo>
                  <a:pt x="3164" y="2060"/>
                </a:lnTo>
                <a:lnTo>
                  <a:pt x="2243" y="1107"/>
                </a:lnTo>
                <a:lnTo>
                  <a:pt x="3164" y="238"/>
                </a:lnTo>
                <a:close/>
                <a:moveTo>
                  <a:pt x="0" y="238"/>
                </a:moveTo>
                <a:lnTo>
                  <a:pt x="923" y="1111"/>
                </a:lnTo>
                <a:lnTo>
                  <a:pt x="0" y="2060"/>
                </a:lnTo>
                <a:lnTo>
                  <a:pt x="0" y="238"/>
                </a:lnTo>
                <a:close/>
                <a:moveTo>
                  <a:pt x="224" y="0"/>
                </a:moveTo>
                <a:lnTo>
                  <a:pt x="2935" y="0"/>
                </a:lnTo>
                <a:lnTo>
                  <a:pt x="1580" y="1295"/>
                </a:lnTo>
                <a:lnTo>
                  <a:pt x="224" y="0"/>
                </a:lnTo>
                <a:close/>
              </a:path>
            </a:pathLst>
          </a:custGeom>
          <a:solidFill>
            <a:schemeClr val="tx1"/>
          </a:solidFill>
          <a:ln>
            <a:noFill/>
          </a:ln>
        </p:spPr>
        <p:txBody>
          <a:bodyPr/>
          <a:lstStyle/>
          <a:p>
            <a:endParaRPr lang="de-DE" sz="800" dirty="0">
              <a:latin typeface="+mn-lt"/>
            </a:endParaRPr>
          </a:p>
        </p:txBody>
      </p:sp>
      <p:sp>
        <p:nvSpPr>
          <p:cNvPr id="281" name="Rechteck 280"/>
          <p:cNvSpPr/>
          <p:nvPr/>
        </p:nvSpPr>
        <p:spPr bwMode="auto">
          <a:xfrm>
            <a:off x="9188381" y="3151595"/>
            <a:ext cx="668444"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r>
              <a:rPr lang="de-DE" sz="800" b="0" dirty="0"/>
              <a:t>E-Mail mit Link, Postfach</a:t>
            </a:r>
            <a:endParaRPr kumimoji="0" lang="de-DE" sz="800" b="0" i="0" u="none" strike="noStrike" cap="none" normalizeH="0" baseline="0" dirty="0">
              <a:ln>
                <a:noFill/>
              </a:ln>
              <a:solidFill>
                <a:srgbClr val="244894"/>
              </a:solidFill>
              <a:effectLst/>
            </a:endParaRPr>
          </a:p>
        </p:txBody>
      </p:sp>
      <p:grpSp>
        <p:nvGrpSpPr>
          <p:cNvPr id="282" name="Gruppieren 281"/>
          <p:cNvGrpSpPr>
            <a:grpSpLocks noChangeAspect="1"/>
          </p:cNvGrpSpPr>
          <p:nvPr/>
        </p:nvGrpSpPr>
        <p:grpSpPr>
          <a:xfrm>
            <a:off x="6841530" y="3580266"/>
            <a:ext cx="281450" cy="453660"/>
            <a:chOff x="-1227749" y="5257321"/>
            <a:chExt cx="347663" cy="560387"/>
          </a:xfrm>
        </p:grpSpPr>
        <p:sp>
          <p:nvSpPr>
            <p:cNvPr id="283" name="Freeform 297"/>
            <p:cNvSpPr>
              <a:spLocks noEditPoints="1"/>
            </p:cNvSpPr>
            <p:nvPr/>
          </p:nvSpPr>
          <p:spPr bwMode="auto">
            <a:xfrm>
              <a:off x="-1176949" y="5358921"/>
              <a:ext cx="63500" cy="63500"/>
            </a:xfrm>
            <a:custGeom>
              <a:avLst/>
              <a:gdLst>
                <a:gd name="T0" fmla="*/ 315 w 406"/>
                <a:gd name="T1" fmla="*/ 140 h 399"/>
                <a:gd name="T2" fmla="*/ 282 w 406"/>
                <a:gd name="T3" fmla="*/ 187 h 399"/>
                <a:gd name="T4" fmla="*/ 254 w 406"/>
                <a:gd name="T5" fmla="*/ 231 h 399"/>
                <a:gd name="T6" fmla="*/ 231 w 406"/>
                <a:gd name="T7" fmla="*/ 270 h 399"/>
                <a:gd name="T8" fmla="*/ 217 w 406"/>
                <a:gd name="T9" fmla="*/ 297 h 399"/>
                <a:gd name="T10" fmla="*/ 212 w 406"/>
                <a:gd name="T11" fmla="*/ 308 h 399"/>
                <a:gd name="T12" fmla="*/ 281 w 406"/>
                <a:gd name="T13" fmla="*/ 341 h 399"/>
                <a:gd name="T14" fmla="*/ 315 w 406"/>
                <a:gd name="T15" fmla="*/ 333 h 399"/>
                <a:gd name="T16" fmla="*/ 339 w 406"/>
                <a:gd name="T17" fmla="*/ 310 h 399"/>
                <a:gd name="T18" fmla="*/ 349 w 406"/>
                <a:gd name="T19" fmla="*/ 277 h 399"/>
                <a:gd name="T20" fmla="*/ 346 w 406"/>
                <a:gd name="T21" fmla="*/ 143 h 399"/>
                <a:gd name="T22" fmla="*/ 332 w 406"/>
                <a:gd name="T23" fmla="*/ 117 h 399"/>
                <a:gd name="T24" fmla="*/ 108 w 406"/>
                <a:gd name="T25" fmla="*/ 97 h 399"/>
                <a:gd name="T26" fmla="*/ 78 w 406"/>
                <a:gd name="T27" fmla="*/ 113 h 399"/>
                <a:gd name="T28" fmla="*/ 61 w 406"/>
                <a:gd name="T29" fmla="*/ 142 h 399"/>
                <a:gd name="T30" fmla="*/ 59 w 406"/>
                <a:gd name="T31" fmla="*/ 277 h 399"/>
                <a:gd name="T32" fmla="*/ 67 w 406"/>
                <a:gd name="T33" fmla="*/ 310 h 399"/>
                <a:gd name="T34" fmla="*/ 92 w 406"/>
                <a:gd name="T35" fmla="*/ 333 h 399"/>
                <a:gd name="T36" fmla="*/ 125 w 406"/>
                <a:gd name="T37" fmla="*/ 341 h 399"/>
                <a:gd name="T38" fmla="*/ 160 w 406"/>
                <a:gd name="T39" fmla="*/ 308 h 399"/>
                <a:gd name="T40" fmla="*/ 132 w 406"/>
                <a:gd name="T41" fmla="*/ 267 h 399"/>
                <a:gd name="T42" fmla="*/ 101 w 406"/>
                <a:gd name="T43" fmla="*/ 241 h 399"/>
                <a:gd name="T44" fmla="*/ 76 w 406"/>
                <a:gd name="T45" fmla="*/ 227 h 399"/>
                <a:gd name="T46" fmla="*/ 64 w 406"/>
                <a:gd name="T47" fmla="*/ 222 h 399"/>
                <a:gd name="T48" fmla="*/ 85 w 406"/>
                <a:gd name="T49" fmla="*/ 168 h 399"/>
                <a:gd name="T50" fmla="*/ 108 w 406"/>
                <a:gd name="T51" fmla="*/ 179 h 399"/>
                <a:gd name="T52" fmla="*/ 144 w 406"/>
                <a:gd name="T53" fmla="*/ 201 h 399"/>
                <a:gd name="T54" fmla="*/ 183 w 406"/>
                <a:gd name="T55" fmla="*/ 238 h 399"/>
                <a:gd name="T56" fmla="*/ 214 w 406"/>
                <a:gd name="T57" fmla="*/ 186 h 399"/>
                <a:gd name="T58" fmla="*/ 255 w 406"/>
                <a:gd name="T59" fmla="*/ 125 h 399"/>
                <a:gd name="T60" fmla="*/ 125 w 406"/>
                <a:gd name="T61" fmla="*/ 94 h 399"/>
                <a:gd name="T62" fmla="*/ 406 w 406"/>
                <a:gd name="T63" fmla="*/ 48 h 399"/>
                <a:gd name="T64" fmla="*/ 372 w 406"/>
                <a:gd name="T65" fmla="*/ 75 h 399"/>
                <a:gd name="T66" fmla="*/ 397 w 406"/>
                <a:gd name="T67" fmla="*/ 113 h 399"/>
                <a:gd name="T68" fmla="*/ 406 w 406"/>
                <a:gd name="T69" fmla="*/ 159 h 399"/>
                <a:gd name="T70" fmla="*/ 402 w 406"/>
                <a:gd name="T71" fmla="*/ 305 h 399"/>
                <a:gd name="T72" fmla="*/ 379 w 406"/>
                <a:gd name="T73" fmla="*/ 353 h 399"/>
                <a:gd name="T74" fmla="*/ 336 w 406"/>
                <a:gd name="T75" fmla="*/ 386 h 399"/>
                <a:gd name="T76" fmla="*/ 281 w 406"/>
                <a:gd name="T77" fmla="*/ 399 h 399"/>
                <a:gd name="T78" fmla="*/ 97 w 406"/>
                <a:gd name="T79" fmla="*/ 396 h 399"/>
                <a:gd name="T80" fmla="*/ 48 w 406"/>
                <a:gd name="T81" fmla="*/ 372 h 399"/>
                <a:gd name="T82" fmla="*/ 13 w 406"/>
                <a:gd name="T83" fmla="*/ 330 h 399"/>
                <a:gd name="T84" fmla="*/ 0 w 406"/>
                <a:gd name="T85" fmla="*/ 277 h 399"/>
                <a:gd name="T86" fmla="*/ 4 w 406"/>
                <a:gd name="T87" fmla="*/ 131 h 399"/>
                <a:gd name="T88" fmla="*/ 29 w 406"/>
                <a:gd name="T89" fmla="*/ 83 h 399"/>
                <a:gd name="T90" fmla="*/ 71 w 406"/>
                <a:gd name="T91" fmla="*/ 50 h 399"/>
                <a:gd name="T92" fmla="*/ 125 w 406"/>
                <a:gd name="T93" fmla="*/ 37 h 399"/>
                <a:gd name="T94" fmla="*/ 302 w 406"/>
                <a:gd name="T95" fmla="*/ 39 h 399"/>
                <a:gd name="T96" fmla="*/ 349 w 406"/>
                <a:gd name="T97" fmla="*/ 1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9">
                  <a:moveTo>
                    <a:pt x="332" y="117"/>
                  </a:moveTo>
                  <a:lnTo>
                    <a:pt x="315" y="140"/>
                  </a:lnTo>
                  <a:lnTo>
                    <a:pt x="298" y="164"/>
                  </a:lnTo>
                  <a:lnTo>
                    <a:pt x="282" y="187"/>
                  </a:lnTo>
                  <a:lnTo>
                    <a:pt x="267" y="210"/>
                  </a:lnTo>
                  <a:lnTo>
                    <a:pt x="254" y="231"/>
                  </a:lnTo>
                  <a:lnTo>
                    <a:pt x="242" y="252"/>
                  </a:lnTo>
                  <a:lnTo>
                    <a:pt x="231" y="270"/>
                  </a:lnTo>
                  <a:lnTo>
                    <a:pt x="224" y="285"/>
                  </a:lnTo>
                  <a:lnTo>
                    <a:pt x="217" y="297"/>
                  </a:lnTo>
                  <a:lnTo>
                    <a:pt x="213" y="305"/>
                  </a:lnTo>
                  <a:lnTo>
                    <a:pt x="212" y="308"/>
                  </a:lnTo>
                  <a:lnTo>
                    <a:pt x="194" y="341"/>
                  </a:lnTo>
                  <a:lnTo>
                    <a:pt x="281" y="341"/>
                  </a:lnTo>
                  <a:lnTo>
                    <a:pt x="299" y="339"/>
                  </a:lnTo>
                  <a:lnTo>
                    <a:pt x="315" y="333"/>
                  </a:lnTo>
                  <a:lnTo>
                    <a:pt x="328" y="323"/>
                  </a:lnTo>
                  <a:lnTo>
                    <a:pt x="339" y="310"/>
                  </a:lnTo>
                  <a:lnTo>
                    <a:pt x="346" y="294"/>
                  </a:lnTo>
                  <a:lnTo>
                    <a:pt x="349" y="277"/>
                  </a:lnTo>
                  <a:lnTo>
                    <a:pt x="349" y="159"/>
                  </a:lnTo>
                  <a:lnTo>
                    <a:pt x="346" y="143"/>
                  </a:lnTo>
                  <a:lnTo>
                    <a:pt x="341" y="130"/>
                  </a:lnTo>
                  <a:lnTo>
                    <a:pt x="332" y="117"/>
                  </a:lnTo>
                  <a:close/>
                  <a:moveTo>
                    <a:pt x="125" y="94"/>
                  </a:moveTo>
                  <a:lnTo>
                    <a:pt x="108" y="97"/>
                  </a:lnTo>
                  <a:lnTo>
                    <a:pt x="92" y="103"/>
                  </a:lnTo>
                  <a:lnTo>
                    <a:pt x="78" y="113"/>
                  </a:lnTo>
                  <a:lnTo>
                    <a:pt x="67" y="126"/>
                  </a:lnTo>
                  <a:lnTo>
                    <a:pt x="61" y="142"/>
                  </a:lnTo>
                  <a:lnTo>
                    <a:pt x="59" y="159"/>
                  </a:lnTo>
                  <a:lnTo>
                    <a:pt x="59" y="277"/>
                  </a:lnTo>
                  <a:lnTo>
                    <a:pt x="61" y="294"/>
                  </a:lnTo>
                  <a:lnTo>
                    <a:pt x="67" y="310"/>
                  </a:lnTo>
                  <a:lnTo>
                    <a:pt x="78" y="323"/>
                  </a:lnTo>
                  <a:lnTo>
                    <a:pt x="92" y="333"/>
                  </a:lnTo>
                  <a:lnTo>
                    <a:pt x="108" y="339"/>
                  </a:lnTo>
                  <a:lnTo>
                    <a:pt x="125" y="341"/>
                  </a:lnTo>
                  <a:lnTo>
                    <a:pt x="177" y="341"/>
                  </a:lnTo>
                  <a:lnTo>
                    <a:pt x="160" y="308"/>
                  </a:lnTo>
                  <a:lnTo>
                    <a:pt x="147" y="285"/>
                  </a:lnTo>
                  <a:lnTo>
                    <a:pt x="132" y="267"/>
                  </a:lnTo>
                  <a:lnTo>
                    <a:pt x="116" y="252"/>
                  </a:lnTo>
                  <a:lnTo>
                    <a:pt x="101" y="241"/>
                  </a:lnTo>
                  <a:lnTo>
                    <a:pt x="87" y="232"/>
                  </a:lnTo>
                  <a:lnTo>
                    <a:pt x="76" y="227"/>
                  </a:lnTo>
                  <a:lnTo>
                    <a:pt x="67" y="224"/>
                  </a:lnTo>
                  <a:lnTo>
                    <a:pt x="64" y="222"/>
                  </a:lnTo>
                  <a:lnTo>
                    <a:pt x="80" y="167"/>
                  </a:lnTo>
                  <a:lnTo>
                    <a:pt x="85" y="168"/>
                  </a:lnTo>
                  <a:lnTo>
                    <a:pt x="94" y="172"/>
                  </a:lnTo>
                  <a:lnTo>
                    <a:pt x="108" y="179"/>
                  </a:lnTo>
                  <a:lnTo>
                    <a:pt x="124" y="188"/>
                  </a:lnTo>
                  <a:lnTo>
                    <a:pt x="144" y="201"/>
                  </a:lnTo>
                  <a:lnTo>
                    <a:pt x="163" y="217"/>
                  </a:lnTo>
                  <a:lnTo>
                    <a:pt x="183" y="238"/>
                  </a:lnTo>
                  <a:lnTo>
                    <a:pt x="197" y="213"/>
                  </a:lnTo>
                  <a:lnTo>
                    <a:pt x="214" y="186"/>
                  </a:lnTo>
                  <a:lnTo>
                    <a:pt x="233" y="156"/>
                  </a:lnTo>
                  <a:lnTo>
                    <a:pt x="255" y="125"/>
                  </a:lnTo>
                  <a:lnTo>
                    <a:pt x="277" y="94"/>
                  </a:lnTo>
                  <a:lnTo>
                    <a:pt x="125" y="94"/>
                  </a:lnTo>
                  <a:close/>
                  <a:moveTo>
                    <a:pt x="375" y="0"/>
                  </a:moveTo>
                  <a:lnTo>
                    <a:pt x="406" y="48"/>
                  </a:lnTo>
                  <a:lnTo>
                    <a:pt x="389" y="61"/>
                  </a:lnTo>
                  <a:lnTo>
                    <a:pt x="372" y="75"/>
                  </a:lnTo>
                  <a:lnTo>
                    <a:pt x="386" y="94"/>
                  </a:lnTo>
                  <a:lnTo>
                    <a:pt x="397" y="113"/>
                  </a:lnTo>
                  <a:lnTo>
                    <a:pt x="403" y="136"/>
                  </a:lnTo>
                  <a:lnTo>
                    <a:pt x="406" y="159"/>
                  </a:lnTo>
                  <a:lnTo>
                    <a:pt x="406" y="277"/>
                  </a:lnTo>
                  <a:lnTo>
                    <a:pt x="402" y="305"/>
                  </a:lnTo>
                  <a:lnTo>
                    <a:pt x="394" y="330"/>
                  </a:lnTo>
                  <a:lnTo>
                    <a:pt x="379" y="353"/>
                  </a:lnTo>
                  <a:lnTo>
                    <a:pt x="359" y="372"/>
                  </a:lnTo>
                  <a:lnTo>
                    <a:pt x="336" y="386"/>
                  </a:lnTo>
                  <a:lnTo>
                    <a:pt x="310" y="396"/>
                  </a:lnTo>
                  <a:lnTo>
                    <a:pt x="281" y="399"/>
                  </a:lnTo>
                  <a:lnTo>
                    <a:pt x="125" y="399"/>
                  </a:lnTo>
                  <a:lnTo>
                    <a:pt x="97" y="396"/>
                  </a:lnTo>
                  <a:lnTo>
                    <a:pt x="71" y="386"/>
                  </a:lnTo>
                  <a:lnTo>
                    <a:pt x="48" y="372"/>
                  </a:lnTo>
                  <a:lnTo>
                    <a:pt x="29" y="353"/>
                  </a:lnTo>
                  <a:lnTo>
                    <a:pt x="13" y="330"/>
                  </a:lnTo>
                  <a:lnTo>
                    <a:pt x="4" y="305"/>
                  </a:lnTo>
                  <a:lnTo>
                    <a:pt x="0" y="277"/>
                  </a:lnTo>
                  <a:lnTo>
                    <a:pt x="0" y="159"/>
                  </a:lnTo>
                  <a:lnTo>
                    <a:pt x="4" y="131"/>
                  </a:lnTo>
                  <a:lnTo>
                    <a:pt x="13" y="105"/>
                  </a:lnTo>
                  <a:lnTo>
                    <a:pt x="29" y="83"/>
                  </a:lnTo>
                  <a:lnTo>
                    <a:pt x="48" y="64"/>
                  </a:lnTo>
                  <a:lnTo>
                    <a:pt x="71" y="50"/>
                  </a:lnTo>
                  <a:lnTo>
                    <a:pt x="97" y="40"/>
                  </a:lnTo>
                  <a:lnTo>
                    <a:pt x="125" y="37"/>
                  </a:lnTo>
                  <a:lnTo>
                    <a:pt x="281" y="37"/>
                  </a:lnTo>
                  <a:lnTo>
                    <a:pt x="302" y="39"/>
                  </a:lnTo>
                  <a:lnTo>
                    <a:pt x="323" y="44"/>
                  </a:lnTo>
                  <a:lnTo>
                    <a:pt x="349" y="19"/>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284" name="Freeform 298"/>
            <p:cNvSpPr>
              <a:spLocks noEditPoints="1"/>
            </p:cNvSpPr>
            <p:nvPr/>
          </p:nvSpPr>
          <p:spPr bwMode="auto">
            <a:xfrm>
              <a:off x="-1176949" y="5431946"/>
              <a:ext cx="63500" cy="60325"/>
            </a:xfrm>
            <a:custGeom>
              <a:avLst/>
              <a:gdLst>
                <a:gd name="T0" fmla="*/ 319 w 406"/>
                <a:gd name="T1" fmla="*/ 134 h 384"/>
                <a:gd name="T2" fmla="*/ 285 w 406"/>
                <a:gd name="T3" fmla="*/ 181 h 384"/>
                <a:gd name="T4" fmla="*/ 256 w 406"/>
                <a:gd name="T5" fmla="*/ 228 h 384"/>
                <a:gd name="T6" fmla="*/ 232 w 406"/>
                <a:gd name="T7" fmla="*/ 268 h 384"/>
                <a:gd name="T8" fmla="*/ 217 w 406"/>
                <a:gd name="T9" fmla="*/ 296 h 384"/>
                <a:gd name="T10" fmla="*/ 212 w 406"/>
                <a:gd name="T11" fmla="*/ 307 h 384"/>
                <a:gd name="T12" fmla="*/ 281 w 406"/>
                <a:gd name="T13" fmla="*/ 326 h 384"/>
                <a:gd name="T14" fmla="*/ 315 w 406"/>
                <a:gd name="T15" fmla="*/ 318 h 384"/>
                <a:gd name="T16" fmla="*/ 339 w 406"/>
                <a:gd name="T17" fmla="*/ 295 h 384"/>
                <a:gd name="T18" fmla="*/ 349 w 406"/>
                <a:gd name="T19" fmla="*/ 263 h 384"/>
                <a:gd name="T20" fmla="*/ 345 w 406"/>
                <a:gd name="T21" fmla="*/ 126 h 384"/>
                <a:gd name="T22" fmla="*/ 125 w 406"/>
                <a:gd name="T23" fmla="*/ 80 h 384"/>
                <a:gd name="T24" fmla="*/ 92 w 406"/>
                <a:gd name="T25" fmla="*/ 89 h 384"/>
                <a:gd name="T26" fmla="*/ 67 w 406"/>
                <a:gd name="T27" fmla="*/ 112 h 384"/>
                <a:gd name="T28" fmla="*/ 59 w 406"/>
                <a:gd name="T29" fmla="*/ 144 h 384"/>
                <a:gd name="T30" fmla="*/ 61 w 406"/>
                <a:gd name="T31" fmla="*/ 279 h 384"/>
                <a:gd name="T32" fmla="*/ 78 w 406"/>
                <a:gd name="T33" fmla="*/ 308 h 384"/>
                <a:gd name="T34" fmla="*/ 108 w 406"/>
                <a:gd name="T35" fmla="*/ 324 h 384"/>
                <a:gd name="T36" fmla="*/ 170 w 406"/>
                <a:gd name="T37" fmla="*/ 326 h 384"/>
                <a:gd name="T38" fmla="*/ 147 w 406"/>
                <a:gd name="T39" fmla="*/ 285 h 384"/>
                <a:gd name="T40" fmla="*/ 116 w 406"/>
                <a:gd name="T41" fmla="*/ 252 h 384"/>
                <a:gd name="T42" fmla="*/ 87 w 406"/>
                <a:gd name="T43" fmla="*/ 232 h 384"/>
                <a:gd name="T44" fmla="*/ 67 w 406"/>
                <a:gd name="T45" fmla="*/ 223 h 384"/>
                <a:gd name="T46" fmla="*/ 80 w 406"/>
                <a:gd name="T47" fmla="*/ 167 h 384"/>
                <a:gd name="T48" fmla="*/ 94 w 406"/>
                <a:gd name="T49" fmla="*/ 171 h 384"/>
                <a:gd name="T50" fmla="*/ 124 w 406"/>
                <a:gd name="T51" fmla="*/ 188 h 384"/>
                <a:gd name="T52" fmla="*/ 163 w 406"/>
                <a:gd name="T53" fmla="*/ 218 h 384"/>
                <a:gd name="T54" fmla="*/ 196 w 406"/>
                <a:gd name="T55" fmla="*/ 216 h 384"/>
                <a:gd name="T56" fmla="*/ 228 w 406"/>
                <a:gd name="T57" fmla="*/ 164 h 384"/>
                <a:gd name="T58" fmla="*/ 267 w 406"/>
                <a:gd name="T59" fmla="*/ 108 h 384"/>
                <a:gd name="T60" fmla="*/ 285 w 406"/>
                <a:gd name="T61" fmla="*/ 80 h 384"/>
                <a:gd name="T62" fmla="*/ 125 w 406"/>
                <a:gd name="T63" fmla="*/ 80 h 384"/>
                <a:gd name="T64" fmla="*/ 406 w 406"/>
                <a:gd name="T65" fmla="*/ 49 h 384"/>
                <a:gd name="T66" fmla="*/ 394 w 406"/>
                <a:gd name="T67" fmla="*/ 92 h 384"/>
                <a:gd name="T68" fmla="*/ 406 w 406"/>
                <a:gd name="T69" fmla="*/ 144 h 384"/>
                <a:gd name="T70" fmla="*/ 402 w 406"/>
                <a:gd name="T71" fmla="*/ 291 h 384"/>
                <a:gd name="T72" fmla="*/ 379 w 406"/>
                <a:gd name="T73" fmla="*/ 338 h 384"/>
                <a:gd name="T74" fmla="*/ 336 w 406"/>
                <a:gd name="T75" fmla="*/ 372 h 384"/>
                <a:gd name="T76" fmla="*/ 281 w 406"/>
                <a:gd name="T77" fmla="*/ 384 h 384"/>
                <a:gd name="T78" fmla="*/ 97 w 406"/>
                <a:gd name="T79" fmla="*/ 381 h 384"/>
                <a:gd name="T80" fmla="*/ 48 w 406"/>
                <a:gd name="T81" fmla="*/ 358 h 384"/>
                <a:gd name="T82" fmla="*/ 13 w 406"/>
                <a:gd name="T83" fmla="*/ 316 h 384"/>
                <a:gd name="T84" fmla="*/ 0 w 406"/>
                <a:gd name="T85" fmla="*/ 263 h 384"/>
                <a:gd name="T86" fmla="*/ 4 w 406"/>
                <a:gd name="T87" fmla="*/ 117 h 384"/>
                <a:gd name="T88" fmla="*/ 29 w 406"/>
                <a:gd name="T89" fmla="*/ 68 h 384"/>
                <a:gd name="T90" fmla="*/ 71 w 406"/>
                <a:gd name="T91" fmla="*/ 35 h 384"/>
                <a:gd name="T92" fmla="*/ 125 w 406"/>
                <a:gd name="T93" fmla="*/ 22 h 384"/>
                <a:gd name="T94" fmla="*/ 308 w 406"/>
                <a:gd name="T95" fmla="*/ 25 h 384"/>
                <a:gd name="T96" fmla="*/ 354 w 406"/>
                <a:gd name="T97" fmla="*/ 1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4">
                  <a:moveTo>
                    <a:pt x="339" y="111"/>
                  </a:moveTo>
                  <a:lnTo>
                    <a:pt x="319" y="134"/>
                  </a:lnTo>
                  <a:lnTo>
                    <a:pt x="302" y="157"/>
                  </a:lnTo>
                  <a:lnTo>
                    <a:pt x="285" y="181"/>
                  </a:lnTo>
                  <a:lnTo>
                    <a:pt x="270" y="205"/>
                  </a:lnTo>
                  <a:lnTo>
                    <a:pt x="256" y="228"/>
                  </a:lnTo>
                  <a:lnTo>
                    <a:pt x="243" y="249"/>
                  </a:lnTo>
                  <a:lnTo>
                    <a:pt x="232" y="268"/>
                  </a:lnTo>
                  <a:lnTo>
                    <a:pt x="224" y="283"/>
                  </a:lnTo>
                  <a:lnTo>
                    <a:pt x="217" y="296"/>
                  </a:lnTo>
                  <a:lnTo>
                    <a:pt x="213" y="304"/>
                  </a:lnTo>
                  <a:lnTo>
                    <a:pt x="212" y="307"/>
                  </a:lnTo>
                  <a:lnTo>
                    <a:pt x="202" y="326"/>
                  </a:lnTo>
                  <a:lnTo>
                    <a:pt x="281" y="326"/>
                  </a:lnTo>
                  <a:lnTo>
                    <a:pt x="299" y="324"/>
                  </a:lnTo>
                  <a:lnTo>
                    <a:pt x="315" y="318"/>
                  </a:lnTo>
                  <a:lnTo>
                    <a:pt x="328" y="308"/>
                  </a:lnTo>
                  <a:lnTo>
                    <a:pt x="339" y="295"/>
                  </a:lnTo>
                  <a:lnTo>
                    <a:pt x="346" y="279"/>
                  </a:lnTo>
                  <a:lnTo>
                    <a:pt x="349" y="263"/>
                  </a:lnTo>
                  <a:lnTo>
                    <a:pt x="349" y="144"/>
                  </a:lnTo>
                  <a:lnTo>
                    <a:pt x="345" y="126"/>
                  </a:lnTo>
                  <a:lnTo>
                    <a:pt x="339" y="111"/>
                  </a:lnTo>
                  <a:close/>
                  <a:moveTo>
                    <a:pt x="125" y="80"/>
                  </a:moveTo>
                  <a:lnTo>
                    <a:pt x="108" y="82"/>
                  </a:lnTo>
                  <a:lnTo>
                    <a:pt x="92" y="89"/>
                  </a:lnTo>
                  <a:lnTo>
                    <a:pt x="78" y="98"/>
                  </a:lnTo>
                  <a:lnTo>
                    <a:pt x="67" y="112"/>
                  </a:lnTo>
                  <a:lnTo>
                    <a:pt x="61" y="127"/>
                  </a:lnTo>
                  <a:lnTo>
                    <a:pt x="59" y="144"/>
                  </a:lnTo>
                  <a:lnTo>
                    <a:pt x="59" y="263"/>
                  </a:lnTo>
                  <a:lnTo>
                    <a:pt x="61" y="279"/>
                  </a:lnTo>
                  <a:lnTo>
                    <a:pt x="67" y="295"/>
                  </a:lnTo>
                  <a:lnTo>
                    <a:pt x="78" y="308"/>
                  </a:lnTo>
                  <a:lnTo>
                    <a:pt x="92" y="318"/>
                  </a:lnTo>
                  <a:lnTo>
                    <a:pt x="108" y="324"/>
                  </a:lnTo>
                  <a:lnTo>
                    <a:pt x="125" y="326"/>
                  </a:lnTo>
                  <a:lnTo>
                    <a:pt x="170" y="326"/>
                  </a:lnTo>
                  <a:lnTo>
                    <a:pt x="160" y="307"/>
                  </a:lnTo>
                  <a:lnTo>
                    <a:pt x="147" y="285"/>
                  </a:lnTo>
                  <a:lnTo>
                    <a:pt x="132" y="266"/>
                  </a:lnTo>
                  <a:lnTo>
                    <a:pt x="116" y="252"/>
                  </a:lnTo>
                  <a:lnTo>
                    <a:pt x="101" y="240"/>
                  </a:lnTo>
                  <a:lnTo>
                    <a:pt x="87" y="232"/>
                  </a:lnTo>
                  <a:lnTo>
                    <a:pt x="76" y="226"/>
                  </a:lnTo>
                  <a:lnTo>
                    <a:pt x="67" y="223"/>
                  </a:lnTo>
                  <a:lnTo>
                    <a:pt x="64" y="222"/>
                  </a:lnTo>
                  <a:lnTo>
                    <a:pt x="80" y="167"/>
                  </a:lnTo>
                  <a:lnTo>
                    <a:pt x="85" y="168"/>
                  </a:lnTo>
                  <a:lnTo>
                    <a:pt x="94" y="171"/>
                  </a:lnTo>
                  <a:lnTo>
                    <a:pt x="108" y="178"/>
                  </a:lnTo>
                  <a:lnTo>
                    <a:pt x="124" y="188"/>
                  </a:lnTo>
                  <a:lnTo>
                    <a:pt x="144" y="200"/>
                  </a:lnTo>
                  <a:lnTo>
                    <a:pt x="163" y="218"/>
                  </a:lnTo>
                  <a:lnTo>
                    <a:pt x="183" y="238"/>
                  </a:lnTo>
                  <a:lnTo>
                    <a:pt x="196" y="216"/>
                  </a:lnTo>
                  <a:lnTo>
                    <a:pt x="211" y="191"/>
                  </a:lnTo>
                  <a:lnTo>
                    <a:pt x="228" y="164"/>
                  </a:lnTo>
                  <a:lnTo>
                    <a:pt x="246" y="136"/>
                  </a:lnTo>
                  <a:lnTo>
                    <a:pt x="267" y="108"/>
                  </a:lnTo>
                  <a:lnTo>
                    <a:pt x="288" y="80"/>
                  </a:lnTo>
                  <a:lnTo>
                    <a:pt x="285" y="80"/>
                  </a:lnTo>
                  <a:lnTo>
                    <a:pt x="281" y="80"/>
                  </a:lnTo>
                  <a:lnTo>
                    <a:pt x="125" y="80"/>
                  </a:lnTo>
                  <a:close/>
                  <a:moveTo>
                    <a:pt x="375" y="0"/>
                  </a:moveTo>
                  <a:lnTo>
                    <a:pt x="406" y="49"/>
                  </a:lnTo>
                  <a:lnTo>
                    <a:pt x="379" y="69"/>
                  </a:lnTo>
                  <a:lnTo>
                    <a:pt x="394" y="92"/>
                  </a:lnTo>
                  <a:lnTo>
                    <a:pt x="402" y="117"/>
                  </a:lnTo>
                  <a:lnTo>
                    <a:pt x="406" y="144"/>
                  </a:lnTo>
                  <a:lnTo>
                    <a:pt x="406" y="263"/>
                  </a:lnTo>
                  <a:lnTo>
                    <a:pt x="402" y="291"/>
                  </a:lnTo>
                  <a:lnTo>
                    <a:pt x="394" y="316"/>
                  </a:lnTo>
                  <a:lnTo>
                    <a:pt x="379" y="338"/>
                  </a:lnTo>
                  <a:lnTo>
                    <a:pt x="359" y="358"/>
                  </a:lnTo>
                  <a:lnTo>
                    <a:pt x="336" y="372"/>
                  </a:lnTo>
                  <a:lnTo>
                    <a:pt x="310" y="381"/>
                  </a:lnTo>
                  <a:lnTo>
                    <a:pt x="281" y="384"/>
                  </a:lnTo>
                  <a:lnTo>
                    <a:pt x="125" y="384"/>
                  </a:lnTo>
                  <a:lnTo>
                    <a:pt x="97" y="381"/>
                  </a:lnTo>
                  <a:lnTo>
                    <a:pt x="71" y="372"/>
                  </a:lnTo>
                  <a:lnTo>
                    <a:pt x="48" y="358"/>
                  </a:lnTo>
                  <a:lnTo>
                    <a:pt x="29" y="338"/>
                  </a:lnTo>
                  <a:lnTo>
                    <a:pt x="13" y="316"/>
                  </a:lnTo>
                  <a:lnTo>
                    <a:pt x="4" y="291"/>
                  </a:lnTo>
                  <a:lnTo>
                    <a:pt x="0" y="263"/>
                  </a:lnTo>
                  <a:lnTo>
                    <a:pt x="0" y="144"/>
                  </a:lnTo>
                  <a:lnTo>
                    <a:pt x="4" y="117"/>
                  </a:lnTo>
                  <a:lnTo>
                    <a:pt x="13" y="91"/>
                  </a:lnTo>
                  <a:lnTo>
                    <a:pt x="29" y="68"/>
                  </a:lnTo>
                  <a:lnTo>
                    <a:pt x="48" y="49"/>
                  </a:lnTo>
                  <a:lnTo>
                    <a:pt x="71" y="35"/>
                  </a:lnTo>
                  <a:lnTo>
                    <a:pt x="97" y="25"/>
                  </a:lnTo>
                  <a:lnTo>
                    <a:pt x="125" y="22"/>
                  </a:lnTo>
                  <a:lnTo>
                    <a:pt x="281" y="22"/>
                  </a:lnTo>
                  <a:lnTo>
                    <a:pt x="308" y="25"/>
                  </a:lnTo>
                  <a:lnTo>
                    <a:pt x="332" y="34"/>
                  </a:lnTo>
                  <a:lnTo>
                    <a:pt x="354" y="15"/>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285" name="Freeform 299"/>
            <p:cNvSpPr>
              <a:spLocks noEditPoints="1"/>
            </p:cNvSpPr>
            <p:nvPr/>
          </p:nvSpPr>
          <p:spPr bwMode="auto">
            <a:xfrm>
              <a:off x="-1176949" y="5503383"/>
              <a:ext cx="63500" cy="61912"/>
            </a:xfrm>
            <a:custGeom>
              <a:avLst/>
              <a:gdLst>
                <a:gd name="T0" fmla="*/ 319 w 406"/>
                <a:gd name="T1" fmla="*/ 134 h 386"/>
                <a:gd name="T2" fmla="*/ 285 w 406"/>
                <a:gd name="T3" fmla="*/ 182 h 386"/>
                <a:gd name="T4" fmla="*/ 256 w 406"/>
                <a:gd name="T5" fmla="*/ 229 h 386"/>
                <a:gd name="T6" fmla="*/ 232 w 406"/>
                <a:gd name="T7" fmla="*/ 268 h 386"/>
                <a:gd name="T8" fmla="*/ 217 w 406"/>
                <a:gd name="T9" fmla="*/ 297 h 386"/>
                <a:gd name="T10" fmla="*/ 212 w 406"/>
                <a:gd name="T11" fmla="*/ 308 h 386"/>
                <a:gd name="T12" fmla="*/ 281 w 406"/>
                <a:gd name="T13" fmla="*/ 328 h 386"/>
                <a:gd name="T14" fmla="*/ 315 w 406"/>
                <a:gd name="T15" fmla="*/ 319 h 386"/>
                <a:gd name="T16" fmla="*/ 339 w 406"/>
                <a:gd name="T17" fmla="*/ 295 h 386"/>
                <a:gd name="T18" fmla="*/ 349 w 406"/>
                <a:gd name="T19" fmla="*/ 263 h 386"/>
                <a:gd name="T20" fmla="*/ 345 w 406"/>
                <a:gd name="T21" fmla="*/ 127 h 386"/>
                <a:gd name="T22" fmla="*/ 125 w 406"/>
                <a:gd name="T23" fmla="*/ 80 h 386"/>
                <a:gd name="T24" fmla="*/ 92 w 406"/>
                <a:gd name="T25" fmla="*/ 90 h 386"/>
                <a:gd name="T26" fmla="*/ 67 w 406"/>
                <a:gd name="T27" fmla="*/ 112 h 386"/>
                <a:gd name="T28" fmla="*/ 59 w 406"/>
                <a:gd name="T29" fmla="*/ 145 h 386"/>
                <a:gd name="T30" fmla="*/ 61 w 406"/>
                <a:gd name="T31" fmla="*/ 280 h 386"/>
                <a:gd name="T32" fmla="*/ 78 w 406"/>
                <a:gd name="T33" fmla="*/ 308 h 386"/>
                <a:gd name="T34" fmla="*/ 108 w 406"/>
                <a:gd name="T35" fmla="*/ 325 h 386"/>
                <a:gd name="T36" fmla="*/ 170 w 406"/>
                <a:gd name="T37" fmla="*/ 328 h 386"/>
                <a:gd name="T38" fmla="*/ 147 w 406"/>
                <a:gd name="T39" fmla="*/ 286 h 386"/>
                <a:gd name="T40" fmla="*/ 116 w 406"/>
                <a:gd name="T41" fmla="*/ 252 h 386"/>
                <a:gd name="T42" fmla="*/ 87 w 406"/>
                <a:gd name="T43" fmla="*/ 233 h 386"/>
                <a:gd name="T44" fmla="*/ 67 w 406"/>
                <a:gd name="T45" fmla="*/ 224 h 386"/>
                <a:gd name="T46" fmla="*/ 80 w 406"/>
                <a:gd name="T47" fmla="*/ 167 h 386"/>
                <a:gd name="T48" fmla="*/ 94 w 406"/>
                <a:gd name="T49" fmla="*/ 173 h 386"/>
                <a:gd name="T50" fmla="*/ 124 w 406"/>
                <a:gd name="T51" fmla="*/ 189 h 386"/>
                <a:gd name="T52" fmla="*/ 163 w 406"/>
                <a:gd name="T53" fmla="*/ 218 h 386"/>
                <a:gd name="T54" fmla="*/ 196 w 406"/>
                <a:gd name="T55" fmla="*/ 217 h 386"/>
                <a:gd name="T56" fmla="*/ 228 w 406"/>
                <a:gd name="T57" fmla="*/ 165 h 386"/>
                <a:gd name="T58" fmla="*/ 267 w 406"/>
                <a:gd name="T59" fmla="*/ 109 h 386"/>
                <a:gd name="T60" fmla="*/ 285 w 406"/>
                <a:gd name="T61" fmla="*/ 81 h 386"/>
                <a:gd name="T62" fmla="*/ 125 w 406"/>
                <a:gd name="T63" fmla="*/ 80 h 386"/>
                <a:gd name="T64" fmla="*/ 406 w 406"/>
                <a:gd name="T65" fmla="*/ 50 h 386"/>
                <a:gd name="T66" fmla="*/ 394 w 406"/>
                <a:gd name="T67" fmla="*/ 92 h 386"/>
                <a:gd name="T68" fmla="*/ 406 w 406"/>
                <a:gd name="T69" fmla="*/ 145 h 386"/>
                <a:gd name="T70" fmla="*/ 402 w 406"/>
                <a:gd name="T71" fmla="*/ 291 h 386"/>
                <a:gd name="T72" fmla="*/ 379 w 406"/>
                <a:gd name="T73" fmla="*/ 339 h 386"/>
                <a:gd name="T74" fmla="*/ 336 w 406"/>
                <a:gd name="T75" fmla="*/ 373 h 386"/>
                <a:gd name="T76" fmla="*/ 281 w 406"/>
                <a:gd name="T77" fmla="*/ 386 h 386"/>
                <a:gd name="T78" fmla="*/ 97 w 406"/>
                <a:gd name="T79" fmla="*/ 382 h 386"/>
                <a:gd name="T80" fmla="*/ 48 w 406"/>
                <a:gd name="T81" fmla="*/ 359 h 386"/>
                <a:gd name="T82" fmla="*/ 13 w 406"/>
                <a:gd name="T83" fmla="*/ 317 h 386"/>
                <a:gd name="T84" fmla="*/ 0 w 406"/>
                <a:gd name="T85" fmla="*/ 263 h 386"/>
                <a:gd name="T86" fmla="*/ 4 w 406"/>
                <a:gd name="T87" fmla="*/ 117 h 386"/>
                <a:gd name="T88" fmla="*/ 29 w 406"/>
                <a:gd name="T89" fmla="*/ 68 h 386"/>
                <a:gd name="T90" fmla="*/ 71 w 406"/>
                <a:gd name="T91" fmla="*/ 35 h 386"/>
                <a:gd name="T92" fmla="*/ 125 w 406"/>
                <a:gd name="T93" fmla="*/ 23 h 386"/>
                <a:gd name="T94" fmla="*/ 308 w 406"/>
                <a:gd name="T95" fmla="*/ 26 h 386"/>
                <a:gd name="T96" fmla="*/ 354 w 406"/>
                <a:gd name="T97" fmla="*/ 1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6">
                  <a:moveTo>
                    <a:pt x="339" y="111"/>
                  </a:moveTo>
                  <a:lnTo>
                    <a:pt x="319" y="134"/>
                  </a:lnTo>
                  <a:lnTo>
                    <a:pt x="302" y="158"/>
                  </a:lnTo>
                  <a:lnTo>
                    <a:pt x="285" y="182"/>
                  </a:lnTo>
                  <a:lnTo>
                    <a:pt x="270" y="206"/>
                  </a:lnTo>
                  <a:lnTo>
                    <a:pt x="256" y="229"/>
                  </a:lnTo>
                  <a:lnTo>
                    <a:pt x="243" y="250"/>
                  </a:lnTo>
                  <a:lnTo>
                    <a:pt x="232" y="268"/>
                  </a:lnTo>
                  <a:lnTo>
                    <a:pt x="224" y="285"/>
                  </a:lnTo>
                  <a:lnTo>
                    <a:pt x="217" y="297"/>
                  </a:lnTo>
                  <a:lnTo>
                    <a:pt x="213" y="305"/>
                  </a:lnTo>
                  <a:lnTo>
                    <a:pt x="212" y="308"/>
                  </a:lnTo>
                  <a:lnTo>
                    <a:pt x="202" y="328"/>
                  </a:lnTo>
                  <a:lnTo>
                    <a:pt x="281" y="328"/>
                  </a:lnTo>
                  <a:lnTo>
                    <a:pt x="299" y="325"/>
                  </a:lnTo>
                  <a:lnTo>
                    <a:pt x="315" y="319"/>
                  </a:lnTo>
                  <a:lnTo>
                    <a:pt x="328" y="308"/>
                  </a:lnTo>
                  <a:lnTo>
                    <a:pt x="339" y="295"/>
                  </a:lnTo>
                  <a:lnTo>
                    <a:pt x="346" y="280"/>
                  </a:lnTo>
                  <a:lnTo>
                    <a:pt x="349" y="263"/>
                  </a:lnTo>
                  <a:lnTo>
                    <a:pt x="349" y="145"/>
                  </a:lnTo>
                  <a:lnTo>
                    <a:pt x="345" y="127"/>
                  </a:lnTo>
                  <a:lnTo>
                    <a:pt x="339" y="111"/>
                  </a:lnTo>
                  <a:close/>
                  <a:moveTo>
                    <a:pt x="125" y="80"/>
                  </a:moveTo>
                  <a:lnTo>
                    <a:pt x="108" y="83"/>
                  </a:lnTo>
                  <a:lnTo>
                    <a:pt x="92" y="90"/>
                  </a:lnTo>
                  <a:lnTo>
                    <a:pt x="78" y="99"/>
                  </a:lnTo>
                  <a:lnTo>
                    <a:pt x="67" y="112"/>
                  </a:lnTo>
                  <a:lnTo>
                    <a:pt x="61" y="127"/>
                  </a:lnTo>
                  <a:lnTo>
                    <a:pt x="59" y="145"/>
                  </a:lnTo>
                  <a:lnTo>
                    <a:pt x="59" y="263"/>
                  </a:lnTo>
                  <a:lnTo>
                    <a:pt x="61" y="280"/>
                  </a:lnTo>
                  <a:lnTo>
                    <a:pt x="67" y="295"/>
                  </a:lnTo>
                  <a:lnTo>
                    <a:pt x="78" y="308"/>
                  </a:lnTo>
                  <a:lnTo>
                    <a:pt x="92" y="319"/>
                  </a:lnTo>
                  <a:lnTo>
                    <a:pt x="108" y="325"/>
                  </a:lnTo>
                  <a:lnTo>
                    <a:pt x="125" y="328"/>
                  </a:lnTo>
                  <a:lnTo>
                    <a:pt x="170" y="328"/>
                  </a:lnTo>
                  <a:lnTo>
                    <a:pt x="160" y="308"/>
                  </a:lnTo>
                  <a:lnTo>
                    <a:pt x="147" y="286"/>
                  </a:lnTo>
                  <a:lnTo>
                    <a:pt x="132" y="267"/>
                  </a:lnTo>
                  <a:lnTo>
                    <a:pt x="116" y="252"/>
                  </a:lnTo>
                  <a:lnTo>
                    <a:pt x="101" y="242"/>
                  </a:lnTo>
                  <a:lnTo>
                    <a:pt x="87" y="233"/>
                  </a:lnTo>
                  <a:lnTo>
                    <a:pt x="76" y="228"/>
                  </a:lnTo>
                  <a:lnTo>
                    <a:pt x="67" y="224"/>
                  </a:lnTo>
                  <a:lnTo>
                    <a:pt x="64" y="223"/>
                  </a:lnTo>
                  <a:lnTo>
                    <a:pt x="80" y="167"/>
                  </a:lnTo>
                  <a:lnTo>
                    <a:pt x="85" y="169"/>
                  </a:lnTo>
                  <a:lnTo>
                    <a:pt x="94" y="173"/>
                  </a:lnTo>
                  <a:lnTo>
                    <a:pt x="108" y="179"/>
                  </a:lnTo>
                  <a:lnTo>
                    <a:pt x="124" y="189"/>
                  </a:lnTo>
                  <a:lnTo>
                    <a:pt x="144" y="202"/>
                  </a:lnTo>
                  <a:lnTo>
                    <a:pt x="163" y="218"/>
                  </a:lnTo>
                  <a:lnTo>
                    <a:pt x="183" y="238"/>
                  </a:lnTo>
                  <a:lnTo>
                    <a:pt x="196" y="217"/>
                  </a:lnTo>
                  <a:lnTo>
                    <a:pt x="211" y="192"/>
                  </a:lnTo>
                  <a:lnTo>
                    <a:pt x="228" y="165"/>
                  </a:lnTo>
                  <a:lnTo>
                    <a:pt x="246" y="137"/>
                  </a:lnTo>
                  <a:lnTo>
                    <a:pt x="267" y="109"/>
                  </a:lnTo>
                  <a:lnTo>
                    <a:pt x="288" y="81"/>
                  </a:lnTo>
                  <a:lnTo>
                    <a:pt x="285" y="81"/>
                  </a:lnTo>
                  <a:lnTo>
                    <a:pt x="281" y="80"/>
                  </a:lnTo>
                  <a:lnTo>
                    <a:pt x="125" y="80"/>
                  </a:lnTo>
                  <a:close/>
                  <a:moveTo>
                    <a:pt x="375" y="0"/>
                  </a:moveTo>
                  <a:lnTo>
                    <a:pt x="406" y="50"/>
                  </a:lnTo>
                  <a:lnTo>
                    <a:pt x="379" y="69"/>
                  </a:lnTo>
                  <a:lnTo>
                    <a:pt x="394" y="92"/>
                  </a:lnTo>
                  <a:lnTo>
                    <a:pt x="402" y="118"/>
                  </a:lnTo>
                  <a:lnTo>
                    <a:pt x="406" y="145"/>
                  </a:lnTo>
                  <a:lnTo>
                    <a:pt x="406" y="263"/>
                  </a:lnTo>
                  <a:lnTo>
                    <a:pt x="402" y="291"/>
                  </a:lnTo>
                  <a:lnTo>
                    <a:pt x="394" y="317"/>
                  </a:lnTo>
                  <a:lnTo>
                    <a:pt x="379" y="339"/>
                  </a:lnTo>
                  <a:lnTo>
                    <a:pt x="359" y="359"/>
                  </a:lnTo>
                  <a:lnTo>
                    <a:pt x="336" y="373"/>
                  </a:lnTo>
                  <a:lnTo>
                    <a:pt x="310" y="382"/>
                  </a:lnTo>
                  <a:lnTo>
                    <a:pt x="281" y="386"/>
                  </a:lnTo>
                  <a:lnTo>
                    <a:pt x="125" y="386"/>
                  </a:lnTo>
                  <a:lnTo>
                    <a:pt x="97" y="382"/>
                  </a:lnTo>
                  <a:lnTo>
                    <a:pt x="71" y="373"/>
                  </a:lnTo>
                  <a:lnTo>
                    <a:pt x="48" y="359"/>
                  </a:lnTo>
                  <a:lnTo>
                    <a:pt x="29" y="339"/>
                  </a:lnTo>
                  <a:lnTo>
                    <a:pt x="13" y="317"/>
                  </a:lnTo>
                  <a:lnTo>
                    <a:pt x="4" y="291"/>
                  </a:lnTo>
                  <a:lnTo>
                    <a:pt x="0" y="263"/>
                  </a:lnTo>
                  <a:lnTo>
                    <a:pt x="0" y="145"/>
                  </a:lnTo>
                  <a:lnTo>
                    <a:pt x="4" y="117"/>
                  </a:lnTo>
                  <a:lnTo>
                    <a:pt x="13" y="91"/>
                  </a:lnTo>
                  <a:lnTo>
                    <a:pt x="29" y="68"/>
                  </a:lnTo>
                  <a:lnTo>
                    <a:pt x="48" y="50"/>
                  </a:lnTo>
                  <a:lnTo>
                    <a:pt x="71" y="35"/>
                  </a:lnTo>
                  <a:lnTo>
                    <a:pt x="97" y="26"/>
                  </a:lnTo>
                  <a:lnTo>
                    <a:pt x="125" y="23"/>
                  </a:lnTo>
                  <a:lnTo>
                    <a:pt x="281" y="23"/>
                  </a:lnTo>
                  <a:lnTo>
                    <a:pt x="308" y="26"/>
                  </a:lnTo>
                  <a:lnTo>
                    <a:pt x="332" y="34"/>
                  </a:lnTo>
                  <a:lnTo>
                    <a:pt x="354" y="16"/>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286" name="Freeform 300"/>
            <p:cNvSpPr>
              <a:spLocks noEditPoints="1"/>
            </p:cNvSpPr>
            <p:nvPr/>
          </p:nvSpPr>
          <p:spPr bwMode="auto">
            <a:xfrm>
              <a:off x="-1176949" y="5573233"/>
              <a:ext cx="63500" cy="61912"/>
            </a:xfrm>
            <a:custGeom>
              <a:avLst/>
              <a:gdLst>
                <a:gd name="T0" fmla="*/ 319 w 406"/>
                <a:gd name="T1" fmla="*/ 134 h 385"/>
                <a:gd name="T2" fmla="*/ 285 w 406"/>
                <a:gd name="T3" fmla="*/ 181 h 385"/>
                <a:gd name="T4" fmla="*/ 256 w 406"/>
                <a:gd name="T5" fmla="*/ 228 h 385"/>
                <a:gd name="T6" fmla="*/ 232 w 406"/>
                <a:gd name="T7" fmla="*/ 267 h 385"/>
                <a:gd name="T8" fmla="*/ 217 w 406"/>
                <a:gd name="T9" fmla="*/ 297 h 385"/>
                <a:gd name="T10" fmla="*/ 212 w 406"/>
                <a:gd name="T11" fmla="*/ 307 h 385"/>
                <a:gd name="T12" fmla="*/ 281 w 406"/>
                <a:gd name="T13" fmla="*/ 327 h 385"/>
                <a:gd name="T14" fmla="*/ 315 w 406"/>
                <a:gd name="T15" fmla="*/ 318 h 385"/>
                <a:gd name="T16" fmla="*/ 339 w 406"/>
                <a:gd name="T17" fmla="*/ 295 h 385"/>
                <a:gd name="T18" fmla="*/ 349 w 406"/>
                <a:gd name="T19" fmla="*/ 262 h 385"/>
                <a:gd name="T20" fmla="*/ 345 w 406"/>
                <a:gd name="T21" fmla="*/ 126 h 385"/>
                <a:gd name="T22" fmla="*/ 125 w 406"/>
                <a:gd name="T23" fmla="*/ 79 h 385"/>
                <a:gd name="T24" fmla="*/ 92 w 406"/>
                <a:gd name="T25" fmla="*/ 89 h 385"/>
                <a:gd name="T26" fmla="*/ 67 w 406"/>
                <a:gd name="T27" fmla="*/ 111 h 385"/>
                <a:gd name="T28" fmla="*/ 59 w 406"/>
                <a:gd name="T29" fmla="*/ 145 h 385"/>
                <a:gd name="T30" fmla="*/ 61 w 406"/>
                <a:gd name="T31" fmla="*/ 279 h 385"/>
                <a:gd name="T32" fmla="*/ 78 w 406"/>
                <a:gd name="T33" fmla="*/ 308 h 385"/>
                <a:gd name="T34" fmla="*/ 108 w 406"/>
                <a:gd name="T35" fmla="*/ 324 h 385"/>
                <a:gd name="T36" fmla="*/ 170 w 406"/>
                <a:gd name="T37" fmla="*/ 327 h 385"/>
                <a:gd name="T38" fmla="*/ 147 w 406"/>
                <a:gd name="T39" fmla="*/ 285 h 385"/>
                <a:gd name="T40" fmla="*/ 116 w 406"/>
                <a:gd name="T41" fmla="*/ 252 h 385"/>
                <a:gd name="T42" fmla="*/ 87 w 406"/>
                <a:gd name="T43" fmla="*/ 232 h 385"/>
                <a:gd name="T44" fmla="*/ 67 w 406"/>
                <a:gd name="T45" fmla="*/ 223 h 385"/>
                <a:gd name="T46" fmla="*/ 80 w 406"/>
                <a:gd name="T47" fmla="*/ 167 h 385"/>
                <a:gd name="T48" fmla="*/ 94 w 406"/>
                <a:gd name="T49" fmla="*/ 172 h 385"/>
                <a:gd name="T50" fmla="*/ 124 w 406"/>
                <a:gd name="T51" fmla="*/ 188 h 385"/>
                <a:gd name="T52" fmla="*/ 163 w 406"/>
                <a:gd name="T53" fmla="*/ 217 h 385"/>
                <a:gd name="T54" fmla="*/ 196 w 406"/>
                <a:gd name="T55" fmla="*/ 216 h 385"/>
                <a:gd name="T56" fmla="*/ 228 w 406"/>
                <a:gd name="T57" fmla="*/ 164 h 385"/>
                <a:gd name="T58" fmla="*/ 267 w 406"/>
                <a:gd name="T59" fmla="*/ 108 h 385"/>
                <a:gd name="T60" fmla="*/ 285 w 406"/>
                <a:gd name="T61" fmla="*/ 80 h 385"/>
                <a:gd name="T62" fmla="*/ 125 w 406"/>
                <a:gd name="T63" fmla="*/ 79 h 385"/>
                <a:gd name="T64" fmla="*/ 406 w 406"/>
                <a:gd name="T65" fmla="*/ 49 h 385"/>
                <a:gd name="T66" fmla="*/ 394 w 406"/>
                <a:gd name="T67" fmla="*/ 91 h 385"/>
                <a:gd name="T68" fmla="*/ 406 w 406"/>
                <a:gd name="T69" fmla="*/ 145 h 385"/>
                <a:gd name="T70" fmla="*/ 402 w 406"/>
                <a:gd name="T71" fmla="*/ 290 h 385"/>
                <a:gd name="T72" fmla="*/ 379 w 406"/>
                <a:gd name="T73" fmla="*/ 338 h 385"/>
                <a:gd name="T74" fmla="*/ 336 w 406"/>
                <a:gd name="T75" fmla="*/ 372 h 385"/>
                <a:gd name="T76" fmla="*/ 281 w 406"/>
                <a:gd name="T77" fmla="*/ 385 h 385"/>
                <a:gd name="T78" fmla="*/ 97 w 406"/>
                <a:gd name="T79" fmla="*/ 382 h 385"/>
                <a:gd name="T80" fmla="*/ 48 w 406"/>
                <a:gd name="T81" fmla="*/ 358 h 385"/>
                <a:gd name="T82" fmla="*/ 13 w 406"/>
                <a:gd name="T83" fmla="*/ 316 h 385"/>
                <a:gd name="T84" fmla="*/ 0 w 406"/>
                <a:gd name="T85" fmla="*/ 262 h 385"/>
                <a:gd name="T86" fmla="*/ 4 w 406"/>
                <a:gd name="T87" fmla="*/ 117 h 385"/>
                <a:gd name="T88" fmla="*/ 29 w 406"/>
                <a:gd name="T89" fmla="*/ 68 h 385"/>
                <a:gd name="T90" fmla="*/ 71 w 406"/>
                <a:gd name="T91" fmla="*/ 35 h 385"/>
                <a:gd name="T92" fmla="*/ 125 w 406"/>
                <a:gd name="T93" fmla="*/ 22 h 385"/>
                <a:gd name="T94" fmla="*/ 308 w 406"/>
                <a:gd name="T95" fmla="*/ 25 h 385"/>
                <a:gd name="T96" fmla="*/ 354 w 406"/>
                <a:gd name="T97" fmla="*/ 1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85">
                  <a:moveTo>
                    <a:pt x="339" y="110"/>
                  </a:moveTo>
                  <a:lnTo>
                    <a:pt x="319" y="134"/>
                  </a:lnTo>
                  <a:lnTo>
                    <a:pt x="302" y="158"/>
                  </a:lnTo>
                  <a:lnTo>
                    <a:pt x="285" y="181"/>
                  </a:lnTo>
                  <a:lnTo>
                    <a:pt x="270" y="205"/>
                  </a:lnTo>
                  <a:lnTo>
                    <a:pt x="256" y="228"/>
                  </a:lnTo>
                  <a:lnTo>
                    <a:pt x="243" y="249"/>
                  </a:lnTo>
                  <a:lnTo>
                    <a:pt x="232" y="267"/>
                  </a:lnTo>
                  <a:lnTo>
                    <a:pt x="224" y="284"/>
                  </a:lnTo>
                  <a:lnTo>
                    <a:pt x="217" y="297"/>
                  </a:lnTo>
                  <a:lnTo>
                    <a:pt x="213" y="304"/>
                  </a:lnTo>
                  <a:lnTo>
                    <a:pt x="212" y="307"/>
                  </a:lnTo>
                  <a:lnTo>
                    <a:pt x="202" y="327"/>
                  </a:lnTo>
                  <a:lnTo>
                    <a:pt x="281" y="327"/>
                  </a:lnTo>
                  <a:lnTo>
                    <a:pt x="299" y="324"/>
                  </a:lnTo>
                  <a:lnTo>
                    <a:pt x="315" y="318"/>
                  </a:lnTo>
                  <a:lnTo>
                    <a:pt x="328" y="308"/>
                  </a:lnTo>
                  <a:lnTo>
                    <a:pt x="339" y="295"/>
                  </a:lnTo>
                  <a:lnTo>
                    <a:pt x="346" y="279"/>
                  </a:lnTo>
                  <a:lnTo>
                    <a:pt x="349" y="262"/>
                  </a:lnTo>
                  <a:lnTo>
                    <a:pt x="349" y="145"/>
                  </a:lnTo>
                  <a:lnTo>
                    <a:pt x="345" y="126"/>
                  </a:lnTo>
                  <a:lnTo>
                    <a:pt x="339" y="110"/>
                  </a:lnTo>
                  <a:close/>
                  <a:moveTo>
                    <a:pt x="125" y="79"/>
                  </a:moveTo>
                  <a:lnTo>
                    <a:pt x="108" y="82"/>
                  </a:lnTo>
                  <a:lnTo>
                    <a:pt x="92" y="89"/>
                  </a:lnTo>
                  <a:lnTo>
                    <a:pt x="78" y="99"/>
                  </a:lnTo>
                  <a:lnTo>
                    <a:pt x="67" y="111"/>
                  </a:lnTo>
                  <a:lnTo>
                    <a:pt x="61" y="128"/>
                  </a:lnTo>
                  <a:lnTo>
                    <a:pt x="59" y="145"/>
                  </a:lnTo>
                  <a:lnTo>
                    <a:pt x="59" y="262"/>
                  </a:lnTo>
                  <a:lnTo>
                    <a:pt x="61" y="279"/>
                  </a:lnTo>
                  <a:lnTo>
                    <a:pt x="67" y="295"/>
                  </a:lnTo>
                  <a:lnTo>
                    <a:pt x="78" y="308"/>
                  </a:lnTo>
                  <a:lnTo>
                    <a:pt x="92" y="318"/>
                  </a:lnTo>
                  <a:lnTo>
                    <a:pt x="108" y="324"/>
                  </a:lnTo>
                  <a:lnTo>
                    <a:pt x="125" y="327"/>
                  </a:lnTo>
                  <a:lnTo>
                    <a:pt x="170" y="327"/>
                  </a:lnTo>
                  <a:lnTo>
                    <a:pt x="160" y="307"/>
                  </a:lnTo>
                  <a:lnTo>
                    <a:pt x="147" y="285"/>
                  </a:lnTo>
                  <a:lnTo>
                    <a:pt x="132" y="266"/>
                  </a:lnTo>
                  <a:lnTo>
                    <a:pt x="116" y="252"/>
                  </a:lnTo>
                  <a:lnTo>
                    <a:pt x="101" y="241"/>
                  </a:lnTo>
                  <a:lnTo>
                    <a:pt x="87" y="232"/>
                  </a:lnTo>
                  <a:lnTo>
                    <a:pt x="76" y="227"/>
                  </a:lnTo>
                  <a:lnTo>
                    <a:pt x="67" y="223"/>
                  </a:lnTo>
                  <a:lnTo>
                    <a:pt x="64" y="222"/>
                  </a:lnTo>
                  <a:lnTo>
                    <a:pt x="80" y="167"/>
                  </a:lnTo>
                  <a:lnTo>
                    <a:pt x="85" y="168"/>
                  </a:lnTo>
                  <a:lnTo>
                    <a:pt x="94" y="172"/>
                  </a:lnTo>
                  <a:lnTo>
                    <a:pt x="108" y="178"/>
                  </a:lnTo>
                  <a:lnTo>
                    <a:pt x="124" y="188"/>
                  </a:lnTo>
                  <a:lnTo>
                    <a:pt x="144" y="201"/>
                  </a:lnTo>
                  <a:lnTo>
                    <a:pt x="163" y="217"/>
                  </a:lnTo>
                  <a:lnTo>
                    <a:pt x="183" y="238"/>
                  </a:lnTo>
                  <a:lnTo>
                    <a:pt x="196" y="216"/>
                  </a:lnTo>
                  <a:lnTo>
                    <a:pt x="211" y="191"/>
                  </a:lnTo>
                  <a:lnTo>
                    <a:pt x="228" y="164"/>
                  </a:lnTo>
                  <a:lnTo>
                    <a:pt x="246" y="136"/>
                  </a:lnTo>
                  <a:lnTo>
                    <a:pt x="267" y="108"/>
                  </a:lnTo>
                  <a:lnTo>
                    <a:pt x="288" y="80"/>
                  </a:lnTo>
                  <a:lnTo>
                    <a:pt x="285" y="80"/>
                  </a:lnTo>
                  <a:lnTo>
                    <a:pt x="281" y="79"/>
                  </a:lnTo>
                  <a:lnTo>
                    <a:pt x="125" y="79"/>
                  </a:lnTo>
                  <a:close/>
                  <a:moveTo>
                    <a:pt x="375" y="0"/>
                  </a:moveTo>
                  <a:lnTo>
                    <a:pt x="406" y="49"/>
                  </a:lnTo>
                  <a:lnTo>
                    <a:pt x="379" y="69"/>
                  </a:lnTo>
                  <a:lnTo>
                    <a:pt x="394" y="91"/>
                  </a:lnTo>
                  <a:lnTo>
                    <a:pt x="402" y="117"/>
                  </a:lnTo>
                  <a:lnTo>
                    <a:pt x="406" y="145"/>
                  </a:lnTo>
                  <a:lnTo>
                    <a:pt x="406" y="262"/>
                  </a:lnTo>
                  <a:lnTo>
                    <a:pt x="402" y="290"/>
                  </a:lnTo>
                  <a:lnTo>
                    <a:pt x="394" y="316"/>
                  </a:lnTo>
                  <a:lnTo>
                    <a:pt x="379" y="338"/>
                  </a:lnTo>
                  <a:lnTo>
                    <a:pt x="359" y="358"/>
                  </a:lnTo>
                  <a:lnTo>
                    <a:pt x="336" y="372"/>
                  </a:lnTo>
                  <a:lnTo>
                    <a:pt x="310" y="382"/>
                  </a:lnTo>
                  <a:lnTo>
                    <a:pt x="281" y="385"/>
                  </a:lnTo>
                  <a:lnTo>
                    <a:pt x="125" y="385"/>
                  </a:lnTo>
                  <a:lnTo>
                    <a:pt x="97" y="382"/>
                  </a:lnTo>
                  <a:lnTo>
                    <a:pt x="71" y="372"/>
                  </a:lnTo>
                  <a:lnTo>
                    <a:pt x="48" y="358"/>
                  </a:lnTo>
                  <a:lnTo>
                    <a:pt x="29" y="338"/>
                  </a:lnTo>
                  <a:lnTo>
                    <a:pt x="13" y="316"/>
                  </a:lnTo>
                  <a:lnTo>
                    <a:pt x="4" y="290"/>
                  </a:lnTo>
                  <a:lnTo>
                    <a:pt x="0" y="262"/>
                  </a:lnTo>
                  <a:lnTo>
                    <a:pt x="0" y="145"/>
                  </a:lnTo>
                  <a:lnTo>
                    <a:pt x="4" y="117"/>
                  </a:lnTo>
                  <a:lnTo>
                    <a:pt x="13" y="91"/>
                  </a:lnTo>
                  <a:lnTo>
                    <a:pt x="29" y="68"/>
                  </a:lnTo>
                  <a:lnTo>
                    <a:pt x="48" y="49"/>
                  </a:lnTo>
                  <a:lnTo>
                    <a:pt x="71" y="35"/>
                  </a:lnTo>
                  <a:lnTo>
                    <a:pt x="97" y="25"/>
                  </a:lnTo>
                  <a:lnTo>
                    <a:pt x="125" y="22"/>
                  </a:lnTo>
                  <a:lnTo>
                    <a:pt x="281" y="22"/>
                  </a:lnTo>
                  <a:lnTo>
                    <a:pt x="308" y="25"/>
                  </a:lnTo>
                  <a:lnTo>
                    <a:pt x="332" y="33"/>
                  </a:lnTo>
                  <a:lnTo>
                    <a:pt x="354" y="16"/>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287" name="Freeform 301"/>
            <p:cNvSpPr>
              <a:spLocks noEditPoints="1"/>
            </p:cNvSpPr>
            <p:nvPr/>
          </p:nvSpPr>
          <p:spPr bwMode="auto">
            <a:xfrm>
              <a:off x="-1176949" y="5644671"/>
              <a:ext cx="63500" cy="58737"/>
            </a:xfrm>
            <a:custGeom>
              <a:avLst/>
              <a:gdLst>
                <a:gd name="T0" fmla="*/ 323 w 406"/>
                <a:gd name="T1" fmla="*/ 130 h 377"/>
                <a:gd name="T2" fmla="*/ 287 w 406"/>
                <a:gd name="T3" fmla="*/ 179 h 377"/>
                <a:gd name="T4" fmla="*/ 257 w 406"/>
                <a:gd name="T5" fmla="*/ 226 h 377"/>
                <a:gd name="T6" fmla="*/ 233 w 406"/>
                <a:gd name="T7" fmla="*/ 267 h 377"/>
                <a:gd name="T8" fmla="*/ 217 w 406"/>
                <a:gd name="T9" fmla="*/ 296 h 377"/>
                <a:gd name="T10" fmla="*/ 212 w 406"/>
                <a:gd name="T11" fmla="*/ 308 h 377"/>
                <a:gd name="T12" fmla="*/ 281 w 406"/>
                <a:gd name="T13" fmla="*/ 319 h 377"/>
                <a:gd name="T14" fmla="*/ 315 w 406"/>
                <a:gd name="T15" fmla="*/ 310 h 377"/>
                <a:gd name="T16" fmla="*/ 339 w 406"/>
                <a:gd name="T17" fmla="*/ 287 h 377"/>
                <a:gd name="T18" fmla="*/ 349 w 406"/>
                <a:gd name="T19" fmla="*/ 254 h 377"/>
                <a:gd name="T20" fmla="*/ 349 w 406"/>
                <a:gd name="T21" fmla="*/ 137 h 377"/>
                <a:gd name="T22" fmla="*/ 341 w 406"/>
                <a:gd name="T23" fmla="*/ 108 h 377"/>
                <a:gd name="T24" fmla="*/ 108 w 406"/>
                <a:gd name="T25" fmla="*/ 74 h 377"/>
                <a:gd name="T26" fmla="*/ 78 w 406"/>
                <a:gd name="T27" fmla="*/ 90 h 377"/>
                <a:gd name="T28" fmla="*/ 61 w 406"/>
                <a:gd name="T29" fmla="*/ 120 h 377"/>
                <a:gd name="T30" fmla="*/ 59 w 406"/>
                <a:gd name="T31" fmla="*/ 254 h 377"/>
                <a:gd name="T32" fmla="*/ 67 w 406"/>
                <a:gd name="T33" fmla="*/ 287 h 377"/>
                <a:gd name="T34" fmla="*/ 92 w 406"/>
                <a:gd name="T35" fmla="*/ 310 h 377"/>
                <a:gd name="T36" fmla="*/ 125 w 406"/>
                <a:gd name="T37" fmla="*/ 320 h 377"/>
                <a:gd name="T38" fmla="*/ 160 w 406"/>
                <a:gd name="T39" fmla="*/ 308 h 377"/>
                <a:gd name="T40" fmla="*/ 132 w 406"/>
                <a:gd name="T41" fmla="*/ 267 h 377"/>
                <a:gd name="T42" fmla="*/ 101 w 406"/>
                <a:gd name="T43" fmla="*/ 241 h 377"/>
                <a:gd name="T44" fmla="*/ 76 w 406"/>
                <a:gd name="T45" fmla="*/ 227 h 377"/>
                <a:gd name="T46" fmla="*/ 64 w 406"/>
                <a:gd name="T47" fmla="*/ 222 h 377"/>
                <a:gd name="T48" fmla="*/ 85 w 406"/>
                <a:gd name="T49" fmla="*/ 169 h 377"/>
                <a:gd name="T50" fmla="*/ 108 w 406"/>
                <a:gd name="T51" fmla="*/ 179 h 377"/>
                <a:gd name="T52" fmla="*/ 144 w 406"/>
                <a:gd name="T53" fmla="*/ 201 h 377"/>
                <a:gd name="T54" fmla="*/ 183 w 406"/>
                <a:gd name="T55" fmla="*/ 238 h 377"/>
                <a:gd name="T56" fmla="*/ 212 w 406"/>
                <a:gd name="T57" fmla="*/ 188 h 377"/>
                <a:gd name="T58" fmla="*/ 250 w 406"/>
                <a:gd name="T59" fmla="*/ 131 h 377"/>
                <a:gd name="T60" fmla="*/ 295 w 406"/>
                <a:gd name="T61" fmla="*/ 73 h 377"/>
                <a:gd name="T62" fmla="*/ 281 w 406"/>
                <a:gd name="T63" fmla="*/ 72 h 377"/>
                <a:gd name="T64" fmla="*/ 375 w 406"/>
                <a:gd name="T65" fmla="*/ 0 h 377"/>
                <a:gd name="T66" fmla="*/ 383 w 406"/>
                <a:gd name="T67" fmla="*/ 66 h 377"/>
                <a:gd name="T68" fmla="*/ 403 w 406"/>
                <a:gd name="T69" fmla="*/ 111 h 377"/>
                <a:gd name="T70" fmla="*/ 406 w 406"/>
                <a:gd name="T71" fmla="*/ 254 h 377"/>
                <a:gd name="T72" fmla="*/ 394 w 406"/>
                <a:gd name="T73" fmla="*/ 308 h 377"/>
                <a:gd name="T74" fmla="*/ 359 w 406"/>
                <a:gd name="T75" fmla="*/ 350 h 377"/>
                <a:gd name="T76" fmla="*/ 310 w 406"/>
                <a:gd name="T77" fmla="*/ 373 h 377"/>
                <a:gd name="T78" fmla="*/ 125 w 406"/>
                <a:gd name="T79" fmla="*/ 377 h 377"/>
                <a:gd name="T80" fmla="*/ 71 w 406"/>
                <a:gd name="T81" fmla="*/ 364 h 377"/>
                <a:gd name="T82" fmla="*/ 29 w 406"/>
                <a:gd name="T83" fmla="*/ 330 h 377"/>
                <a:gd name="T84" fmla="*/ 4 w 406"/>
                <a:gd name="T85" fmla="*/ 282 h 377"/>
                <a:gd name="T86" fmla="*/ 0 w 406"/>
                <a:gd name="T87" fmla="*/ 137 h 377"/>
                <a:gd name="T88" fmla="*/ 13 w 406"/>
                <a:gd name="T89" fmla="*/ 83 h 377"/>
                <a:gd name="T90" fmla="*/ 48 w 406"/>
                <a:gd name="T91" fmla="*/ 41 h 377"/>
                <a:gd name="T92" fmla="*/ 97 w 406"/>
                <a:gd name="T93" fmla="*/ 17 h 377"/>
                <a:gd name="T94" fmla="*/ 281 w 406"/>
                <a:gd name="T95" fmla="*/ 14 h 377"/>
                <a:gd name="T96" fmla="*/ 321 w 406"/>
                <a:gd name="T97" fmla="*/ 21 h 377"/>
                <a:gd name="T98" fmla="*/ 357 w 406"/>
                <a:gd name="T99" fmla="*/ 13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6" h="377">
                  <a:moveTo>
                    <a:pt x="341" y="108"/>
                  </a:moveTo>
                  <a:lnTo>
                    <a:pt x="323" y="130"/>
                  </a:lnTo>
                  <a:lnTo>
                    <a:pt x="304" y="155"/>
                  </a:lnTo>
                  <a:lnTo>
                    <a:pt x="287" y="179"/>
                  </a:lnTo>
                  <a:lnTo>
                    <a:pt x="271" y="203"/>
                  </a:lnTo>
                  <a:lnTo>
                    <a:pt x="257" y="226"/>
                  </a:lnTo>
                  <a:lnTo>
                    <a:pt x="244" y="248"/>
                  </a:lnTo>
                  <a:lnTo>
                    <a:pt x="233" y="267"/>
                  </a:lnTo>
                  <a:lnTo>
                    <a:pt x="225" y="283"/>
                  </a:lnTo>
                  <a:lnTo>
                    <a:pt x="217" y="296"/>
                  </a:lnTo>
                  <a:lnTo>
                    <a:pt x="213" y="305"/>
                  </a:lnTo>
                  <a:lnTo>
                    <a:pt x="212" y="308"/>
                  </a:lnTo>
                  <a:lnTo>
                    <a:pt x="206" y="319"/>
                  </a:lnTo>
                  <a:lnTo>
                    <a:pt x="281" y="319"/>
                  </a:lnTo>
                  <a:lnTo>
                    <a:pt x="299" y="316"/>
                  </a:lnTo>
                  <a:lnTo>
                    <a:pt x="315" y="310"/>
                  </a:lnTo>
                  <a:lnTo>
                    <a:pt x="328" y="300"/>
                  </a:lnTo>
                  <a:lnTo>
                    <a:pt x="339" y="287"/>
                  </a:lnTo>
                  <a:lnTo>
                    <a:pt x="346" y="271"/>
                  </a:lnTo>
                  <a:lnTo>
                    <a:pt x="349" y="254"/>
                  </a:lnTo>
                  <a:lnTo>
                    <a:pt x="349" y="254"/>
                  </a:lnTo>
                  <a:lnTo>
                    <a:pt x="349" y="137"/>
                  </a:lnTo>
                  <a:lnTo>
                    <a:pt x="346" y="122"/>
                  </a:lnTo>
                  <a:lnTo>
                    <a:pt x="341" y="108"/>
                  </a:lnTo>
                  <a:close/>
                  <a:moveTo>
                    <a:pt x="125" y="72"/>
                  </a:moveTo>
                  <a:lnTo>
                    <a:pt x="108" y="74"/>
                  </a:lnTo>
                  <a:lnTo>
                    <a:pt x="92" y="81"/>
                  </a:lnTo>
                  <a:lnTo>
                    <a:pt x="78" y="90"/>
                  </a:lnTo>
                  <a:lnTo>
                    <a:pt x="67" y="103"/>
                  </a:lnTo>
                  <a:lnTo>
                    <a:pt x="61" y="120"/>
                  </a:lnTo>
                  <a:lnTo>
                    <a:pt x="59" y="137"/>
                  </a:lnTo>
                  <a:lnTo>
                    <a:pt x="59" y="254"/>
                  </a:lnTo>
                  <a:lnTo>
                    <a:pt x="61" y="271"/>
                  </a:lnTo>
                  <a:lnTo>
                    <a:pt x="67" y="287"/>
                  </a:lnTo>
                  <a:lnTo>
                    <a:pt x="78" y="300"/>
                  </a:lnTo>
                  <a:lnTo>
                    <a:pt x="92" y="310"/>
                  </a:lnTo>
                  <a:lnTo>
                    <a:pt x="108" y="316"/>
                  </a:lnTo>
                  <a:lnTo>
                    <a:pt x="125" y="320"/>
                  </a:lnTo>
                  <a:lnTo>
                    <a:pt x="165" y="320"/>
                  </a:lnTo>
                  <a:lnTo>
                    <a:pt x="160" y="308"/>
                  </a:lnTo>
                  <a:lnTo>
                    <a:pt x="147" y="285"/>
                  </a:lnTo>
                  <a:lnTo>
                    <a:pt x="132" y="267"/>
                  </a:lnTo>
                  <a:lnTo>
                    <a:pt x="116" y="252"/>
                  </a:lnTo>
                  <a:lnTo>
                    <a:pt x="101" y="241"/>
                  </a:lnTo>
                  <a:lnTo>
                    <a:pt x="87" y="233"/>
                  </a:lnTo>
                  <a:lnTo>
                    <a:pt x="76" y="227"/>
                  </a:lnTo>
                  <a:lnTo>
                    <a:pt x="67" y="224"/>
                  </a:lnTo>
                  <a:lnTo>
                    <a:pt x="64" y="222"/>
                  </a:lnTo>
                  <a:lnTo>
                    <a:pt x="80" y="167"/>
                  </a:lnTo>
                  <a:lnTo>
                    <a:pt x="85" y="169"/>
                  </a:lnTo>
                  <a:lnTo>
                    <a:pt x="94" y="172"/>
                  </a:lnTo>
                  <a:lnTo>
                    <a:pt x="108" y="179"/>
                  </a:lnTo>
                  <a:lnTo>
                    <a:pt x="124" y="188"/>
                  </a:lnTo>
                  <a:lnTo>
                    <a:pt x="144" y="201"/>
                  </a:lnTo>
                  <a:lnTo>
                    <a:pt x="163" y="217"/>
                  </a:lnTo>
                  <a:lnTo>
                    <a:pt x="183" y="238"/>
                  </a:lnTo>
                  <a:lnTo>
                    <a:pt x="197" y="215"/>
                  </a:lnTo>
                  <a:lnTo>
                    <a:pt x="212" y="188"/>
                  </a:lnTo>
                  <a:lnTo>
                    <a:pt x="230" y="160"/>
                  </a:lnTo>
                  <a:lnTo>
                    <a:pt x="250" y="131"/>
                  </a:lnTo>
                  <a:lnTo>
                    <a:pt x="272" y="102"/>
                  </a:lnTo>
                  <a:lnTo>
                    <a:pt x="295" y="73"/>
                  </a:lnTo>
                  <a:lnTo>
                    <a:pt x="288" y="72"/>
                  </a:lnTo>
                  <a:lnTo>
                    <a:pt x="281" y="72"/>
                  </a:lnTo>
                  <a:lnTo>
                    <a:pt x="125" y="72"/>
                  </a:lnTo>
                  <a:close/>
                  <a:moveTo>
                    <a:pt x="375" y="0"/>
                  </a:moveTo>
                  <a:lnTo>
                    <a:pt x="406" y="50"/>
                  </a:lnTo>
                  <a:lnTo>
                    <a:pt x="383" y="66"/>
                  </a:lnTo>
                  <a:lnTo>
                    <a:pt x="395" y="87"/>
                  </a:lnTo>
                  <a:lnTo>
                    <a:pt x="403" y="111"/>
                  </a:lnTo>
                  <a:lnTo>
                    <a:pt x="406" y="137"/>
                  </a:lnTo>
                  <a:lnTo>
                    <a:pt x="406" y="254"/>
                  </a:lnTo>
                  <a:lnTo>
                    <a:pt x="402" y="282"/>
                  </a:lnTo>
                  <a:lnTo>
                    <a:pt x="394" y="308"/>
                  </a:lnTo>
                  <a:lnTo>
                    <a:pt x="379" y="330"/>
                  </a:lnTo>
                  <a:lnTo>
                    <a:pt x="359" y="350"/>
                  </a:lnTo>
                  <a:lnTo>
                    <a:pt x="336" y="364"/>
                  </a:lnTo>
                  <a:lnTo>
                    <a:pt x="310" y="373"/>
                  </a:lnTo>
                  <a:lnTo>
                    <a:pt x="281" y="377"/>
                  </a:lnTo>
                  <a:lnTo>
                    <a:pt x="125" y="377"/>
                  </a:lnTo>
                  <a:lnTo>
                    <a:pt x="97" y="373"/>
                  </a:lnTo>
                  <a:lnTo>
                    <a:pt x="71" y="364"/>
                  </a:lnTo>
                  <a:lnTo>
                    <a:pt x="48" y="350"/>
                  </a:lnTo>
                  <a:lnTo>
                    <a:pt x="29" y="330"/>
                  </a:lnTo>
                  <a:lnTo>
                    <a:pt x="13" y="308"/>
                  </a:lnTo>
                  <a:lnTo>
                    <a:pt x="4" y="282"/>
                  </a:lnTo>
                  <a:lnTo>
                    <a:pt x="0" y="254"/>
                  </a:lnTo>
                  <a:lnTo>
                    <a:pt x="0" y="137"/>
                  </a:lnTo>
                  <a:lnTo>
                    <a:pt x="4" y="109"/>
                  </a:lnTo>
                  <a:lnTo>
                    <a:pt x="13" y="83"/>
                  </a:lnTo>
                  <a:lnTo>
                    <a:pt x="29" y="60"/>
                  </a:lnTo>
                  <a:lnTo>
                    <a:pt x="48" y="41"/>
                  </a:lnTo>
                  <a:lnTo>
                    <a:pt x="71" y="27"/>
                  </a:lnTo>
                  <a:lnTo>
                    <a:pt x="97" y="17"/>
                  </a:lnTo>
                  <a:lnTo>
                    <a:pt x="125" y="14"/>
                  </a:lnTo>
                  <a:lnTo>
                    <a:pt x="281" y="14"/>
                  </a:lnTo>
                  <a:lnTo>
                    <a:pt x="301" y="16"/>
                  </a:lnTo>
                  <a:lnTo>
                    <a:pt x="321" y="21"/>
                  </a:lnTo>
                  <a:lnTo>
                    <a:pt x="339" y="28"/>
                  </a:lnTo>
                  <a:lnTo>
                    <a:pt x="357" y="13"/>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288" name="Freeform 302"/>
            <p:cNvSpPr>
              <a:spLocks noEditPoints="1"/>
            </p:cNvSpPr>
            <p:nvPr/>
          </p:nvSpPr>
          <p:spPr bwMode="auto">
            <a:xfrm>
              <a:off x="-1176949" y="5712933"/>
              <a:ext cx="63500" cy="60325"/>
            </a:xfrm>
            <a:custGeom>
              <a:avLst/>
              <a:gdLst>
                <a:gd name="T0" fmla="*/ 318 w 406"/>
                <a:gd name="T1" fmla="*/ 136 h 390"/>
                <a:gd name="T2" fmla="*/ 284 w 406"/>
                <a:gd name="T3" fmla="*/ 183 h 390"/>
                <a:gd name="T4" fmla="*/ 255 w 406"/>
                <a:gd name="T5" fmla="*/ 230 h 390"/>
                <a:gd name="T6" fmla="*/ 232 w 406"/>
                <a:gd name="T7" fmla="*/ 268 h 390"/>
                <a:gd name="T8" fmla="*/ 217 w 406"/>
                <a:gd name="T9" fmla="*/ 296 h 390"/>
                <a:gd name="T10" fmla="*/ 212 w 406"/>
                <a:gd name="T11" fmla="*/ 307 h 390"/>
                <a:gd name="T12" fmla="*/ 281 w 406"/>
                <a:gd name="T13" fmla="*/ 332 h 390"/>
                <a:gd name="T14" fmla="*/ 315 w 406"/>
                <a:gd name="T15" fmla="*/ 323 h 390"/>
                <a:gd name="T16" fmla="*/ 339 w 406"/>
                <a:gd name="T17" fmla="*/ 299 h 390"/>
                <a:gd name="T18" fmla="*/ 349 w 406"/>
                <a:gd name="T19" fmla="*/ 267 h 390"/>
                <a:gd name="T20" fmla="*/ 345 w 406"/>
                <a:gd name="T21" fmla="*/ 129 h 390"/>
                <a:gd name="T22" fmla="*/ 125 w 406"/>
                <a:gd name="T23" fmla="*/ 84 h 390"/>
                <a:gd name="T24" fmla="*/ 92 w 406"/>
                <a:gd name="T25" fmla="*/ 94 h 390"/>
                <a:gd name="T26" fmla="*/ 67 w 406"/>
                <a:gd name="T27" fmla="*/ 117 h 390"/>
                <a:gd name="T28" fmla="*/ 59 w 406"/>
                <a:gd name="T29" fmla="*/ 149 h 390"/>
                <a:gd name="T30" fmla="*/ 61 w 406"/>
                <a:gd name="T31" fmla="*/ 284 h 390"/>
                <a:gd name="T32" fmla="*/ 78 w 406"/>
                <a:gd name="T33" fmla="*/ 313 h 390"/>
                <a:gd name="T34" fmla="*/ 108 w 406"/>
                <a:gd name="T35" fmla="*/ 330 h 390"/>
                <a:gd name="T36" fmla="*/ 172 w 406"/>
                <a:gd name="T37" fmla="*/ 332 h 390"/>
                <a:gd name="T38" fmla="*/ 147 w 406"/>
                <a:gd name="T39" fmla="*/ 285 h 390"/>
                <a:gd name="T40" fmla="*/ 116 w 406"/>
                <a:gd name="T41" fmla="*/ 252 h 390"/>
                <a:gd name="T42" fmla="*/ 87 w 406"/>
                <a:gd name="T43" fmla="*/ 233 h 390"/>
                <a:gd name="T44" fmla="*/ 67 w 406"/>
                <a:gd name="T45" fmla="*/ 223 h 390"/>
                <a:gd name="T46" fmla="*/ 80 w 406"/>
                <a:gd name="T47" fmla="*/ 167 h 390"/>
                <a:gd name="T48" fmla="*/ 94 w 406"/>
                <a:gd name="T49" fmla="*/ 172 h 390"/>
                <a:gd name="T50" fmla="*/ 124 w 406"/>
                <a:gd name="T51" fmla="*/ 188 h 390"/>
                <a:gd name="T52" fmla="*/ 163 w 406"/>
                <a:gd name="T53" fmla="*/ 218 h 390"/>
                <a:gd name="T54" fmla="*/ 198 w 406"/>
                <a:gd name="T55" fmla="*/ 212 h 390"/>
                <a:gd name="T56" fmla="*/ 236 w 406"/>
                <a:gd name="T57" fmla="*/ 150 h 390"/>
                <a:gd name="T58" fmla="*/ 285 w 406"/>
                <a:gd name="T59" fmla="*/ 85 h 390"/>
                <a:gd name="T60" fmla="*/ 281 w 406"/>
                <a:gd name="T61" fmla="*/ 84 h 390"/>
                <a:gd name="T62" fmla="*/ 375 w 406"/>
                <a:gd name="T63" fmla="*/ 0 h 390"/>
                <a:gd name="T64" fmla="*/ 377 w 406"/>
                <a:gd name="T65" fmla="*/ 71 h 390"/>
                <a:gd name="T66" fmla="*/ 398 w 406"/>
                <a:gd name="T67" fmla="*/ 107 h 390"/>
                <a:gd name="T68" fmla="*/ 406 w 406"/>
                <a:gd name="T69" fmla="*/ 149 h 390"/>
                <a:gd name="T70" fmla="*/ 402 w 406"/>
                <a:gd name="T71" fmla="*/ 295 h 390"/>
                <a:gd name="T72" fmla="*/ 379 w 406"/>
                <a:gd name="T73" fmla="*/ 344 h 390"/>
                <a:gd name="T74" fmla="*/ 336 w 406"/>
                <a:gd name="T75" fmla="*/ 377 h 390"/>
                <a:gd name="T76" fmla="*/ 281 w 406"/>
                <a:gd name="T77" fmla="*/ 390 h 390"/>
                <a:gd name="T78" fmla="*/ 97 w 406"/>
                <a:gd name="T79" fmla="*/ 387 h 390"/>
                <a:gd name="T80" fmla="*/ 48 w 406"/>
                <a:gd name="T81" fmla="*/ 363 h 390"/>
                <a:gd name="T82" fmla="*/ 13 w 406"/>
                <a:gd name="T83" fmla="*/ 321 h 390"/>
                <a:gd name="T84" fmla="*/ 0 w 406"/>
                <a:gd name="T85" fmla="*/ 267 h 390"/>
                <a:gd name="T86" fmla="*/ 4 w 406"/>
                <a:gd name="T87" fmla="*/ 121 h 390"/>
                <a:gd name="T88" fmla="*/ 29 w 406"/>
                <a:gd name="T89" fmla="*/ 72 h 390"/>
                <a:gd name="T90" fmla="*/ 71 w 406"/>
                <a:gd name="T91" fmla="*/ 40 h 390"/>
                <a:gd name="T92" fmla="*/ 125 w 406"/>
                <a:gd name="T93" fmla="*/ 27 h 390"/>
                <a:gd name="T94" fmla="*/ 307 w 406"/>
                <a:gd name="T95" fmla="*/ 29 h 390"/>
                <a:gd name="T96" fmla="*/ 352 w 406"/>
                <a:gd name="T97" fmla="*/ 16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6" h="390">
                  <a:moveTo>
                    <a:pt x="337" y="113"/>
                  </a:moveTo>
                  <a:lnTo>
                    <a:pt x="318" y="136"/>
                  </a:lnTo>
                  <a:lnTo>
                    <a:pt x="301" y="160"/>
                  </a:lnTo>
                  <a:lnTo>
                    <a:pt x="284" y="183"/>
                  </a:lnTo>
                  <a:lnTo>
                    <a:pt x="269" y="207"/>
                  </a:lnTo>
                  <a:lnTo>
                    <a:pt x="255" y="230"/>
                  </a:lnTo>
                  <a:lnTo>
                    <a:pt x="243" y="250"/>
                  </a:lnTo>
                  <a:lnTo>
                    <a:pt x="232" y="268"/>
                  </a:lnTo>
                  <a:lnTo>
                    <a:pt x="224" y="284"/>
                  </a:lnTo>
                  <a:lnTo>
                    <a:pt x="217" y="296"/>
                  </a:lnTo>
                  <a:lnTo>
                    <a:pt x="213" y="305"/>
                  </a:lnTo>
                  <a:lnTo>
                    <a:pt x="212" y="307"/>
                  </a:lnTo>
                  <a:lnTo>
                    <a:pt x="200" y="332"/>
                  </a:lnTo>
                  <a:lnTo>
                    <a:pt x="281" y="332"/>
                  </a:lnTo>
                  <a:lnTo>
                    <a:pt x="299" y="330"/>
                  </a:lnTo>
                  <a:lnTo>
                    <a:pt x="315" y="323"/>
                  </a:lnTo>
                  <a:lnTo>
                    <a:pt x="328" y="313"/>
                  </a:lnTo>
                  <a:lnTo>
                    <a:pt x="339" y="299"/>
                  </a:lnTo>
                  <a:lnTo>
                    <a:pt x="346" y="284"/>
                  </a:lnTo>
                  <a:lnTo>
                    <a:pt x="349" y="267"/>
                  </a:lnTo>
                  <a:lnTo>
                    <a:pt x="349" y="149"/>
                  </a:lnTo>
                  <a:lnTo>
                    <a:pt x="345" y="129"/>
                  </a:lnTo>
                  <a:lnTo>
                    <a:pt x="337" y="113"/>
                  </a:lnTo>
                  <a:close/>
                  <a:moveTo>
                    <a:pt x="125" y="84"/>
                  </a:moveTo>
                  <a:lnTo>
                    <a:pt x="108" y="87"/>
                  </a:lnTo>
                  <a:lnTo>
                    <a:pt x="92" y="94"/>
                  </a:lnTo>
                  <a:lnTo>
                    <a:pt x="78" y="104"/>
                  </a:lnTo>
                  <a:lnTo>
                    <a:pt x="67" y="117"/>
                  </a:lnTo>
                  <a:lnTo>
                    <a:pt x="61" y="132"/>
                  </a:lnTo>
                  <a:lnTo>
                    <a:pt x="59" y="149"/>
                  </a:lnTo>
                  <a:lnTo>
                    <a:pt x="59" y="267"/>
                  </a:lnTo>
                  <a:lnTo>
                    <a:pt x="61" y="284"/>
                  </a:lnTo>
                  <a:lnTo>
                    <a:pt x="67" y="299"/>
                  </a:lnTo>
                  <a:lnTo>
                    <a:pt x="78" y="313"/>
                  </a:lnTo>
                  <a:lnTo>
                    <a:pt x="92" y="323"/>
                  </a:lnTo>
                  <a:lnTo>
                    <a:pt x="108" y="330"/>
                  </a:lnTo>
                  <a:lnTo>
                    <a:pt x="125" y="332"/>
                  </a:lnTo>
                  <a:lnTo>
                    <a:pt x="172" y="332"/>
                  </a:lnTo>
                  <a:lnTo>
                    <a:pt x="160" y="308"/>
                  </a:lnTo>
                  <a:lnTo>
                    <a:pt x="147" y="285"/>
                  </a:lnTo>
                  <a:lnTo>
                    <a:pt x="132" y="267"/>
                  </a:lnTo>
                  <a:lnTo>
                    <a:pt x="116" y="252"/>
                  </a:lnTo>
                  <a:lnTo>
                    <a:pt x="101" y="240"/>
                  </a:lnTo>
                  <a:lnTo>
                    <a:pt x="87" y="233"/>
                  </a:lnTo>
                  <a:lnTo>
                    <a:pt x="76" y="226"/>
                  </a:lnTo>
                  <a:lnTo>
                    <a:pt x="67" y="223"/>
                  </a:lnTo>
                  <a:lnTo>
                    <a:pt x="64" y="222"/>
                  </a:lnTo>
                  <a:lnTo>
                    <a:pt x="80" y="167"/>
                  </a:lnTo>
                  <a:lnTo>
                    <a:pt x="85" y="168"/>
                  </a:lnTo>
                  <a:lnTo>
                    <a:pt x="94" y="172"/>
                  </a:lnTo>
                  <a:lnTo>
                    <a:pt x="108" y="179"/>
                  </a:lnTo>
                  <a:lnTo>
                    <a:pt x="124" y="188"/>
                  </a:lnTo>
                  <a:lnTo>
                    <a:pt x="144" y="200"/>
                  </a:lnTo>
                  <a:lnTo>
                    <a:pt x="163" y="218"/>
                  </a:lnTo>
                  <a:lnTo>
                    <a:pt x="183" y="238"/>
                  </a:lnTo>
                  <a:lnTo>
                    <a:pt x="198" y="212"/>
                  </a:lnTo>
                  <a:lnTo>
                    <a:pt x="216" y="182"/>
                  </a:lnTo>
                  <a:lnTo>
                    <a:pt x="236" y="150"/>
                  </a:lnTo>
                  <a:lnTo>
                    <a:pt x="260" y="118"/>
                  </a:lnTo>
                  <a:lnTo>
                    <a:pt x="285" y="85"/>
                  </a:lnTo>
                  <a:lnTo>
                    <a:pt x="283" y="85"/>
                  </a:lnTo>
                  <a:lnTo>
                    <a:pt x="281" y="84"/>
                  </a:lnTo>
                  <a:lnTo>
                    <a:pt x="125" y="84"/>
                  </a:lnTo>
                  <a:close/>
                  <a:moveTo>
                    <a:pt x="375" y="0"/>
                  </a:moveTo>
                  <a:lnTo>
                    <a:pt x="406" y="49"/>
                  </a:lnTo>
                  <a:lnTo>
                    <a:pt x="377" y="71"/>
                  </a:lnTo>
                  <a:lnTo>
                    <a:pt x="389" y="89"/>
                  </a:lnTo>
                  <a:lnTo>
                    <a:pt x="398" y="107"/>
                  </a:lnTo>
                  <a:lnTo>
                    <a:pt x="405" y="127"/>
                  </a:lnTo>
                  <a:lnTo>
                    <a:pt x="406" y="149"/>
                  </a:lnTo>
                  <a:lnTo>
                    <a:pt x="406" y="267"/>
                  </a:lnTo>
                  <a:lnTo>
                    <a:pt x="402" y="295"/>
                  </a:lnTo>
                  <a:lnTo>
                    <a:pt x="394" y="321"/>
                  </a:lnTo>
                  <a:lnTo>
                    <a:pt x="379" y="344"/>
                  </a:lnTo>
                  <a:lnTo>
                    <a:pt x="359" y="363"/>
                  </a:lnTo>
                  <a:lnTo>
                    <a:pt x="336" y="377"/>
                  </a:lnTo>
                  <a:lnTo>
                    <a:pt x="310" y="387"/>
                  </a:lnTo>
                  <a:lnTo>
                    <a:pt x="281" y="390"/>
                  </a:lnTo>
                  <a:lnTo>
                    <a:pt x="125" y="390"/>
                  </a:lnTo>
                  <a:lnTo>
                    <a:pt x="97" y="387"/>
                  </a:lnTo>
                  <a:lnTo>
                    <a:pt x="71" y="377"/>
                  </a:lnTo>
                  <a:lnTo>
                    <a:pt x="48" y="363"/>
                  </a:lnTo>
                  <a:lnTo>
                    <a:pt x="29" y="344"/>
                  </a:lnTo>
                  <a:lnTo>
                    <a:pt x="13" y="321"/>
                  </a:lnTo>
                  <a:lnTo>
                    <a:pt x="4" y="295"/>
                  </a:lnTo>
                  <a:lnTo>
                    <a:pt x="0" y="267"/>
                  </a:lnTo>
                  <a:lnTo>
                    <a:pt x="0" y="149"/>
                  </a:lnTo>
                  <a:lnTo>
                    <a:pt x="4" y="121"/>
                  </a:lnTo>
                  <a:lnTo>
                    <a:pt x="13" y="96"/>
                  </a:lnTo>
                  <a:lnTo>
                    <a:pt x="29" y="72"/>
                  </a:lnTo>
                  <a:lnTo>
                    <a:pt x="48" y="54"/>
                  </a:lnTo>
                  <a:lnTo>
                    <a:pt x="71" y="40"/>
                  </a:lnTo>
                  <a:lnTo>
                    <a:pt x="97" y="30"/>
                  </a:lnTo>
                  <a:lnTo>
                    <a:pt x="125" y="27"/>
                  </a:lnTo>
                  <a:lnTo>
                    <a:pt x="281" y="27"/>
                  </a:lnTo>
                  <a:lnTo>
                    <a:pt x="307" y="29"/>
                  </a:lnTo>
                  <a:lnTo>
                    <a:pt x="329" y="37"/>
                  </a:lnTo>
                  <a:lnTo>
                    <a:pt x="352" y="16"/>
                  </a:lnTo>
                  <a:lnTo>
                    <a:pt x="375" y="0"/>
                  </a:lnTo>
                  <a:close/>
                </a:path>
              </a:pathLst>
            </a:custGeom>
            <a:solidFill>
              <a:schemeClr val="tx1"/>
            </a:solidFill>
            <a:ln w="3175">
              <a:noFill/>
              <a:prstDash val="solid"/>
              <a:round/>
              <a:headEnd/>
              <a:tailEnd/>
            </a:ln>
          </p:spPr>
          <p:txBody>
            <a:bodyPr/>
            <a:lstStyle/>
            <a:p>
              <a:endParaRPr lang="de-DE" sz="800" b="0" dirty="0">
                <a:latin typeface="+mn-lt"/>
              </a:endParaRPr>
            </a:p>
          </p:txBody>
        </p:sp>
        <p:sp>
          <p:nvSpPr>
            <p:cNvPr id="289" name="Rectangle 303"/>
            <p:cNvSpPr>
              <a:spLocks noChangeArrowheads="1"/>
            </p:cNvSpPr>
            <p:nvPr/>
          </p:nvSpPr>
          <p:spPr bwMode="auto">
            <a:xfrm>
              <a:off x="-1100749" y="5411308"/>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290" name="Rectangle 304"/>
            <p:cNvSpPr>
              <a:spLocks noChangeArrowheads="1"/>
            </p:cNvSpPr>
            <p:nvPr/>
          </p:nvSpPr>
          <p:spPr bwMode="auto">
            <a:xfrm>
              <a:off x="-1100749" y="5479571"/>
              <a:ext cx="160338" cy="12700"/>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291" name="Rectangle 305"/>
            <p:cNvSpPr>
              <a:spLocks noChangeArrowheads="1"/>
            </p:cNvSpPr>
            <p:nvPr/>
          </p:nvSpPr>
          <p:spPr bwMode="auto">
            <a:xfrm>
              <a:off x="-1100749" y="5551008"/>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292" name="Rectangle 306"/>
            <p:cNvSpPr>
              <a:spLocks noChangeArrowheads="1"/>
            </p:cNvSpPr>
            <p:nvPr/>
          </p:nvSpPr>
          <p:spPr bwMode="auto">
            <a:xfrm>
              <a:off x="-1100749" y="5624033"/>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293" name="Rectangle 307"/>
            <p:cNvSpPr>
              <a:spLocks noChangeArrowheads="1"/>
            </p:cNvSpPr>
            <p:nvPr/>
          </p:nvSpPr>
          <p:spPr bwMode="auto">
            <a:xfrm>
              <a:off x="-1100749" y="5693883"/>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294" name="Rectangle 308"/>
            <p:cNvSpPr>
              <a:spLocks noChangeArrowheads="1"/>
            </p:cNvSpPr>
            <p:nvPr/>
          </p:nvSpPr>
          <p:spPr bwMode="auto">
            <a:xfrm>
              <a:off x="-1100749" y="5762146"/>
              <a:ext cx="160338" cy="11112"/>
            </a:xfrm>
            <a:prstGeom prst="rect">
              <a:avLst/>
            </a:prstGeom>
            <a:solidFill>
              <a:schemeClr val="tx1"/>
            </a:solidFill>
            <a:ln w="3175">
              <a:noFill/>
              <a:prstDash val="solid"/>
              <a:round/>
              <a:headEnd/>
              <a:tailEnd/>
            </a:ln>
          </p:spPr>
          <p:txBody>
            <a:bodyPr/>
            <a:lstStyle/>
            <a:p>
              <a:endParaRPr lang="de-DE" sz="800" b="0" dirty="0">
                <a:latin typeface="+mn-lt"/>
              </a:endParaRPr>
            </a:p>
          </p:txBody>
        </p:sp>
        <p:sp>
          <p:nvSpPr>
            <p:cNvPr id="295" name="Freeform 309"/>
            <p:cNvSpPr>
              <a:spLocks noEditPoints="1"/>
            </p:cNvSpPr>
            <p:nvPr/>
          </p:nvSpPr>
          <p:spPr bwMode="auto">
            <a:xfrm>
              <a:off x="-1227749" y="5257321"/>
              <a:ext cx="347663" cy="560387"/>
            </a:xfrm>
            <a:custGeom>
              <a:avLst/>
              <a:gdLst>
                <a:gd name="T0" fmla="*/ 241 w 2199"/>
                <a:gd name="T1" fmla="*/ 585 h 3523"/>
                <a:gd name="T2" fmla="*/ 192 w 2199"/>
                <a:gd name="T3" fmla="*/ 634 h 3523"/>
                <a:gd name="T4" fmla="*/ 181 w 2199"/>
                <a:gd name="T5" fmla="*/ 3266 h 3523"/>
                <a:gd name="T6" fmla="*/ 205 w 2199"/>
                <a:gd name="T7" fmla="*/ 3330 h 3523"/>
                <a:gd name="T8" fmla="*/ 262 w 2199"/>
                <a:gd name="T9" fmla="*/ 3367 h 3523"/>
                <a:gd name="T10" fmla="*/ 1945 w 2199"/>
                <a:gd name="T11" fmla="*/ 3367 h 3523"/>
                <a:gd name="T12" fmla="*/ 2004 w 2199"/>
                <a:gd name="T13" fmla="*/ 3330 h 3523"/>
                <a:gd name="T14" fmla="*/ 2026 w 2199"/>
                <a:gd name="T15" fmla="*/ 3266 h 3523"/>
                <a:gd name="T16" fmla="*/ 2015 w 2199"/>
                <a:gd name="T17" fmla="*/ 634 h 3523"/>
                <a:gd name="T18" fmla="*/ 1968 w 2199"/>
                <a:gd name="T19" fmla="*/ 585 h 3523"/>
                <a:gd name="T20" fmla="*/ 286 w 2199"/>
                <a:gd name="T21" fmla="*/ 575 h 3523"/>
                <a:gd name="T22" fmla="*/ 1056 w 2199"/>
                <a:gd name="T23" fmla="*/ 78 h 3523"/>
                <a:gd name="T24" fmla="*/ 1029 w 2199"/>
                <a:gd name="T25" fmla="*/ 131 h 3523"/>
                <a:gd name="T26" fmla="*/ 1056 w 2199"/>
                <a:gd name="T27" fmla="*/ 183 h 3523"/>
                <a:gd name="T28" fmla="*/ 1116 w 2199"/>
                <a:gd name="T29" fmla="*/ 193 h 3523"/>
                <a:gd name="T30" fmla="*/ 1157 w 2199"/>
                <a:gd name="T31" fmla="*/ 152 h 3523"/>
                <a:gd name="T32" fmla="*/ 1147 w 2199"/>
                <a:gd name="T33" fmla="*/ 92 h 3523"/>
                <a:gd name="T34" fmla="*/ 1094 w 2199"/>
                <a:gd name="T35" fmla="*/ 67 h 3523"/>
                <a:gd name="T36" fmla="*/ 1124 w 2199"/>
                <a:gd name="T37" fmla="*/ 1 h 3523"/>
                <a:gd name="T38" fmla="*/ 1173 w 2199"/>
                <a:gd name="T39" fmla="*/ 14 h 3523"/>
                <a:gd name="T40" fmla="*/ 1227 w 2199"/>
                <a:gd name="T41" fmla="*/ 50 h 3523"/>
                <a:gd name="T42" fmla="*/ 1269 w 2199"/>
                <a:gd name="T43" fmla="*/ 123 h 3523"/>
                <a:gd name="T44" fmla="*/ 1303 w 2199"/>
                <a:gd name="T45" fmla="*/ 217 h 3523"/>
                <a:gd name="T46" fmla="*/ 1328 w 2199"/>
                <a:gd name="T47" fmla="*/ 269 h 3523"/>
                <a:gd name="T48" fmla="*/ 1353 w 2199"/>
                <a:gd name="T49" fmla="*/ 296 h 3523"/>
                <a:gd name="T50" fmla="*/ 1389 w 2199"/>
                <a:gd name="T51" fmla="*/ 311 h 3523"/>
                <a:gd name="T52" fmla="*/ 1464 w 2199"/>
                <a:gd name="T53" fmla="*/ 325 h 3523"/>
                <a:gd name="T54" fmla="*/ 1556 w 2199"/>
                <a:gd name="T55" fmla="*/ 341 h 3523"/>
                <a:gd name="T56" fmla="*/ 1641 w 2199"/>
                <a:gd name="T57" fmla="*/ 359 h 3523"/>
                <a:gd name="T58" fmla="*/ 2118 w 2199"/>
                <a:gd name="T59" fmla="*/ 368 h 3523"/>
                <a:gd name="T60" fmla="*/ 2176 w 2199"/>
                <a:gd name="T61" fmla="*/ 405 h 3523"/>
                <a:gd name="T62" fmla="*/ 2199 w 2199"/>
                <a:gd name="T63" fmla="*/ 470 h 3523"/>
                <a:gd name="T64" fmla="*/ 2189 w 2199"/>
                <a:gd name="T65" fmla="*/ 3465 h 3523"/>
                <a:gd name="T66" fmla="*/ 2140 w 2199"/>
                <a:gd name="T67" fmla="*/ 3512 h 3523"/>
                <a:gd name="T68" fmla="*/ 105 w 2199"/>
                <a:gd name="T69" fmla="*/ 3523 h 3523"/>
                <a:gd name="T70" fmla="*/ 39 w 2199"/>
                <a:gd name="T71" fmla="*/ 3500 h 3523"/>
                <a:gd name="T72" fmla="*/ 3 w 2199"/>
                <a:gd name="T73" fmla="*/ 3442 h 3523"/>
                <a:gd name="T74" fmla="*/ 3 w 2199"/>
                <a:gd name="T75" fmla="*/ 446 h 3523"/>
                <a:gd name="T76" fmla="*/ 39 w 2199"/>
                <a:gd name="T77" fmla="*/ 388 h 3523"/>
                <a:gd name="T78" fmla="*/ 105 w 2199"/>
                <a:gd name="T79" fmla="*/ 366 h 3523"/>
                <a:gd name="T80" fmla="*/ 584 w 2199"/>
                <a:gd name="T81" fmla="*/ 352 h 3523"/>
                <a:gd name="T82" fmla="*/ 684 w 2199"/>
                <a:gd name="T83" fmla="*/ 333 h 3523"/>
                <a:gd name="T84" fmla="*/ 777 w 2199"/>
                <a:gd name="T85" fmla="*/ 316 h 3523"/>
                <a:gd name="T86" fmla="*/ 831 w 2199"/>
                <a:gd name="T87" fmla="*/ 302 h 3523"/>
                <a:gd name="T88" fmla="*/ 858 w 2199"/>
                <a:gd name="T89" fmla="*/ 281 h 3523"/>
                <a:gd name="T90" fmla="*/ 883 w 2199"/>
                <a:gd name="T91" fmla="*/ 239 h 3523"/>
                <a:gd name="T92" fmla="*/ 912 w 2199"/>
                <a:gd name="T93" fmla="*/ 160 h 3523"/>
                <a:gd name="T94" fmla="*/ 952 w 2199"/>
                <a:gd name="T95" fmla="*/ 70 h 3523"/>
                <a:gd name="T96" fmla="*/ 1005 w 2199"/>
                <a:gd name="T97" fmla="*/ 23 h 3523"/>
                <a:gd name="T98" fmla="*/ 1057 w 2199"/>
                <a:gd name="T99" fmla="*/ 3 h 3523"/>
                <a:gd name="T100" fmla="*/ 1094 w 2199"/>
                <a:gd name="T101" fmla="*/ 0 h 3523"/>
                <a:gd name="T102" fmla="*/ 1102 w 2199"/>
                <a:gd name="T103" fmla="*/ 0 h 3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99" h="3523">
                  <a:moveTo>
                    <a:pt x="286" y="575"/>
                  </a:moveTo>
                  <a:lnTo>
                    <a:pt x="262" y="578"/>
                  </a:lnTo>
                  <a:lnTo>
                    <a:pt x="241" y="585"/>
                  </a:lnTo>
                  <a:lnTo>
                    <a:pt x="221" y="598"/>
                  </a:lnTo>
                  <a:lnTo>
                    <a:pt x="205" y="614"/>
                  </a:lnTo>
                  <a:lnTo>
                    <a:pt x="192" y="634"/>
                  </a:lnTo>
                  <a:lnTo>
                    <a:pt x="185" y="655"/>
                  </a:lnTo>
                  <a:lnTo>
                    <a:pt x="181" y="680"/>
                  </a:lnTo>
                  <a:lnTo>
                    <a:pt x="181" y="3266"/>
                  </a:lnTo>
                  <a:lnTo>
                    <a:pt x="185" y="3290"/>
                  </a:lnTo>
                  <a:lnTo>
                    <a:pt x="192" y="3311"/>
                  </a:lnTo>
                  <a:lnTo>
                    <a:pt x="205" y="3330"/>
                  </a:lnTo>
                  <a:lnTo>
                    <a:pt x="221" y="3347"/>
                  </a:lnTo>
                  <a:lnTo>
                    <a:pt x="241" y="3359"/>
                  </a:lnTo>
                  <a:lnTo>
                    <a:pt x="262" y="3367"/>
                  </a:lnTo>
                  <a:lnTo>
                    <a:pt x="286" y="3370"/>
                  </a:lnTo>
                  <a:lnTo>
                    <a:pt x="1922" y="3370"/>
                  </a:lnTo>
                  <a:lnTo>
                    <a:pt x="1945" y="3367"/>
                  </a:lnTo>
                  <a:lnTo>
                    <a:pt x="1968" y="3359"/>
                  </a:lnTo>
                  <a:lnTo>
                    <a:pt x="1987" y="3347"/>
                  </a:lnTo>
                  <a:lnTo>
                    <a:pt x="2004" y="3330"/>
                  </a:lnTo>
                  <a:lnTo>
                    <a:pt x="2015" y="3311"/>
                  </a:lnTo>
                  <a:lnTo>
                    <a:pt x="2024" y="3290"/>
                  </a:lnTo>
                  <a:lnTo>
                    <a:pt x="2026" y="3266"/>
                  </a:lnTo>
                  <a:lnTo>
                    <a:pt x="2026" y="680"/>
                  </a:lnTo>
                  <a:lnTo>
                    <a:pt x="2024" y="655"/>
                  </a:lnTo>
                  <a:lnTo>
                    <a:pt x="2015" y="634"/>
                  </a:lnTo>
                  <a:lnTo>
                    <a:pt x="2004" y="614"/>
                  </a:lnTo>
                  <a:lnTo>
                    <a:pt x="1987" y="598"/>
                  </a:lnTo>
                  <a:lnTo>
                    <a:pt x="1968" y="585"/>
                  </a:lnTo>
                  <a:lnTo>
                    <a:pt x="1945" y="578"/>
                  </a:lnTo>
                  <a:lnTo>
                    <a:pt x="1922" y="575"/>
                  </a:lnTo>
                  <a:lnTo>
                    <a:pt x="286" y="575"/>
                  </a:lnTo>
                  <a:close/>
                  <a:moveTo>
                    <a:pt x="1094" y="67"/>
                  </a:moveTo>
                  <a:lnTo>
                    <a:pt x="1074" y="70"/>
                  </a:lnTo>
                  <a:lnTo>
                    <a:pt x="1056" y="78"/>
                  </a:lnTo>
                  <a:lnTo>
                    <a:pt x="1042" y="92"/>
                  </a:lnTo>
                  <a:lnTo>
                    <a:pt x="1033" y="111"/>
                  </a:lnTo>
                  <a:lnTo>
                    <a:pt x="1029" y="131"/>
                  </a:lnTo>
                  <a:lnTo>
                    <a:pt x="1033" y="152"/>
                  </a:lnTo>
                  <a:lnTo>
                    <a:pt x="1042" y="169"/>
                  </a:lnTo>
                  <a:lnTo>
                    <a:pt x="1056" y="183"/>
                  </a:lnTo>
                  <a:lnTo>
                    <a:pt x="1074" y="193"/>
                  </a:lnTo>
                  <a:lnTo>
                    <a:pt x="1094" y="196"/>
                  </a:lnTo>
                  <a:lnTo>
                    <a:pt x="1116" y="193"/>
                  </a:lnTo>
                  <a:lnTo>
                    <a:pt x="1133" y="183"/>
                  </a:lnTo>
                  <a:lnTo>
                    <a:pt x="1147" y="169"/>
                  </a:lnTo>
                  <a:lnTo>
                    <a:pt x="1157" y="152"/>
                  </a:lnTo>
                  <a:lnTo>
                    <a:pt x="1160" y="131"/>
                  </a:lnTo>
                  <a:lnTo>
                    <a:pt x="1157" y="111"/>
                  </a:lnTo>
                  <a:lnTo>
                    <a:pt x="1147" y="92"/>
                  </a:lnTo>
                  <a:lnTo>
                    <a:pt x="1133" y="78"/>
                  </a:lnTo>
                  <a:lnTo>
                    <a:pt x="1116" y="70"/>
                  </a:lnTo>
                  <a:lnTo>
                    <a:pt x="1094" y="67"/>
                  </a:lnTo>
                  <a:close/>
                  <a:moveTo>
                    <a:pt x="1102" y="0"/>
                  </a:moveTo>
                  <a:lnTo>
                    <a:pt x="1111" y="0"/>
                  </a:lnTo>
                  <a:lnTo>
                    <a:pt x="1124" y="1"/>
                  </a:lnTo>
                  <a:lnTo>
                    <a:pt x="1139" y="3"/>
                  </a:lnTo>
                  <a:lnTo>
                    <a:pt x="1155" y="7"/>
                  </a:lnTo>
                  <a:lnTo>
                    <a:pt x="1173" y="14"/>
                  </a:lnTo>
                  <a:lnTo>
                    <a:pt x="1191" y="24"/>
                  </a:lnTo>
                  <a:lnTo>
                    <a:pt x="1209" y="35"/>
                  </a:lnTo>
                  <a:lnTo>
                    <a:pt x="1227" y="50"/>
                  </a:lnTo>
                  <a:lnTo>
                    <a:pt x="1243" y="70"/>
                  </a:lnTo>
                  <a:lnTo>
                    <a:pt x="1257" y="94"/>
                  </a:lnTo>
                  <a:lnTo>
                    <a:pt x="1269" y="123"/>
                  </a:lnTo>
                  <a:lnTo>
                    <a:pt x="1282" y="159"/>
                  </a:lnTo>
                  <a:lnTo>
                    <a:pt x="1293" y="190"/>
                  </a:lnTo>
                  <a:lnTo>
                    <a:pt x="1303" y="217"/>
                  </a:lnTo>
                  <a:lnTo>
                    <a:pt x="1312" y="238"/>
                  </a:lnTo>
                  <a:lnTo>
                    <a:pt x="1319" y="256"/>
                  </a:lnTo>
                  <a:lnTo>
                    <a:pt x="1328" y="269"/>
                  </a:lnTo>
                  <a:lnTo>
                    <a:pt x="1335" y="281"/>
                  </a:lnTo>
                  <a:lnTo>
                    <a:pt x="1344" y="289"/>
                  </a:lnTo>
                  <a:lnTo>
                    <a:pt x="1353" y="296"/>
                  </a:lnTo>
                  <a:lnTo>
                    <a:pt x="1362" y="302"/>
                  </a:lnTo>
                  <a:lnTo>
                    <a:pt x="1373" y="307"/>
                  </a:lnTo>
                  <a:lnTo>
                    <a:pt x="1389" y="311"/>
                  </a:lnTo>
                  <a:lnTo>
                    <a:pt x="1411" y="315"/>
                  </a:lnTo>
                  <a:lnTo>
                    <a:pt x="1436" y="320"/>
                  </a:lnTo>
                  <a:lnTo>
                    <a:pt x="1464" y="325"/>
                  </a:lnTo>
                  <a:lnTo>
                    <a:pt x="1494" y="330"/>
                  </a:lnTo>
                  <a:lnTo>
                    <a:pt x="1525" y="336"/>
                  </a:lnTo>
                  <a:lnTo>
                    <a:pt x="1556" y="341"/>
                  </a:lnTo>
                  <a:lnTo>
                    <a:pt x="1588" y="347"/>
                  </a:lnTo>
                  <a:lnTo>
                    <a:pt x="1616" y="353"/>
                  </a:lnTo>
                  <a:lnTo>
                    <a:pt x="1641" y="359"/>
                  </a:lnTo>
                  <a:lnTo>
                    <a:pt x="1664" y="366"/>
                  </a:lnTo>
                  <a:lnTo>
                    <a:pt x="2094" y="366"/>
                  </a:lnTo>
                  <a:lnTo>
                    <a:pt x="2118" y="368"/>
                  </a:lnTo>
                  <a:lnTo>
                    <a:pt x="2140" y="375"/>
                  </a:lnTo>
                  <a:lnTo>
                    <a:pt x="2160" y="388"/>
                  </a:lnTo>
                  <a:lnTo>
                    <a:pt x="2176" y="405"/>
                  </a:lnTo>
                  <a:lnTo>
                    <a:pt x="2189" y="424"/>
                  </a:lnTo>
                  <a:lnTo>
                    <a:pt x="2196" y="446"/>
                  </a:lnTo>
                  <a:lnTo>
                    <a:pt x="2199" y="470"/>
                  </a:lnTo>
                  <a:lnTo>
                    <a:pt x="2199" y="3419"/>
                  </a:lnTo>
                  <a:lnTo>
                    <a:pt x="2196" y="3442"/>
                  </a:lnTo>
                  <a:lnTo>
                    <a:pt x="2189" y="3465"/>
                  </a:lnTo>
                  <a:lnTo>
                    <a:pt x="2176" y="3484"/>
                  </a:lnTo>
                  <a:lnTo>
                    <a:pt x="2160" y="3500"/>
                  </a:lnTo>
                  <a:lnTo>
                    <a:pt x="2140" y="3512"/>
                  </a:lnTo>
                  <a:lnTo>
                    <a:pt x="2118" y="3521"/>
                  </a:lnTo>
                  <a:lnTo>
                    <a:pt x="2094" y="3523"/>
                  </a:lnTo>
                  <a:lnTo>
                    <a:pt x="105" y="3523"/>
                  </a:lnTo>
                  <a:lnTo>
                    <a:pt x="81" y="3521"/>
                  </a:lnTo>
                  <a:lnTo>
                    <a:pt x="59" y="3512"/>
                  </a:lnTo>
                  <a:lnTo>
                    <a:pt x="39" y="3500"/>
                  </a:lnTo>
                  <a:lnTo>
                    <a:pt x="23" y="3484"/>
                  </a:lnTo>
                  <a:lnTo>
                    <a:pt x="11" y="3465"/>
                  </a:lnTo>
                  <a:lnTo>
                    <a:pt x="3" y="3442"/>
                  </a:lnTo>
                  <a:lnTo>
                    <a:pt x="0" y="3419"/>
                  </a:lnTo>
                  <a:lnTo>
                    <a:pt x="0" y="470"/>
                  </a:lnTo>
                  <a:lnTo>
                    <a:pt x="3" y="446"/>
                  </a:lnTo>
                  <a:lnTo>
                    <a:pt x="11" y="424"/>
                  </a:lnTo>
                  <a:lnTo>
                    <a:pt x="23" y="405"/>
                  </a:lnTo>
                  <a:lnTo>
                    <a:pt x="39" y="388"/>
                  </a:lnTo>
                  <a:lnTo>
                    <a:pt x="59" y="375"/>
                  </a:lnTo>
                  <a:lnTo>
                    <a:pt x="81" y="368"/>
                  </a:lnTo>
                  <a:lnTo>
                    <a:pt x="105" y="366"/>
                  </a:lnTo>
                  <a:lnTo>
                    <a:pt x="532" y="366"/>
                  </a:lnTo>
                  <a:lnTo>
                    <a:pt x="555" y="358"/>
                  </a:lnTo>
                  <a:lnTo>
                    <a:pt x="584" y="352"/>
                  </a:lnTo>
                  <a:lnTo>
                    <a:pt x="616" y="345"/>
                  </a:lnTo>
                  <a:lnTo>
                    <a:pt x="650" y="340"/>
                  </a:lnTo>
                  <a:lnTo>
                    <a:pt x="684" y="333"/>
                  </a:lnTo>
                  <a:lnTo>
                    <a:pt x="717" y="327"/>
                  </a:lnTo>
                  <a:lnTo>
                    <a:pt x="749" y="322"/>
                  </a:lnTo>
                  <a:lnTo>
                    <a:pt x="777" y="316"/>
                  </a:lnTo>
                  <a:lnTo>
                    <a:pt x="801" y="312"/>
                  </a:lnTo>
                  <a:lnTo>
                    <a:pt x="819" y="307"/>
                  </a:lnTo>
                  <a:lnTo>
                    <a:pt x="831" y="302"/>
                  </a:lnTo>
                  <a:lnTo>
                    <a:pt x="841" y="297"/>
                  </a:lnTo>
                  <a:lnTo>
                    <a:pt x="851" y="289"/>
                  </a:lnTo>
                  <a:lnTo>
                    <a:pt x="858" y="281"/>
                  </a:lnTo>
                  <a:lnTo>
                    <a:pt x="867" y="270"/>
                  </a:lnTo>
                  <a:lnTo>
                    <a:pt x="874" y="256"/>
                  </a:lnTo>
                  <a:lnTo>
                    <a:pt x="883" y="239"/>
                  </a:lnTo>
                  <a:lnTo>
                    <a:pt x="891" y="217"/>
                  </a:lnTo>
                  <a:lnTo>
                    <a:pt x="901" y="191"/>
                  </a:lnTo>
                  <a:lnTo>
                    <a:pt x="912" y="160"/>
                  </a:lnTo>
                  <a:lnTo>
                    <a:pt x="925" y="123"/>
                  </a:lnTo>
                  <a:lnTo>
                    <a:pt x="937" y="94"/>
                  </a:lnTo>
                  <a:lnTo>
                    <a:pt x="952" y="70"/>
                  </a:lnTo>
                  <a:lnTo>
                    <a:pt x="968" y="50"/>
                  </a:lnTo>
                  <a:lnTo>
                    <a:pt x="986" y="34"/>
                  </a:lnTo>
                  <a:lnTo>
                    <a:pt x="1005" y="23"/>
                  </a:lnTo>
                  <a:lnTo>
                    <a:pt x="1023" y="14"/>
                  </a:lnTo>
                  <a:lnTo>
                    <a:pt x="1041" y="7"/>
                  </a:lnTo>
                  <a:lnTo>
                    <a:pt x="1057" y="3"/>
                  </a:lnTo>
                  <a:lnTo>
                    <a:pt x="1073" y="1"/>
                  </a:lnTo>
                  <a:lnTo>
                    <a:pt x="1084" y="0"/>
                  </a:lnTo>
                  <a:lnTo>
                    <a:pt x="1094" y="0"/>
                  </a:lnTo>
                  <a:lnTo>
                    <a:pt x="1094" y="0"/>
                  </a:lnTo>
                  <a:lnTo>
                    <a:pt x="1096" y="0"/>
                  </a:lnTo>
                  <a:lnTo>
                    <a:pt x="1102" y="0"/>
                  </a:lnTo>
                  <a:close/>
                </a:path>
              </a:pathLst>
            </a:custGeom>
            <a:solidFill>
              <a:schemeClr val="tx1"/>
            </a:solidFill>
            <a:ln w="0">
              <a:solidFill>
                <a:schemeClr val="tx1"/>
              </a:solidFill>
              <a:prstDash val="solid"/>
              <a:round/>
              <a:headEnd/>
              <a:tailEnd/>
            </a:ln>
          </p:spPr>
          <p:txBody>
            <a:bodyPr/>
            <a:lstStyle/>
            <a:p>
              <a:endParaRPr lang="de-DE" sz="800" b="0" dirty="0">
                <a:latin typeface="+mn-lt"/>
              </a:endParaRPr>
            </a:p>
          </p:txBody>
        </p:sp>
      </p:grpSp>
      <p:grpSp>
        <p:nvGrpSpPr>
          <p:cNvPr id="296" name="Gruppieren 295"/>
          <p:cNvGrpSpPr/>
          <p:nvPr/>
        </p:nvGrpSpPr>
        <p:grpSpPr>
          <a:xfrm>
            <a:off x="7169515" y="3655702"/>
            <a:ext cx="281450" cy="334070"/>
            <a:chOff x="-696070" y="5354178"/>
            <a:chExt cx="288000" cy="364988"/>
          </a:xfrm>
          <a:solidFill>
            <a:schemeClr val="tx1"/>
          </a:solidFill>
        </p:grpSpPr>
        <p:sp>
          <p:nvSpPr>
            <p:cNvPr id="297"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grpSp>
          <p:nvGrpSpPr>
            <p:cNvPr id="298" name="Gruppieren 297"/>
            <p:cNvGrpSpPr>
              <a:grpSpLocks noChangeAspect="1"/>
            </p:cNvGrpSpPr>
            <p:nvPr/>
          </p:nvGrpSpPr>
          <p:grpSpPr>
            <a:xfrm>
              <a:off x="-649397" y="5481248"/>
              <a:ext cx="204387" cy="180000"/>
              <a:chOff x="-1305411" y="5962628"/>
              <a:chExt cx="947406" cy="834356"/>
            </a:xfrm>
            <a:grpFill/>
          </p:grpSpPr>
          <p:grpSp>
            <p:nvGrpSpPr>
              <p:cNvPr id="299" name="noun_project_01063.eps"/>
              <p:cNvGrpSpPr>
                <a:grpSpLocks/>
              </p:cNvGrpSpPr>
              <p:nvPr/>
            </p:nvGrpSpPr>
            <p:grpSpPr bwMode="auto">
              <a:xfrm>
                <a:off x="-1305411" y="5962628"/>
                <a:ext cx="557212" cy="595313"/>
                <a:chOff x="2223" y="3060"/>
                <a:chExt cx="351" cy="375"/>
              </a:xfrm>
              <a:grpFill/>
            </p:grpSpPr>
            <p:sp>
              <p:nvSpPr>
                <p:cNvPr id="303"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04"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05"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06"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nvGrpSpPr>
              <p:cNvPr id="300" name="noun_project_01064.eps"/>
              <p:cNvGrpSpPr>
                <a:grpSpLocks/>
              </p:cNvGrpSpPr>
              <p:nvPr/>
            </p:nvGrpSpPr>
            <p:grpSpPr bwMode="auto">
              <a:xfrm>
                <a:off x="-953318" y="6201671"/>
                <a:ext cx="595313" cy="595313"/>
                <a:chOff x="2734" y="3060"/>
                <a:chExt cx="375" cy="375"/>
              </a:xfrm>
              <a:grpFill/>
            </p:grpSpPr>
            <p:sp>
              <p:nvSpPr>
                <p:cNvPr id="301"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02"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grpSp>
      <p:sp>
        <p:nvSpPr>
          <p:cNvPr id="307" name="Abgerundetes Rechteck 306"/>
          <p:cNvSpPr/>
          <p:nvPr/>
        </p:nvSpPr>
        <p:spPr bwMode="auto">
          <a:xfrm>
            <a:off x="5990202" y="4067899"/>
            <a:ext cx="1125800" cy="428355"/>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Sichtprüfung &amp; sachliche Prüfung (Vollständigkeit)</a:t>
            </a:r>
          </a:p>
        </p:txBody>
      </p:sp>
      <p:sp>
        <p:nvSpPr>
          <p:cNvPr id="308" name="Rechteck: abgerundete Ecken 212">
            <a:extLst>
              <a:ext uri="{FF2B5EF4-FFF2-40B4-BE49-F238E27FC236}">
                <a16:creationId xmlns:a16="http://schemas.microsoft.com/office/drawing/2014/main" id="{FA8FAD19-5C90-4B1E-8431-1DB39C25984D}"/>
              </a:ext>
            </a:extLst>
          </p:cNvPr>
          <p:cNvSpPr/>
          <p:nvPr/>
        </p:nvSpPr>
        <p:spPr bwMode="auto">
          <a:xfrm>
            <a:off x="6549074" y="4480231"/>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In Bearbeitung</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09" name="Abgerundetes Rechteck 308"/>
          <p:cNvSpPr/>
          <p:nvPr/>
        </p:nvSpPr>
        <p:spPr bwMode="auto">
          <a:xfrm>
            <a:off x="8569406" y="2191126"/>
            <a:ext cx="1125800" cy="428355"/>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dirty="0"/>
              <a:t>Weitere Informations-bereitstellung</a:t>
            </a:r>
          </a:p>
        </p:txBody>
      </p:sp>
      <p:sp>
        <p:nvSpPr>
          <p:cNvPr id="310" name="Rechteck: abgerundete Ecken 199">
            <a:extLst>
              <a:ext uri="{FF2B5EF4-FFF2-40B4-BE49-F238E27FC236}">
                <a16:creationId xmlns:a16="http://schemas.microsoft.com/office/drawing/2014/main" id="{832DDFC2-E2D7-415D-B7FA-91032166379A}"/>
              </a:ext>
            </a:extLst>
          </p:cNvPr>
          <p:cNvSpPr/>
          <p:nvPr/>
        </p:nvSpPr>
        <p:spPr bwMode="auto">
          <a:xfrm>
            <a:off x="9198852" y="2521193"/>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Rückfrage</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11" name="Rechteck: abgerundete Ecken 222">
            <a:extLst>
              <a:ext uri="{FF2B5EF4-FFF2-40B4-BE49-F238E27FC236}">
                <a16:creationId xmlns:a16="http://schemas.microsoft.com/office/drawing/2014/main" id="{41F37388-DB60-4FD8-BF6A-CC3A26A6556C}"/>
              </a:ext>
            </a:extLst>
          </p:cNvPr>
          <p:cNvSpPr/>
          <p:nvPr/>
        </p:nvSpPr>
        <p:spPr bwMode="auto">
          <a:xfrm>
            <a:off x="2084853" y="3290234"/>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cs typeface="Arial" panose="020B0604020202020204" pitchFamily="34" charset="0"/>
              </a:rPr>
              <a:t>Eingegangen</a:t>
            </a:r>
          </a:p>
        </p:txBody>
      </p:sp>
      <p:sp>
        <p:nvSpPr>
          <p:cNvPr id="312" name="Flussdiagramm: Zusammenstellen 190">
            <a:extLst>
              <a:ext uri="{FF2B5EF4-FFF2-40B4-BE49-F238E27FC236}">
                <a16:creationId xmlns:a16="http://schemas.microsoft.com/office/drawing/2014/main" id="{74E8001C-9040-4F9C-9278-A3220950C138}"/>
              </a:ext>
            </a:extLst>
          </p:cNvPr>
          <p:cNvSpPr/>
          <p:nvPr/>
        </p:nvSpPr>
        <p:spPr bwMode="gray">
          <a:xfrm>
            <a:off x="4818886" y="3375975"/>
            <a:ext cx="406715" cy="253950"/>
          </a:xfrm>
          <a:prstGeom prst="flowChartCollate">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endParaRPr lang="de-DE" sz="800" b="0" noProof="1">
              <a:latin typeface="+mn-lt"/>
            </a:endParaRPr>
          </a:p>
        </p:txBody>
      </p:sp>
      <p:sp>
        <p:nvSpPr>
          <p:cNvPr id="313" name="Legende mit Linie 2 (Akzentuierungsbalken) 312"/>
          <p:cNvSpPr/>
          <p:nvPr/>
        </p:nvSpPr>
        <p:spPr bwMode="auto">
          <a:xfrm>
            <a:off x="8220600" y="3528185"/>
            <a:ext cx="731192" cy="319703"/>
          </a:xfrm>
          <a:prstGeom prst="accentCallout2">
            <a:avLst>
              <a:gd name="adj1" fmla="val -339"/>
              <a:gd name="adj2" fmla="val -694"/>
              <a:gd name="adj3" fmla="val 92376"/>
              <a:gd name="adj4" fmla="val -8519"/>
              <a:gd name="adj5" fmla="val 169336"/>
              <a:gd name="adj6" fmla="val -14894"/>
            </a:avLst>
          </a:prstGeom>
          <a:solidFill>
            <a:schemeClr val="accent2">
              <a:lumMod val="10000"/>
              <a:lumOff val="90000"/>
            </a:schemeClr>
          </a:solidFill>
          <a:ln w="9525" cap="flat" cmpd="sng" algn="ctr">
            <a:solidFill>
              <a:schemeClr val="tx1"/>
            </a:solidFill>
            <a:prstDash val="solid"/>
            <a:round/>
            <a:headEnd type="none" w="med" len="med"/>
            <a:tailEnd type="none" w="med" len="med"/>
          </a:ln>
          <a:effectLst/>
        </p:spPr>
        <p:txBody>
          <a:bodyPr vert="horz" wrap="square" lIns="18000" tIns="0" rIns="0" bIns="0" numCol="1" rtlCol="0" anchor="ctr" anchorCtr="0" compatLnSpc="1">
            <a:prstTxWarp prst="textNoShape">
              <a:avLst/>
            </a:prstTxWarp>
          </a:bodyPr>
          <a:lstStyle/>
          <a:p>
            <a:pPr marL="72000" indent="-72000" fontAlgn="base">
              <a:spcBef>
                <a:spcPct val="0"/>
              </a:spcBef>
              <a:spcAft>
                <a:spcPct val="0"/>
              </a:spcAft>
              <a:buFont typeface="Arial" panose="020B0604020202020204" pitchFamily="34" charset="0"/>
              <a:buChar char="•"/>
            </a:pPr>
            <a:r>
              <a:rPr lang="de-DE" sz="700" b="0" dirty="0"/>
              <a:t>Zuständigkeit</a:t>
            </a:r>
            <a:endParaRPr lang="de-DE" sz="700" dirty="0"/>
          </a:p>
          <a:p>
            <a:pPr marL="72000" indent="-72000" fontAlgn="base">
              <a:spcBef>
                <a:spcPct val="0"/>
              </a:spcBef>
              <a:spcAft>
                <a:spcPct val="0"/>
              </a:spcAft>
              <a:buFont typeface="Arial" panose="020B0604020202020204" pitchFamily="34" charset="0"/>
              <a:buChar char="•"/>
            </a:pPr>
            <a:r>
              <a:rPr lang="de-DE" sz="700" b="0" dirty="0"/>
              <a:t>Skills</a:t>
            </a:r>
            <a:endParaRPr lang="de-DE" sz="700" dirty="0"/>
          </a:p>
          <a:p>
            <a:pPr marL="72000" indent="-72000" fontAlgn="base">
              <a:spcBef>
                <a:spcPct val="0"/>
              </a:spcBef>
              <a:spcAft>
                <a:spcPct val="0"/>
              </a:spcAft>
              <a:buFont typeface="Arial" panose="020B0604020202020204" pitchFamily="34" charset="0"/>
              <a:buChar char="•"/>
            </a:pPr>
            <a:r>
              <a:rPr lang="de-DE" sz="700" dirty="0"/>
              <a:t>Auslastung</a:t>
            </a:r>
          </a:p>
        </p:txBody>
      </p:sp>
      <p:sp>
        <p:nvSpPr>
          <p:cNvPr id="314" name="Flussdiagramm: Verzweigung 163">
            <a:extLst>
              <a:ext uri="{FF2B5EF4-FFF2-40B4-BE49-F238E27FC236}">
                <a16:creationId xmlns:a16="http://schemas.microsoft.com/office/drawing/2014/main" id="{0F894D10-92D1-46AC-81ED-B91DEC5EC94B}"/>
              </a:ext>
            </a:extLst>
          </p:cNvPr>
          <p:cNvSpPr>
            <a:spLocks/>
          </p:cNvSpPr>
          <p:nvPr/>
        </p:nvSpPr>
        <p:spPr bwMode="gray">
          <a:xfrm>
            <a:off x="8713474" y="4067899"/>
            <a:ext cx="844429" cy="428355"/>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800" b="0" noProof="1">
                <a:latin typeface="+mn-lt"/>
              </a:rPr>
              <a:t>Vollständig?</a:t>
            </a:r>
          </a:p>
        </p:txBody>
      </p:sp>
      <p:sp>
        <p:nvSpPr>
          <p:cNvPr id="315" name="Rechteck: abgerundete Ecken 211">
            <a:extLst>
              <a:ext uri="{FF2B5EF4-FFF2-40B4-BE49-F238E27FC236}">
                <a16:creationId xmlns:a16="http://schemas.microsoft.com/office/drawing/2014/main" id="{7D64B1DB-4304-4F8C-8DFA-C4E86144FF0C}"/>
              </a:ext>
            </a:extLst>
          </p:cNvPr>
          <p:cNvSpPr/>
          <p:nvPr/>
        </p:nvSpPr>
        <p:spPr bwMode="auto">
          <a:xfrm>
            <a:off x="3506502" y="3296801"/>
            <a:ext cx="705321" cy="130896"/>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none" lIns="18000" tIns="18000" rIns="18000" bIns="18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cs typeface="Arial" panose="020B0604020202020204" pitchFamily="34" charset="0"/>
              </a:rPr>
              <a:t>Nicht freigegeben</a:t>
            </a:r>
          </a:p>
        </p:txBody>
      </p:sp>
      <p:sp>
        <p:nvSpPr>
          <p:cNvPr id="316" name="Flussdiagramm: Verzweigung 163">
            <a:extLst>
              <a:ext uri="{FF2B5EF4-FFF2-40B4-BE49-F238E27FC236}">
                <a16:creationId xmlns:a16="http://schemas.microsoft.com/office/drawing/2014/main" id="{0F894D10-92D1-46AC-81ED-B91DEC5EC94B}"/>
              </a:ext>
            </a:extLst>
          </p:cNvPr>
          <p:cNvSpPr>
            <a:spLocks/>
          </p:cNvSpPr>
          <p:nvPr/>
        </p:nvSpPr>
        <p:spPr bwMode="gray">
          <a:xfrm>
            <a:off x="3182097" y="4011838"/>
            <a:ext cx="844429" cy="489186"/>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endParaRPr lang="de-DE" sz="100" noProof="1"/>
          </a:p>
          <a:p>
            <a:pPr algn="ctr"/>
            <a:endParaRPr lang="de-DE" sz="100" b="0" noProof="1"/>
          </a:p>
          <a:p>
            <a:pPr algn="ctr"/>
            <a:endParaRPr lang="de-DE" sz="100" noProof="1"/>
          </a:p>
          <a:p>
            <a:pPr algn="ctr"/>
            <a:r>
              <a:rPr lang="de-DE" sz="800" b="0" noProof="1"/>
              <a:t>Vorbedingung </a:t>
            </a:r>
          </a:p>
          <a:p>
            <a:pPr algn="ctr"/>
            <a:r>
              <a:rPr lang="de-DE" sz="800" b="0" noProof="1"/>
              <a:t>erfüllt?</a:t>
            </a:r>
          </a:p>
        </p:txBody>
      </p:sp>
      <p:cxnSp>
        <p:nvCxnSpPr>
          <p:cNvPr id="317" name="Gerade Verbindung mit Pfeil 316"/>
          <p:cNvCxnSpPr>
            <a:stCxn id="316" idx="0"/>
          </p:cNvCxnSpPr>
          <p:nvPr/>
        </p:nvCxnSpPr>
        <p:spPr bwMode="auto">
          <a:xfrm flipV="1">
            <a:off x="3604312" y="3462238"/>
            <a:ext cx="0" cy="54960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18" name="Gekrümmter Verbinder 25"/>
          <p:cNvCxnSpPr>
            <a:stCxn id="316" idx="2"/>
            <a:endCxn id="316" idx="1"/>
          </p:cNvCxnSpPr>
          <p:nvPr/>
        </p:nvCxnSpPr>
        <p:spPr bwMode="auto">
          <a:xfrm rot="5400000" flipH="1">
            <a:off x="3270908" y="4167621"/>
            <a:ext cx="244593" cy="422215"/>
          </a:xfrm>
          <a:prstGeom prst="curvedConnector4">
            <a:avLst>
              <a:gd name="adj1" fmla="val -93461"/>
              <a:gd name="adj2" fmla="val 154143"/>
            </a:avLst>
          </a:prstGeom>
          <a:solidFill>
            <a:srgbClr val="244894">
              <a:alpha val="25000"/>
            </a:srgbClr>
          </a:solidFill>
          <a:ln w="9525" cap="flat" cmpd="sng" algn="ctr">
            <a:solidFill>
              <a:schemeClr val="tx1"/>
            </a:solidFill>
            <a:prstDash val="solid"/>
            <a:round/>
            <a:headEnd type="none" w="med" len="med"/>
            <a:tailEnd type="none" w="med" len="med"/>
          </a:ln>
          <a:effectLst/>
        </p:spPr>
      </p:cxnSp>
      <p:sp>
        <p:nvSpPr>
          <p:cNvPr id="319" name="Rechteck 318"/>
          <p:cNvSpPr/>
          <p:nvPr/>
        </p:nvSpPr>
        <p:spPr bwMode="auto">
          <a:xfrm>
            <a:off x="3295398" y="3665860"/>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Ja</a:t>
            </a:r>
          </a:p>
        </p:txBody>
      </p:sp>
      <p:sp>
        <p:nvSpPr>
          <p:cNvPr id="320" name="Rechteck: abgerundete Ecken 211">
            <a:extLst>
              <a:ext uri="{FF2B5EF4-FFF2-40B4-BE49-F238E27FC236}">
                <a16:creationId xmlns:a16="http://schemas.microsoft.com/office/drawing/2014/main" id="{7D64B1DB-4304-4F8C-8DFA-C4E86144FF0C}"/>
              </a:ext>
            </a:extLst>
          </p:cNvPr>
          <p:cNvSpPr/>
          <p:nvPr/>
        </p:nvSpPr>
        <p:spPr bwMode="auto">
          <a:xfrm>
            <a:off x="4716371" y="3506748"/>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Nicht zugeteilt</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21" name="Rechteck 320"/>
          <p:cNvSpPr/>
          <p:nvPr/>
        </p:nvSpPr>
        <p:spPr bwMode="auto">
          <a:xfrm>
            <a:off x="3016265" y="4466966"/>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Nein</a:t>
            </a:r>
          </a:p>
        </p:txBody>
      </p:sp>
      <p:sp>
        <p:nvSpPr>
          <p:cNvPr id="322" name="Rechteck: abgerundete Ecken 222">
            <a:extLst>
              <a:ext uri="{FF2B5EF4-FFF2-40B4-BE49-F238E27FC236}">
                <a16:creationId xmlns:a16="http://schemas.microsoft.com/office/drawing/2014/main" id="{41F37388-DB60-4FD8-BF6A-CC3A26A6556C}"/>
              </a:ext>
            </a:extLst>
          </p:cNvPr>
          <p:cNvSpPr/>
          <p:nvPr/>
        </p:nvSpPr>
        <p:spPr bwMode="auto">
          <a:xfrm>
            <a:off x="2225003" y="2578538"/>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Eingegangen</a:t>
            </a:r>
          </a:p>
        </p:txBody>
      </p:sp>
      <p:sp>
        <p:nvSpPr>
          <p:cNvPr id="323" name="Rechteck: abgerundete Ecken 211">
            <a:extLst>
              <a:ext uri="{FF2B5EF4-FFF2-40B4-BE49-F238E27FC236}">
                <a16:creationId xmlns:a16="http://schemas.microsoft.com/office/drawing/2014/main" id="{7D64B1DB-4304-4F8C-8DFA-C4E86144FF0C}"/>
              </a:ext>
            </a:extLst>
          </p:cNvPr>
          <p:cNvSpPr/>
          <p:nvPr/>
        </p:nvSpPr>
        <p:spPr bwMode="auto">
          <a:xfrm>
            <a:off x="3343492" y="4416708"/>
            <a:ext cx="705321" cy="130896"/>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none" lIns="18000" tIns="18000" rIns="18000" bIns="18000" numCol="1" spcCol="0" rtlCol="0" fromWordArt="0" anchor="ctr" anchorCtr="0" forceAA="0" compatLnSpc="1">
            <a:prstTxWarp prst="textNoShape">
              <a:avLst/>
            </a:prstTxWarp>
            <a:noAutofit/>
          </a:bodyPr>
          <a:lstStyle/>
          <a:p>
            <a:pPr algn="ctr">
              <a:spcBef>
                <a:spcPts val="400"/>
              </a:spcBef>
            </a:pPr>
            <a:r>
              <a:rPr lang="de-DE" sz="500" kern="0" dirty="0">
                <a:solidFill>
                  <a:schemeClr val="bg1"/>
                </a:solidFill>
                <a:latin typeface="+mn-lt"/>
                <a:cs typeface="Arial" panose="020B0604020202020204" pitchFamily="34" charset="0"/>
              </a:rPr>
              <a:t>Nicht freigegeben</a:t>
            </a:r>
          </a:p>
        </p:txBody>
      </p:sp>
      <p:sp>
        <p:nvSpPr>
          <p:cNvPr id="324" name="Abgerundetes Rechteck 323"/>
          <p:cNvSpPr/>
          <p:nvPr/>
        </p:nvSpPr>
        <p:spPr bwMode="auto">
          <a:xfrm>
            <a:off x="5990202" y="2935052"/>
            <a:ext cx="1125800" cy="428355"/>
          </a:xfrm>
          <a:prstGeom prst="roundRect">
            <a:avLst>
              <a:gd name="adj" fmla="val 10162"/>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latin typeface="+mn-lt"/>
              </a:rPr>
              <a:t>Prüfung Vorgesetzter</a:t>
            </a:r>
          </a:p>
        </p:txBody>
      </p:sp>
      <p:sp>
        <p:nvSpPr>
          <p:cNvPr id="325" name="Rechteck: abgerundete Ecken 212">
            <a:extLst>
              <a:ext uri="{FF2B5EF4-FFF2-40B4-BE49-F238E27FC236}">
                <a16:creationId xmlns:a16="http://schemas.microsoft.com/office/drawing/2014/main" id="{FA8FAD19-5C90-4B1E-8431-1DB39C25984D}"/>
              </a:ext>
            </a:extLst>
          </p:cNvPr>
          <p:cNvSpPr/>
          <p:nvPr/>
        </p:nvSpPr>
        <p:spPr bwMode="auto">
          <a:xfrm>
            <a:off x="6549074" y="3290234"/>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Neuzuteilung</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26" name="Flussdiagramm: Verzweigung 163">
            <a:extLst>
              <a:ext uri="{FF2B5EF4-FFF2-40B4-BE49-F238E27FC236}">
                <a16:creationId xmlns:a16="http://schemas.microsoft.com/office/drawing/2014/main" id="{0F894D10-92D1-46AC-81ED-B91DEC5EC94B}"/>
              </a:ext>
            </a:extLst>
          </p:cNvPr>
          <p:cNvSpPr>
            <a:spLocks/>
          </p:cNvSpPr>
          <p:nvPr/>
        </p:nvSpPr>
        <p:spPr bwMode="gray">
          <a:xfrm>
            <a:off x="7531775" y="4071060"/>
            <a:ext cx="844429" cy="428355"/>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800" b="0" noProof="1">
                <a:latin typeface="+mn-lt"/>
              </a:rPr>
              <a:t>Verrichtung </a:t>
            </a:r>
          </a:p>
          <a:p>
            <a:pPr algn="ctr"/>
            <a:r>
              <a:rPr lang="de-DE" sz="800" b="0" noProof="1">
                <a:latin typeface="+mn-lt"/>
              </a:rPr>
              <a:t>bearbeitbar?</a:t>
            </a:r>
          </a:p>
        </p:txBody>
      </p:sp>
      <p:cxnSp>
        <p:nvCxnSpPr>
          <p:cNvPr id="327" name="Gewinkelte Verbindung 50"/>
          <p:cNvCxnSpPr>
            <a:stCxn id="236" idx="3"/>
            <a:endCxn id="312" idx="0"/>
          </p:cNvCxnSpPr>
          <p:nvPr/>
        </p:nvCxnSpPr>
        <p:spPr bwMode="auto">
          <a:xfrm>
            <a:off x="4163937" y="3149230"/>
            <a:ext cx="858307" cy="226745"/>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28" name="Gerade Verbindung mit Pfeil 327"/>
          <p:cNvCxnSpPr>
            <a:stCxn id="314" idx="0"/>
            <a:endCxn id="309" idx="2"/>
          </p:cNvCxnSpPr>
          <p:nvPr/>
        </p:nvCxnSpPr>
        <p:spPr bwMode="auto">
          <a:xfrm flipH="1" flipV="1">
            <a:off x="9132306" y="2619481"/>
            <a:ext cx="3383" cy="1448418"/>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29" name="Gerade Verbindung mit Pfeil 328"/>
          <p:cNvCxnSpPr>
            <a:stCxn id="326" idx="3"/>
            <a:endCxn id="314" idx="1"/>
          </p:cNvCxnSpPr>
          <p:nvPr/>
        </p:nvCxnSpPr>
        <p:spPr bwMode="auto">
          <a:xfrm flipV="1">
            <a:off x="8376204" y="4282077"/>
            <a:ext cx="337270" cy="316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330" name="Rechteck 329"/>
          <p:cNvSpPr/>
          <p:nvPr/>
        </p:nvSpPr>
        <p:spPr bwMode="auto">
          <a:xfrm>
            <a:off x="8411731" y="4161060"/>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Ja</a:t>
            </a:r>
          </a:p>
        </p:txBody>
      </p:sp>
      <p:cxnSp>
        <p:nvCxnSpPr>
          <p:cNvPr id="331" name="Gerade Verbindung mit Pfeil 330"/>
          <p:cNvCxnSpPr/>
          <p:nvPr/>
        </p:nvCxnSpPr>
        <p:spPr bwMode="auto">
          <a:xfrm>
            <a:off x="5022243" y="3652412"/>
            <a:ext cx="4615" cy="432000"/>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32" name="Gewinkelte Verbindung 79"/>
          <p:cNvCxnSpPr>
            <a:stCxn id="326" idx="0"/>
            <a:endCxn id="324" idx="3"/>
          </p:cNvCxnSpPr>
          <p:nvPr/>
        </p:nvCxnSpPr>
        <p:spPr bwMode="auto">
          <a:xfrm rot="16200000" flipV="1">
            <a:off x="7074081" y="3191151"/>
            <a:ext cx="921830" cy="837988"/>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sp>
        <p:nvSpPr>
          <p:cNvPr id="333" name="Rechteck 332"/>
          <p:cNvSpPr/>
          <p:nvPr/>
        </p:nvSpPr>
        <p:spPr bwMode="auto">
          <a:xfrm>
            <a:off x="7644588" y="3548055"/>
            <a:ext cx="316631" cy="131802"/>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marL="0" marR="0" indent="0" algn="l" defTabSz="914400" eaLnBrk="1" fontAlgn="base" latinLnBrk="0" hangingPunct="1">
              <a:lnSpc>
                <a:spcPct val="100000"/>
              </a:lnSpc>
              <a:spcBef>
                <a:spcPct val="0"/>
              </a:spcBef>
              <a:spcAft>
                <a:spcPct val="0"/>
              </a:spcAft>
              <a:buClrTx/>
              <a:buSzTx/>
              <a:buFontTx/>
              <a:buNone/>
              <a:tabLst/>
            </a:pPr>
            <a:r>
              <a:rPr kumimoji="0" lang="de-DE" sz="800" b="0" i="0" u="none" strike="noStrike" cap="none" normalizeH="0" baseline="0" dirty="0">
                <a:ln>
                  <a:noFill/>
                </a:ln>
                <a:effectLst/>
                <a:latin typeface="+mn-lt"/>
              </a:rPr>
              <a:t>Nein</a:t>
            </a:r>
          </a:p>
        </p:txBody>
      </p:sp>
      <p:cxnSp>
        <p:nvCxnSpPr>
          <p:cNvPr id="334" name="Gewinkelte Verbindung 94"/>
          <p:cNvCxnSpPr>
            <a:stCxn id="324" idx="1"/>
            <a:endCxn id="312" idx="0"/>
          </p:cNvCxnSpPr>
          <p:nvPr/>
        </p:nvCxnSpPr>
        <p:spPr bwMode="auto">
          <a:xfrm rot="10800000" flipV="1">
            <a:off x="5022244" y="3149229"/>
            <a:ext cx="967958" cy="226745"/>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35" name="Gewinkelte Verbindung 108"/>
          <p:cNvCxnSpPr/>
          <p:nvPr/>
        </p:nvCxnSpPr>
        <p:spPr bwMode="auto">
          <a:xfrm rot="10800000" flipV="1">
            <a:off x="5022243" y="2411433"/>
            <a:ext cx="3547162" cy="970671"/>
          </a:xfrm>
          <a:prstGeom prst="bentConnector2">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36" name="Gerade Verbindung mit Pfeil 335"/>
          <p:cNvCxnSpPr>
            <a:stCxn id="247" idx="3"/>
            <a:endCxn id="316" idx="1"/>
          </p:cNvCxnSpPr>
          <p:nvPr/>
        </p:nvCxnSpPr>
        <p:spPr bwMode="auto">
          <a:xfrm>
            <a:off x="2660355" y="4246146"/>
            <a:ext cx="521742" cy="10285"/>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grpSp>
        <p:nvGrpSpPr>
          <p:cNvPr id="337" name="Gruppieren 336"/>
          <p:cNvGrpSpPr/>
          <p:nvPr/>
        </p:nvGrpSpPr>
        <p:grpSpPr>
          <a:xfrm>
            <a:off x="4448629" y="4065710"/>
            <a:ext cx="1125800" cy="428355"/>
            <a:chOff x="-1683898" y="5645129"/>
            <a:chExt cx="962313" cy="377520"/>
          </a:xfrm>
        </p:grpSpPr>
        <p:sp>
          <p:nvSpPr>
            <p:cNvPr id="338" name="Rechteck 179">
              <a:extLst>
                <a:ext uri="{FF2B5EF4-FFF2-40B4-BE49-F238E27FC236}">
                  <a16:creationId xmlns:a16="http://schemas.microsoft.com/office/drawing/2014/main" id="{6914052D-20F2-4786-A0B0-05CD6045466D}"/>
                </a:ext>
              </a:extLst>
            </p:cNvPr>
            <p:cNvSpPr>
              <a:spLocks noChangeAspect="1"/>
            </p:cNvSpPr>
            <p:nvPr/>
          </p:nvSpPr>
          <p:spPr bwMode="gray">
            <a:xfrm>
              <a:off x="-1683898" y="5645129"/>
              <a:ext cx="962313" cy="377520"/>
            </a:xfrm>
            <a:prstGeom prst="rect">
              <a:avLst/>
            </a:prstGeom>
            <a:noFill/>
            <a:ln w="9525">
              <a:noFill/>
              <a:miter lim="800000"/>
              <a:headEnd/>
              <a:tailEnd/>
            </a:ln>
            <a:effectLst/>
          </p:spPr>
          <p:txBody>
            <a:bodyPr wrap="square" lIns="18000" tIns="18000" rIns="18000" bIns="18000" anchor="ctr" anchorCtr="0"/>
            <a:lstStyle/>
            <a:p>
              <a:pPr algn="ctr" defTabSz="801688" eaLnBrk="0" hangingPunct="0">
                <a:lnSpc>
                  <a:spcPct val="95000"/>
                </a:lnSpc>
                <a:spcBef>
                  <a:spcPct val="50000"/>
                </a:spcBef>
                <a:spcAft>
                  <a:spcPts val="800"/>
                </a:spcAft>
                <a:buClr>
                  <a:srgbClr val="969696"/>
                </a:buClr>
              </a:pPr>
              <a:endParaRPr lang="de-DE" sz="800" b="1" noProof="1">
                <a:solidFill>
                  <a:srgbClr val="FFFFFF"/>
                </a:solidFill>
                <a:latin typeface="+mn-lt"/>
                <a:cs typeface="Arial" charset="0"/>
              </a:endParaRPr>
            </a:p>
          </p:txBody>
        </p:sp>
        <p:grpSp>
          <p:nvGrpSpPr>
            <p:cNvPr id="339" name="Group 87">
              <a:extLst>
                <a:ext uri="{FF2B5EF4-FFF2-40B4-BE49-F238E27FC236}">
                  <a16:creationId xmlns:a16="http://schemas.microsoft.com/office/drawing/2014/main" id="{3BF79F1D-06B1-4088-9415-86DC24F308B6}"/>
                </a:ext>
              </a:extLst>
            </p:cNvPr>
            <p:cNvGrpSpPr/>
            <p:nvPr/>
          </p:nvGrpSpPr>
          <p:grpSpPr>
            <a:xfrm>
              <a:off x="-1683898" y="5645129"/>
              <a:ext cx="962313" cy="377520"/>
              <a:chOff x="341837" y="5228595"/>
              <a:chExt cx="395553" cy="260253"/>
            </a:xfrm>
            <a:noFill/>
          </p:grpSpPr>
          <p:sp>
            <p:nvSpPr>
              <p:cNvPr id="340" name="Rechteck 197">
                <a:extLst>
                  <a:ext uri="{FF2B5EF4-FFF2-40B4-BE49-F238E27FC236}">
                    <a16:creationId xmlns:a16="http://schemas.microsoft.com/office/drawing/2014/main" id="{F7ABC87B-0121-49E6-973F-D997B2E77289}"/>
                  </a:ext>
                </a:extLst>
              </p:cNvPr>
              <p:cNvSpPr/>
              <p:nvPr/>
            </p:nvSpPr>
            <p:spPr bwMode="auto">
              <a:xfrm>
                <a:off x="389919" y="5266884"/>
                <a:ext cx="347471" cy="221964"/>
              </a:xfrm>
              <a:prstGeom prst="rect">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vert="horz" wrap="square" lIns="0" tIns="0" rIns="0" bIns="0" numCol="1" rtlCol="0" anchor="ctr" anchorCtr="1" compatLnSpc="1">
                <a:prstTxWarp prst="textNoShape">
                  <a:avLst/>
                </a:prstTxWarp>
              </a:bodyPr>
              <a:lstStyle/>
              <a:p>
                <a:pPr algn="ctr"/>
                <a:r>
                  <a:rPr lang="de-DE" sz="800" b="0" dirty="0"/>
                  <a:t>Verrichtung zugewiesen</a:t>
                </a:r>
              </a:p>
            </p:txBody>
          </p:sp>
          <p:sp>
            <p:nvSpPr>
              <p:cNvPr id="341" name="Rechteck 198">
                <a:extLst>
                  <a:ext uri="{FF2B5EF4-FFF2-40B4-BE49-F238E27FC236}">
                    <a16:creationId xmlns:a16="http://schemas.microsoft.com/office/drawing/2014/main" id="{ABC265D3-CEF6-4EA4-AF17-60705990F4C6}"/>
                  </a:ext>
                </a:extLst>
              </p:cNvPr>
              <p:cNvSpPr/>
              <p:nvPr/>
            </p:nvSpPr>
            <p:spPr bwMode="auto">
              <a:xfrm>
                <a:off x="389919" y="5228595"/>
                <a:ext cx="347471" cy="24971"/>
              </a:xfrm>
              <a:prstGeom prst="rect">
                <a:avLst/>
              </a:prstGeom>
              <a:grpFill/>
              <a:ln w="9525">
                <a:solidFill>
                  <a:schemeClr val="tx1"/>
                </a:solidFill>
                <a:miter lim="800000"/>
                <a:headEnd/>
                <a:tailEnd/>
              </a:ln>
              <a:effectLst/>
            </p:spPr>
            <p:txBody>
              <a:bodyPr wrap="square" lIns="18000" tIns="18000" rIns="18000" bIns="18000" anchor="ctr" anchorCtr="0"/>
              <a:lstStyle/>
              <a:p>
                <a:pPr algn="ctr" defTabSz="801688" eaLnBrk="0" hangingPunct="0">
                  <a:lnSpc>
                    <a:spcPct val="95000"/>
                  </a:lnSpc>
                  <a:spcBef>
                    <a:spcPct val="50000"/>
                  </a:spcBef>
                  <a:spcAft>
                    <a:spcPts val="800"/>
                  </a:spcAft>
                  <a:buClr>
                    <a:srgbClr val="969696"/>
                  </a:buClr>
                </a:pPr>
                <a:endParaRPr lang="de-DE" sz="800" b="1" dirty="0">
                  <a:solidFill>
                    <a:srgbClr val="FFFFFF"/>
                  </a:solidFill>
                  <a:latin typeface="+mn-lt"/>
                  <a:cs typeface="Arial" charset="0"/>
                </a:endParaRPr>
              </a:p>
            </p:txBody>
          </p:sp>
          <p:sp>
            <p:nvSpPr>
              <p:cNvPr id="342" name="Rechteck 199">
                <a:extLst>
                  <a:ext uri="{FF2B5EF4-FFF2-40B4-BE49-F238E27FC236}">
                    <a16:creationId xmlns:a16="http://schemas.microsoft.com/office/drawing/2014/main" id="{CB2D924A-CD1C-4FB5-9CEA-D18D2A06D6AC}"/>
                  </a:ext>
                </a:extLst>
              </p:cNvPr>
              <p:cNvSpPr/>
              <p:nvPr/>
            </p:nvSpPr>
            <p:spPr bwMode="auto">
              <a:xfrm>
                <a:off x="341838" y="5266884"/>
                <a:ext cx="35236" cy="221964"/>
              </a:xfrm>
              <a:prstGeom prst="rect">
                <a:avLst/>
              </a:prstGeom>
              <a:grpFill/>
              <a:ln w="9525">
                <a:solidFill>
                  <a:schemeClr val="tx1"/>
                </a:solidFill>
                <a:miter lim="800000"/>
                <a:headEnd/>
                <a:tailEnd/>
              </a:ln>
              <a:effectLst/>
            </p:spPr>
            <p:txBody>
              <a:bodyPr wrap="square" lIns="18000" tIns="18000" rIns="18000" bIns="18000" anchor="ctr" anchorCtr="0"/>
              <a:lstStyle/>
              <a:p>
                <a:pPr algn="ctr" defTabSz="801688" eaLnBrk="0" hangingPunct="0">
                  <a:lnSpc>
                    <a:spcPct val="95000"/>
                  </a:lnSpc>
                  <a:spcBef>
                    <a:spcPct val="50000"/>
                  </a:spcBef>
                  <a:spcAft>
                    <a:spcPts val="800"/>
                  </a:spcAft>
                  <a:buClr>
                    <a:srgbClr val="969696"/>
                  </a:buClr>
                </a:pPr>
                <a:endParaRPr lang="de-DE" sz="800" b="1" dirty="0">
                  <a:solidFill>
                    <a:srgbClr val="FFFFFF"/>
                  </a:solidFill>
                  <a:latin typeface="+mn-lt"/>
                  <a:cs typeface="Arial" charset="0"/>
                </a:endParaRPr>
              </a:p>
            </p:txBody>
          </p:sp>
          <p:sp>
            <p:nvSpPr>
              <p:cNvPr id="343" name="Rechteck 200">
                <a:extLst>
                  <a:ext uri="{FF2B5EF4-FFF2-40B4-BE49-F238E27FC236}">
                    <a16:creationId xmlns:a16="http://schemas.microsoft.com/office/drawing/2014/main" id="{022CAAC2-49B8-4C62-AD5A-AC9CE55538C1}"/>
                  </a:ext>
                </a:extLst>
              </p:cNvPr>
              <p:cNvSpPr/>
              <p:nvPr/>
            </p:nvSpPr>
            <p:spPr bwMode="auto">
              <a:xfrm>
                <a:off x="341837" y="5228595"/>
                <a:ext cx="35236" cy="24971"/>
              </a:xfrm>
              <a:prstGeom prst="rect">
                <a:avLst/>
              </a:prstGeom>
              <a:grpFill/>
              <a:ln w="9525">
                <a:solidFill>
                  <a:schemeClr val="tx1"/>
                </a:solidFill>
                <a:miter lim="800000"/>
                <a:headEnd/>
                <a:tailEnd/>
              </a:ln>
              <a:effectLst/>
            </p:spPr>
            <p:txBody>
              <a:bodyPr wrap="square" lIns="18000" tIns="18000" rIns="18000" bIns="18000" anchor="ctr" anchorCtr="0"/>
              <a:lstStyle/>
              <a:p>
                <a:pPr algn="ctr" defTabSz="801688" eaLnBrk="0" hangingPunct="0">
                  <a:lnSpc>
                    <a:spcPct val="95000"/>
                  </a:lnSpc>
                  <a:spcBef>
                    <a:spcPct val="50000"/>
                  </a:spcBef>
                  <a:spcAft>
                    <a:spcPts val="800"/>
                  </a:spcAft>
                  <a:buClr>
                    <a:srgbClr val="969696"/>
                  </a:buClr>
                </a:pPr>
                <a:endParaRPr lang="de-DE" sz="800" b="1" dirty="0">
                  <a:solidFill>
                    <a:srgbClr val="FFFFFF"/>
                  </a:solidFill>
                  <a:latin typeface="+mn-lt"/>
                  <a:cs typeface="Arial" charset="0"/>
                </a:endParaRPr>
              </a:p>
            </p:txBody>
          </p:sp>
        </p:grpSp>
      </p:grpSp>
      <p:sp>
        <p:nvSpPr>
          <p:cNvPr id="344" name="Rechteck: abgerundete Ecken 211">
            <a:extLst>
              <a:ext uri="{FF2B5EF4-FFF2-40B4-BE49-F238E27FC236}">
                <a16:creationId xmlns:a16="http://schemas.microsoft.com/office/drawing/2014/main" id="{7D64B1DB-4304-4F8C-8DFA-C4E86144FF0C}"/>
              </a:ext>
            </a:extLst>
          </p:cNvPr>
          <p:cNvSpPr/>
          <p:nvPr/>
        </p:nvSpPr>
        <p:spPr bwMode="auto">
          <a:xfrm>
            <a:off x="5007501" y="4420892"/>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Zugeteilt</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45" name="Rechteck: abgerundete Ecken 212">
            <a:extLst>
              <a:ext uri="{FF2B5EF4-FFF2-40B4-BE49-F238E27FC236}">
                <a16:creationId xmlns:a16="http://schemas.microsoft.com/office/drawing/2014/main" id="{FA8FAD19-5C90-4B1E-8431-1DB39C25984D}"/>
              </a:ext>
            </a:extLst>
          </p:cNvPr>
          <p:cNvSpPr/>
          <p:nvPr/>
        </p:nvSpPr>
        <p:spPr bwMode="auto">
          <a:xfrm>
            <a:off x="7657727" y="4480231"/>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In Bearbeitung</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46" name="Rechteck: abgerundete Ecken 212">
            <a:extLst>
              <a:ext uri="{FF2B5EF4-FFF2-40B4-BE49-F238E27FC236}">
                <a16:creationId xmlns:a16="http://schemas.microsoft.com/office/drawing/2014/main" id="{FA8FAD19-5C90-4B1E-8431-1DB39C25984D}"/>
              </a:ext>
            </a:extLst>
          </p:cNvPr>
          <p:cNvSpPr/>
          <p:nvPr/>
        </p:nvSpPr>
        <p:spPr bwMode="auto">
          <a:xfrm>
            <a:off x="8911380" y="4480231"/>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In Bearbeitung</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cxnSp>
        <p:nvCxnSpPr>
          <p:cNvPr id="354" name="Gerade Verbindung mit Pfeil 353"/>
          <p:cNvCxnSpPr>
            <a:stCxn id="384" idx="3"/>
          </p:cNvCxnSpPr>
          <p:nvPr/>
        </p:nvCxnSpPr>
        <p:spPr bwMode="auto">
          <a:xfrm>
            <a:off x="10973736" y="4282077"/>
            <a:ext cx="513671" cy="7624"/>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cxnSp>
        <p:nvCxnSpPr>
          <p:cNvPr id="367" name="Gerade Verbindung mit Pfeil 366"/>
          <p:cNvCxnSpPr/>
          <p:nvPr/>
        </p:nvCxnSpPr>
        <p:spPr bwMode="auto">
          <a:xfrm>
            <a:off x="5573426" y="4275005"/>
            <a:ext cx="415773" cy="3161"/>
          </a:xfrm>
          <a:prstGeom prst="straightConnector1">
            <a:avLst/>
          </a:prstGeom>
          <a:solidFill>
            <a:srgbClr val="244894">
              <a:alpha val="25000"/>
            </a:srgbClr>
          </a:solidFill>
          <a:ln w="9525" cap="flat" cmpd="sng" algn="ctr">
            <a:solidFill>
              <a:schemeClr val="tx1"/>
            </a:solidFill>
            <a:prstDash val="solid"/>
            <a:round/>
            <a:headEnd type="none" w="med" len="med"/>
            <a:tailEnd type="triangle"/>
          </a:ln>
          <a:effectLst/>
        </p:spPr>
      </p:cxnSp>
      <p:grpSp>
        <p:nvGrpSpPr>
          <p:cNvPr id="368" name="Gruppieren 367"/>
          <p:cNvGrpSpPr/>
          <p:nvPr/>
        </p:nvGrpSpPr>
        <p:grpSpPr>
          <a:xfrm>
            <a:off x="9699883" y="2043640"/>
            <a:ext cx="281450" cy="334070"/>
            <a:chOff x="-696070" y="5354178"/>
            <a:chExt cx="288000" cy="364988"/>
          </a:xfrm>
          <a:solidFill>
            <a:schemeClr val="tx1"/>
          </a:solidFill>
        </p:grpSpPr>
        <p:sp>
          <p:nvSpPr>
            <p:cNvPr id="369" name="noun_project_00453.eps"/>
            <p:cNvSpPr>
              <a:spLocks noChangeAspect="1" noEditPoints="1"/>
            </p:cNvSpPr>
            <p:nvPr/>
          </p:nvSpPr>
          <p:spPr bwMode="auto">
            <a:xfrm>
              <a:off x="-696070" y="5354178"/>
              <a:ext cx="288000" cy="364988"/>
            </a:xfrm>
            <a:custGeom>
              <a:avLst/>
              <a:gdLst>
                <a:gd name="T0" fmla="*/ 2003 w 2728"/>
                <a:gd name="T1" fmla="*/ 346 h 3456"/>
                <a:gd name="T2" fmla="*/ 2003 w 2728"/>
                <a:gd name="T3" fmla="*/ 691 h 3456"/>
                <a:gd name="T4" fmla="*/ 2366 w 2728"/>
                <a:gd name="T5" fmla="*/ 691 h 3456"/>
                <a:gd name="T6" fmla="*/ 2003 w 2728"/>
                <a:gd name="T7" fmla="*/ 346 h 3456"/>
                <a:gd name="T8" fmla="*/ 207 w 2728"/>
                <a:gd name="T9" fmla="*/ 207 h 3456"/>
                <a:gd name="T10" fmla="*/ 207 w 2728"/>
                <a:gd name="T11" fmla="*/ 3249 h 3456"/>
                <a:gd name="T12" fmla="*/ 2521 w 2728"/>
                <a:gd name="T13" fmla="*/ 3249 h 3456"/>
                <a:gd name="T14" fmla="*/ 2521 w 2728"/>
                <a:gd name="T15" fmla="*/ 899 h 3456"/>
                <a:gd name="T16" fmla="*/ 1796 w 2728"/>
                <a:gd name="T17" fmla="*/ 899 h 3456"/>
                <a:gd name="T18" fmla="*/ 1796 w 2728"/>
                <a:gd name="T19" fmla="*/ 207 h 3456"/>
                <a:gd name="T20" fmla="*/ 207 w 2728"/>
                <a:gd name="T21" fmla="*/ 207 h 3456"/>
                <a:gd name="T22" fmla="*/ 0 w 2728"/>
                <a:gd name="T23" fmla="*/ 0 h 3456"/>
                <a:gd name="T24" fmla="*/ 1941 w 2728"/>
                <a:gd name="T25" fmla="*/ 0 h 3456"/>
                <a:gd name="T26" fmla="*/ 2728 w 2728"/>
                <a:gd name="T27" fmla="*/ 751 h 3456"/>
                <a:gd name="T28" fmla="*/ 2728 w 2728"/>
                <a:gd name="T29" fmla="*/ 3456 h 3456"/>
                <a:gd name="T30" fmla="*/ 0 w 2728"/>
                <a:gd name="T31" fmla="*/ 3456 h 3456"/>
                <a:gd name="T32" fmla="*/ 0 w 2728"/>
                <a:gd name="T33"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28" h="3456">
                  <a:moveTo>
                    <a:pt x="2003" y="346"/>
                  </a:moveTo>
                  <a:lnTo>
                    <a:pt x="2003" y="691"/>
                  </a:lnTo>
                  <a:lnTo>
                    <a:pt x="2366" y="691"/>
                  </a:lnTo>
                  <a:lnTo>
                    <a:pt x="2003" y="346"/>
                  </a:lnTo>
                  <a:close/>
                  <a:moveTo>
                    <a:pt x="207" y="207"/>
                  </a:moveTo>
                  <a:lnTo>
                    <a:pt x="207" y="3249"/>
                  </a:lnTo>
                  <a:lnTo>
                    <a:pt x="2521" y="3249"/>
                  </a:lnTo>
                  <a:lnTo>
                    <a:pt x="2521" y="899"/>
                  </a:lnTo>
                  <a:lnTo>
                    <a:pt x="1796" y="899"/>
                  </a:lnTo>
                  <a:lnTo>
                    <a:pt x="1796" y="207"/>
                  </a:lnTo>
                  <a:lnTo>
                    <a:pt x="207" y="207"/>
                  </a:lnTo>
                  <a:close/>
                  <a:moveTo>
                    <a:pt x="0" y="0"/>
                  </a:moveTo>
                  <a:lnTo>
                    <a:pt x="1941" y="0"/>
                  </a:lnTo>
                  <a:lnTo>
                    <a:pt x="2728" y="751"/>
                  </a:lnTo>
                  <a:lnTo>
                    <a:pt x="2728" y="3456"/>
                  </a:lnTo>
                  <a:lnTo>
                    <a:pt x="0" y="3456"/>
                  </a:lnTo>
                  <a:lnTo>
                    <a:pt x="0" y="0"/>
                  </a:lnTo>
                  <a:close/>
                </a:path>
              </a:pathLst>
            </a:custGeom>
            <a:grpFill/>
            <a:ln w="0">
              <a:solidFill>
                <a:schemeClr val="tx1"/>
              </a:solidFill>
              <a:prstDash val="solid"/>
              <a:round/>
              <a:headEnd/>
              <a:tailEnd/>
            </a:ln>
          </p:spPr>
          <p:txBody>
            <a:bodyPr/>
            <a:lstStyle/>
            <a:p>
              <a:endParaRPr lang="de-DE" sz="800" b="0" dirty="0">
                <a:latin typeface="+mn-lt"/>
              </a:endParaRPr>
            </a:p>
          </p:txBody>
        </p:sp>
        <p:grpSp>
          <p:nvGrpSpPr>
            <p:cNvPr id="370" name="Gruppieren 369"/>
            <p:cNvGrpSpPr>
              <a:grpSpLocks noChangeAspect="1"/>
            </p:cNvGrpSpPr>
            <p:nvPr/>
          </p:nvGrpSpPr>
          <p:grpSpPr>
            <a:xfrm>
              <a:off x="-649397" y="5481248"/>
              <a:ext cx="204387" cy="180000"/>
              <a:chOff x="-1305411" y="5962628"/>
              <a:chExt cx="947406" cy="834356"/>
            </a:xfrm>
            <a:grpFill/>
          </p:grpSpPr>
          <p:grpSp>
            <p:nvGrpSpPr>
              <p:cNvPr id="371" name="noun_project_01063.eps"/>
              <p:cNvGrpSpPr>
                <a:grpSpLocks/>
              </p:cNvGrpSpPr>
              <p:nvPr/>
            </p:nvGrpSpPr>
            <p:grpSpPr bwMode="auto">
              <a:xfrm>
                <a:off x="-1305411" y="5962628"/>
                <a:ext cx="557212" cy="595313"/>
                <a:chOff x="2223" y="3060"/>
                <a:chExt cx="351" cy="375"/>
              </a:xfrm>
              <a:grpFill/>
            </p:grpSpPr>
            <p:sp>
              <p:nvSpPr>
                <p:cNvPr id="375" name="Freeform 405"/>
                <p:cNvSpPr>
                  <a:spLocks noEditPoints="1"/>
                </p:cNvSpPr>
                <p:nvPr/>
              </p:nvSpPr>
              <p:spPr bwMode="auto">
                <a:xfrm>
                  <a:off x="2381" y="3060"/>
                  <a:ext cx="193" cy="194"/>
                </a:xfrm>
                <a:custGeom>
                  <a:avLst/>
                  <a:gdLst>
                    <a:gd name="T0" fmla="*/ 752 w 1740"/>
                    <a:gd name="T1" fmla="*/ 570 h 1741"/>
                    <a:gd name="T2" fmla="*/ 620 w 1740"/>
                    <a:gd name="T3" fmla="*/ 675 h 1741"/>
                    <a:gd name="T4" fmla="*/ 559 w 1740"/>
                    <a:gd name="T5" fmla="*/ 825 h 1741"/>
                    <a:gd name="T6" fmla="*/ 579 w 1740"/>
                    <a:gd name="T7" fmla="*/ 991 h 1741"/>
                    <a:gd name="T8" fmla="*/ 681 w 1740"/>
                    <a:gd name="T9" fmla="*/ 1124 h 1741"/>
                    <a:gd name="T10" fmla="*/ 832 w 1740"/>
                    <a:gd name="T11" fmla="*/ 1186 h 1741"/>
                    <a:gd name="T12" fmla="*/ 996 w 1740"/>
                    <a:gd name="T13" fmla="*/ 1165 h 1741"/>
                    <a:gd name="T14" fmla="*/ 1130 w 1740"/>
                    <a:gd name="T15" fmla="*/ 1062 h 1741"/>
                    <a:gd name="T16" fmla="*/ 1192 w 1740"/>
                    <a:gd name="T17" fmla="*/ 911 h 1741"/>
                    <a:gd name="T18" fmla="*/ 1172 w 1740"/>
                    <a:gd name="T19" fmla="*/ 745 h 1741"/>
                    <a:gd name="T20" fmla="*/ 1073 w 1740"/>
                    <a:gd name="T21" fmla="*/ 617 h 1741"/>
                    <a:gd name="T22" fmla="*/ 947 w 1740"/>
                    <a:gd name="T23" fmla="*/ 555 h 1741"/>
                    <a:gd name="T24" fmla="*/ 898 w 1740"/>
                    <a:gd name="T25" fmla="*/ 0 h 1741"/>
                    <a:gd name="T26" fmla="*/ 1018 w 1740"/>
                    <a:gd name="T27" fmla="*/ 124 h 1741"/>
                    <a:gd name="T28" fmla="*/ 1090 w 1740"/>
                    <a:gd name="T29" fmla="*/ 254 h 1741"/>
                    <a:gd name="T30" fmla="*/ 1189 w 1740"/>
                    <a:gd name="T31" fmla="*/ 301 h 1741"/>
                    <a:gd name="T32" fmla="*/ 1385 w 1740"/>
                    <a:gd name="T33" fmla="*/ 169 h 1741"/>
                    <a:gd name="T34" fmla="*/ 1572 w 1740"/>
                    <a:gd name="T35" fmla="*/ 353 h 1741"/>
                    <a:gd name="T36" fmla="*/ 1430 w 1740"/>
                    <a:gd name="T37" fmla="*/ 529 h 1741"/>
                    <a:gd name="T38" fmla="*/ 1483 w 1740"/>
                    <a:gd name="T39" fmla="*/ 641 h 1741"/>
                    <a:gd name="T40" fmla="*/ 1619 w 1740"/>
                    <a:gd name="T41" fmla="*/ 729 h 1741"/>
                    <a:gd name="T42" fmla="*/ 1740 w 1740"/>
                    <a:gd name="T43" fmla="*/ 843 h 1741"/>
                    <a:gd name="T44" fmla="*/ 1730 w 1740"/>
                    <a:gd name="T45" fmla="*/ 1005 h 1741"/>
                    <a:gd name="T46" fmla="*/ 1500 w 1740"/>
                    <a:gd name="T47" fmla="*/ 1045 h 1741"/>
                    <a:gd name="T48" fmla="*/ 1495 w 1740"/>
                    <a:gd name="T49" fmla="*/ 1061 h 1741"/>
                    <a:gd name="T50" fmla="*/ 1476 w 1740"/>
                    <a:gd name="T51" fmla="*/ 1119 h 1741"/>
                    <a:gd name="T52" fmla="*/ 1433 w 1740"/>
                    <a:gd name="T53" fmla="*/ 1209 h 1741"/>
                    <a:gd name="T54" fmla="*/ 1520 w 1740"/>
                    <a:gd name="T55" fmla="*/ 1453 h 1741"/>
                    <a:gd name="T56" fmla="*/ 1417 w 1740"/>
                    <a:gd name="T57" fmla="*/ 1554 h 1741"/>
                    <a:gd name="T58" fmla="*/ 1222 w 1740"/>
                    <a:gd name="T59" fmla="*/ 1427 h 1741"/>
                    <a:gd name="T60" fmla="*/ 1219 w 1740"/>
                    <a:gd name="T61" fmla="*/ 1424 h 1741"/>
                    <a:gd name="T62" fmla="*/ 1090 w 1740"/>
                    <a:gd name="T63" fmla="*/ 1488 h 1741"/>
                    <a:gd name="T64" fmla="*/ 1009 w 1740"/>
                    <a:gd name="T65" fmla="*/ 1731 h 1741"/>
                    <a:gd name="T66" fmla="*/ 809 w 1740"/>
                    <a:gd name="T67" fmla="*/ 1740 h 1741"/>
                    <a:gd name="T68" fmla="*/ 722 w 1740"/>
                    <a:gd name="T69" fmla="*/ 1510 h 1741"/>
                    <a:gd name="T70" fmla="*/ 622 w 1740"/>
                    <a:gd name="T71" fmla="*/ 1479 h 1741"/>
                    <a:gd name="T72" fmla="*/ 531 w 1740"/>
                    <a:gd name="T73" fmla="*/ 1434 h 1741"/>
                    <a:gd name="T74" fmla="*/ 363 w 1740"/>
                    <a:gd name="T75" fmla="*/ 1579 h 1741"/>
                    <a:gd name="T76" fmla="*/ 175 w 1740"/>
                    <a:gd name="T77" fmla="*/ 1393 h 1741"/>
                    <a:gd name="T78" fmla="*/ 302 w 1740"/>
                    <a:gd name="T79" fmla="*/ 1198 h 1741"/>
                    <a:gd name="T80" fmla="*/ 253 w 1740"/>
                    <a:gd name="T81" fmla="*/ 1091 h 1741"/>
                    <a:gd name="T82" fmla="*/ 234 w 1740"/>
                    <a:gd name="T83" fmla="*/ 1023 h 1741"/>
                    <a:gd name="T84" fmla="*/ 1 w 1740"/>
                    <a:gd name="T85" fmla="*/ 901 h 1741"/>
                    <a:gd name="T86" fmla="*/ 10 w 1740"/>
                    <a:gd name="T87" fmla="*/ 742 h 1741"/>
                    <a:gd name="T88" fmla="*/ 236 w 1740"/>
                    <a:gd name="T89" fmla="*/ 707 h 1741"/>
                    <a:gd name="T90" fmla="*/ 263 w 1740"/>
                    <a:gd name="T91" fmla="*/ 623 h 1741"/>
                    <a:gd name="T92" fmla="*/ 314 w 1740"/>
                    <a:gd name="T93" fmla="*/ 529 h 1741"/>
                    <a:gd name="T94" fmla="*/ 169 w 1740"/>
                    <a:gd name="T95" fmla="*/ 356 h 1741"/>
                    <a:gd name="T96" fmla="*/ 252 w 1740"/>
                    <a:gd name="T97" fmla="*/ 258 h 1741"/>
                    <a:gd name="T98" fmla="*/ 331 w 1740"/>
                    <a:gd name="T99" fmla="*/ 184 h 1741"/>
                    <a:gd name="T100" fmla="*/ 471 w 1740"/>
                    <a:gd name="T101" fmla="*/ 267 h 1741"/>
                    <a:gd name="T102" fmla="*/ 621 w 1740"/>
                    <a:gd name="T103" fmla="*/ 266 h 1741"/>
                    <a:gd name="T104" fmla="*/ 682 w 1740"/>
                    <a:gd name="T105" fmla="*/ 242 h 1741"/>
                    <a:gd name="T106" fmla="*/ 712 w 1740"/>
                    <a:gd name="T107" fmla="*/ 235 h 1741"/>
                    <a:gd name="T108" fmla="*/ 746 w 1740"/>
                    <a:gd name="T109" fmla="*/ 10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0" h="1741">
                      <a:moveTo>
                        <a:pt x="874" y="550"/>
                      </a:moveTo>
                      <a:lnTo>
                        <a:pt x="832" y="551"/>
                      </a:lnTo>
                      <a:lnTo>
                        <a:pt x="791" y="557"/>
                      </a:lnTo>
                      <a:lnTo>
                        <a:pt x="752" y="570"/>
                      </a:lnTo>
                      <a:lnTo>
                        <a:pt x="716" y="588"/>
                      </a:lnTo>
                      <a:lnTo>
                        <a:pt x="681" y="612"/>
                      </a:lnTo>
                      <a:lnTo>
                        <a:pt x="650" y="643"/>
                      </a:lnTo>
                      <a:lnTo>
                        <a:pt x="620" y="675"/>
                      </a:lnTo>
                      <a:lnTo>
                        <a:pt x="597" y="709"/>
                      </a:lnTo>
                      <a:lnTo>
                        <a:pt x="579" y="745"/>
                      </a:lnTo>
                      <a:lnTo>
                        <a:pt x="566" y="784"/>
                      </a:lnTo>
                      <a:lnTo>
                        <a:pt x="559" y="825"/>
                      </a:lnTo>
                      <a:lnTo>
                        <a:pt x="555" y="867"/>
                      </a:lnTo>
                      <a:lnTo>
                        <a:pt x="559" y="911"/>
                      </a:lnTo>
                      <a:lnTo>
                        <a:pt x="566" y="952"/>
                      </a:lnTo>
                      <a:lnTo>
                        <a:pt x="579" y="991"/>
                      </a:lnTo>
                      <a:lnTo>
                        <a:pt x="597" y="1027"/>
                      </a:lnTo>
                      <a:lnTo>
                        <a:pt x="620" y="1062"/>
                      </a:lnTo>
                      <a:lnTo>
                        <a:pt x="650" y="1095"/>
                      </a:lnTo>
                      <a:lnTo>
                        <a:pt x="681" y="1124"/>
                      </a:lnTo>
                      <a:lnTo>
                        <a:pt x="716" y="1148"/>
                      </a:lnTo>
                      <a:lnTo>
                        <a:pt x="752" y="1165"/>
                      </a:lnTo>
                      <a:lnTo>
                        <a:pt x="791" y="1178"/>
                      </a:lnTo>
                      <a:lnTo>
                        <a:pt x="832" y="1186"/>
                      </a:lnTo>
                      <a:lnTo>
                        <a:pt x="874" y="1188"/>
                      </a:lnTo>
                      <a:lnTo>
                        <a:pt x="918" y="1186"/>
                      </a:lnTo>
                      <a:lnTo>
                        <a:pt x="958" y="1178"/>
                      </a:lnTo>
                      <a:lnTo>
                        <a:pt x="996" y="1165"/>
                      </a:lnTo>
                      <a:lnTo>
                        <a:pt x="1033" y="1148"/>
                      </a:lnTo>
                      <a:lnTo>
                        <a:pt x="1068" y="1124"/>
                      </a:lnTo>
                      <a:lnTo>
                        <a:pt x="1102" y="1095"/>
                      </a:lnTo>
                      <a:lnTo>
                        <a:pt x="1130" y="1062"/>
                      </a:lnTo>
                      <a:lnTo>
                        <a:pt x="1153" y="1027"/>
                      </a:lnTo>
                      <a:lnTo>
                        <a:pt x="1172" y="991"/>
                      </a:lnTo>
                      <a:lnTo>
                        <a:pt x="1185" y="952"/>
                      </a:lnTo>
                      <a:lnTo>
                        <a:pt x="1192" y="911"/>
                      </a:lnTo>
                      <a:lnTo>
                        <a:pt x="1195" y="867"/>
                      </a:lnTo>
                      <a:lnTo>
                        <a:pt x="1192" y="825"/>
                      </a:lnTo>
                      <a:lnTo>
                        <a:pt x="1185" y="784"/>
                      </a:lnTo>
                      <a:lnTo>
                        <a:pt x="1172" y="745"/>
                      </a:lnTo>
                      <a:lnTo>
                        <a:pt x="1153" y="709"/>
                      </a:lnTo>
                      <a:lnTo>
                        <a:pt x="1130" y="675"/>
                      </a:lnTo>
                      <a:lnTo>
                        <a:pt x="1102" y="643"/>
                      </a:lnTo>
                      <a:lnTo>
                        <a:pt x="1073" y="617"/>
                      </a:lnTo>
                      <a:lnTo>
                        <a:pt x="1043" y="595"/>
                      </a:lnTo>
                      <a:lnTo>
                        <a:pt x="1013" y="577"/>
                      </a:lnTo>
                      <a:lnTo>
                        <a:pt x="980" y="564"/>
                      </a:lnTo>
                      <a:lnTo>
                        <a:pt x="947" y="555"/>
                      </a:lnTo>
                      <a:lnTo>
                        <a:pt x="911" y="550"/>
                      </a:lnTo>
                      <a:lnTo>
                        <a:pt x="874" y="550"/>
                      </a:lnTo>
                      <a:close/>
                      <a:moveTo>
                        <a:pt x="842" y="0"/>
                      </a:moveTo>
                      <a:lnTo>
                        <a:pt x="898" y="0"/>
                      </a:lnTo>
                      <a:lnTo>
                        <a:pt x="934" y="2"/>
                      </a:lnTo>
                      <a:lnTo>
                        <a:pt x="970" y="5"/>
                      </a:lnTo>
                      <a:lnTo>
                        <a:pt x="1005" y="10"/>
                      </a:lnTo>
                      <a:lnTo>
                        <a:pt x="1018" y="124"/>
                      </a:lnTo>
                      <a:lnTo>
                        <a:pt x="1029" y="239"/>
                      </a:lnTo>
                      <a:lnTo>
                        <a:pt x="1044" y="241"/>
                      </a:lnTo>
                      <a:lnTo>
                        <a:pt x="1060" y="245"/>
                      </a:lnTo>
                      <a:lnTo>
                        <a:pt x="1090" y="254"/>
                      </a:lnTo>
                      <a:lnTo>
                        <a:pt x="1119" y="266"/>
                      </a:lnTo>
                      <a:lnTo>
                        <a:pt x="1147" y="279"/>
                      </a:lnTo>
                      <a:lnTo>
                        <a:pt x="1168" y="290"/>
                      </a:lnTo>
                      <a:lnTo>
                        <a:pt x="1189" y="301"/>
                      </a:lnTo>
                      <a:lnTo>
                        <a:pt x="1212" y="314"/>
                      </a:lnTo>
                      <a:lnTo>
                        <a:pt x="1298" y="242"/>
                      </a:lnTo>
                      <a:lnTo>
                        <a:pt x="1385" y="173"/>
                      </a:lnTo>
                      <a:lnTo>
                        <a:pt x="1385" y="169"/>
                      </a:lnTo>
                      <a:lnTo>
                        <a:pt x="1437" y="211"/>
                      </a:lnTo>
                      <a:lnTo>
                        <a:pt x="1486" y="255"/>
                      </a:lnTo>
                      <a:lnTo>
                        <a:pt x="1531" y="302"/>
                      </a:lnTo>
                      <a:lnTo>
                        <a:pt x="1572" y="353"/>
                      </a:lnTo>
                      <a:lnTo>
                        <a:pt x="1572" y="356"/>
                      </a:lnTo>
                      <a:lnTo>
                        <a:pt x="1523" y="415"/>
                      </a:lnTo>
                      <a:lnTo>
                        <a:pt x="1476" y="472"/>
                      </a:lnTo>
                      <a:lnTo>
                        <a:pt x="1430" y="529"/>
                      </a:lnTo>
                      <a:lnTo>
                        <a:pt x="1441" y="550"/>
                      </a:lnTo>
                      <a:lnTo>
                        <a:pt x="1453" y="573"/>
                      </a:lnTo>
                      <a:lnTo>
                        <a:pt x="1464" y="595"/>
                      </a:lnTo>
                      <a:lnTo>
                        <a:pt x="1483" y="641"/>
                      </a:lnTo>
                      <a:lnTo>
                        <a:pt x="1499" y="688"/>
                      </a:lnTo>
                      <a:lnTo>
                        <a:pt x="1501" y="703"/>
                      </a:lnTo>
                      <a:lnTo>
                        <a:pt x="1506" y="718"/>
                      </a:lnTo>
                      <a:lnTo>
                        <a:pt x="1619" y="729"/>
                      </a:lnTo>
                      <a:lnTo>
                        <a:pt x="1730" y="739"/>
                      </a:lnTo>
                      <a:lnTo>
                        <a:pt x="1735" y="774"/>
                      </a:lnTo>
                      <a:lnTo>
                        <a:pt x="1738" y="808"/>
                      </a:lnTo>
                      <a:lnTo>
                        <a:pt x="1740" y="843"/>
                      </a:lnTo>
                      <a:lnTo>
                        <a:pt x="1740" y="901"/>
                      </a:lnTo>
                      <a:lnTo>
                        <a:pt x="1738" y="936"/>
                      </a:lnTo>
                      <a:lnTo>
                        <a:pt x="1735" y="971"/>
                      </a:lnTo>
                      <a:lnTo>
                        <a:pt x="1730" y="1005"/>
                      </a:lnTo>
                      <a:lnTo>
                        <a:pt x="1619" y="1016"/>
                      </a:lnTo>
                      <a:lnTo>
                        <a:pt x="1506" y="1026"/>
                      </a:lnTo>
                      <a:lnTo>
                        <a:pt x="1503" y="1035"/>
                      </a:lnTo>
                      <a:lnTo>
                        <a:pt x="1500" y="1045"/>
                      </a:lnTo>
                      <a:lnTo>
                        <a:pt x="1499" y="1058"/>
                      </a:lnTo>
                      <a:lnTo>
                        <a:pt x="1498" y="1058"/>
                      </a:lnTo>
                      <a:lnTo>
                        <a:pt x="1497" y="1059"/>
                      </a:lnTo>
                      <a:lnTo>
                        <a:pt x="1495" y="1061"/>
                      </a:lnTo>
                      <a:lnTo>
                        <a:pt x="1495" y="1062"/>
                      </a:lnTo>
                      <a:lnTo>
                        <a:pt x="1495" y="1064"/>
                      </a:lnTo>
                      <a:lnTo>
                        <a:pt x="1486" y="1092"/>
                      </a:lnTo>
                      <a:lnTo>
                        <a:pt x="1476" y="1119"/>
                      </a:lnTo>
                      <a:lnTo>
                        <a:pt x="1464" y="1148"/>
                      </a:lnTo>
                      <a:lnTo>
                        <a:pt x="1448" y="1178"/>
                      </a:lnTo>
                      <a:lnTo>
                        <a:pt x="1433" y="1206"/>
                      </a:lnTo>
                      <a:lnTo>
                        <a:pt x="1433" y="1209"/>
                      </a:lnTo>
                      <a:lnTo>
                        <a:pt x="1506" y="1294"/>
                      </a:lnTo>
                      <a:lnTo>
                        <a:pt x="1578" y="1382"/>
                      </a:lnTo>
                      <a:lnTo>
                        <a:pt x="1550" y="1419"/>
                      </a:lnTo>
                      <a:lnTo>
                        <a:pt x="1520" y="1453"/>
                      </a:lnTo>
                      <a:lnTo>
                        <a:pt x="1488" y="1486"/>
                      </a:lnTo>
                      <a:lnTo>
                        <a:pt x="1461" y="1516"/>
                      </a:lnTo>
                      <a:lnTo>
                        <a:pt x="1430" y="1545"/>
                      </a:lnTo>
                      <a:lnTo>
                        <a:pt x="1417" y="1554"/>
                      </a:lnTo>
                      <a:lnTo>
                        <a:pt x="1405" y="1561"/>
                      </a:lnTo>
                      <a:lnTo>
                        <a:pt x="1395" y="1569"/>
                      </a:lnTo>
                      <a:lnTo>
                        <a:pt x="1308" y="1499"/>
                      </a:lnTo>
                      <a:lnTo>
                        <a:pt x="1222" y="1427"/>
                      </a:lnTo>
                      <a:lnTo>
                        <a:pt x="1220" y="1427"/>
                      </a:lnTo>
                      <a:lnTo>
                        <a:pt x="1219" y="1426"/>
                      </a:lnTo>
                      <a:lnTo>
                        <a:pt x="1219" y="1425"/>
                      </a:lnTo>
                      <a:lnTo>
                        <a:pt x="1219" y="1424"/>
                      </a:lnTo>
                      <a:lnTo>
                        <a:pt x="1182" y="1447"/>
                      </a:lnTo>
                      <a:lnTo>
                        <a:pt x="1147" y="1465"/>
                      </a:lnTo>
                      <a:lnTo>
                        <a:pt x="1119" y="1477"/>
                      </a:lnTo>
                      <a:lnTo>
                        <a:pt x="1090" y="1488"/>
                      </a:lnTo>
                      <a:lnTo>
                        <a:pt x="1060" y="1496"/>
                      </a:lnTo>
                      <a:lnTo>
                        <a:pt x="1029" y="1507"/>
                      </a:lnTo>
                      <a:lnTo>
                        <a:pt x="1018" y="1620"/>
                      </a:lnTo>
                      <a:lnTo>
                        <a:pt x="1009" y="1731"/>
                      </a:lnTo>
                      <a:lnTo>
                        <a:pt x="951" y="1739"/>
                      </a:lnTo>
                      <a:lnTo>
                        <a:pt x="895" y="1741"/>
                      </a:lnTo>
                      <a:lnTo>
                        <a:pt x="842" y="1741"/>
                      </a:lnTo>
                      <a:lnTo>
                        <a:pt x="809" y="1740"/>
                      </a:lnTo>
                      <a:lnTo>
                        <a:pt x="777" y="1738"/>
                      </a:lnTo>
                      <a:lnTo>
                        <a:pt x="746" y="1735"/>
                      </a:lnTo>
                      <a:lnTo>
                        <a:pt x="732" y="1621"/>
                      </a:lnTo>
                      <a:lnTo>
                        <a:pt x="722" y="1510"/>
                      </a:lnTo>
                      <a:lnTo>
                        <a:pt x="706" y="1505"/>
                      </a:lnTo>
                      <a:lnTo>
                        <a:pt x="687" y="1499"/>
                      </a:lnTo>
                      <a:lnTo>
                        <a:pt x="655" y="1491"/>
                      </a:lnTo>
                      <a:lnTo>
                        <a:pt x="622" y="1479"/>
                      </a:lnTo>
                      <a:lnTo>
                        <a:pt x="590" y="1465"/>
                      </a:lnTo>
                      <a:lnTo>
                        <a:pt x="563" y="1449"/>
                      </a:lnTo>
                      <a:lnTo>
                        <a:pt x="536" y="1434"/>
                      </a:lnTo>
                      <a:lnTo>
                        <a:pt x="531" y="1434"/>
                      </a:lnTo>
                      <a:lnTo>
                        <a:pt x="476" y="1483"/>
                      </a:lnTo>
                      <a:lnTo>
                        <a:pt x="418" y="1530"/>
                      </a:lnTo>
                      <a:lnTo>
                        <a:pt x="363" y="1576"/>
                      </a:lnTo>
                      <a:lnTo>
                        <a:pt x="363" y="1579"/>
                      </a:lnTo>
                      <a:lnTo>
                        <a:pt x="309" y="1538"/>
                      </a:lnTo>
                      <a:lnTo>
                        <a:pt x="261" y="1493"/>
                      </a:lnTo>
                      <a:lnTo>
                        <a:pt x="216" y="1445"/>
                      </a:lnTo>
                      <a:lnTo>
                        <a:pt x="175" y="1393"/>
                      </a:lnTo>
                      <a:lnTo>
                        <a:pt x="221" y="1335"/>
                      </a:lnTo>
                      <a:lnTo>
                        <a:pt x="270" y="1277"/>
                      </a:lnTo>
                      <a:lnTo>
                        <a:pt x="318" y="1220"/>
                      </a:lnTo>
                      <a:lnTo>
                        <a:pt x="302" y="1198"/>
                      </a:lnTo>
                      <a:lnTo>
                        <a:pt x="290" y="1175"/>
                      </a:lnTo>
                      <a:lnTo>
                        <a:pt x="276" y="1151"/>
                      </a:lnTo>
                      <a:lnTo>
                        <a:pt x="263" y="1120"/>
                      </a:lnTo>
                      <a:lnTo>
                        <a:pt x="253" y="1091"/>
                      </a:lnTo>
                      <a:lnTo>
                        <a:pt x="244" y="1061"/>
                      </a:lnTo>
                      <a:lnTo>
                        <a:pt x="239" y="1049"/>
                      </a:lnTo>
                      <a:lnTo>
                        <a:pt x="236" y="1037"/>
                      </a:lnTo>
                      <a:lnTo>
                        <a:pt x="234" y="1023"/>
                      </a:lnTo>
                      <a:lnTo>
                        <a:pt x="123" y="1013"/>
                      </a:lnTo>
                      <a:lnTo>
                        <a:pt x="13" y="1002"/>
                      </a:lnTo>
                      <a:lnTo>
                        <a:pt x="5" y="953"/>
                      </a:lnTo>
                      <a:lnTo>
                        <a:pt x="1" y="901"/>
                      </a:lnTo>
                      <a:lnTo>
                        <a:pt x="0" y="850"/>
                      </a:lnTo>
                      <a:lnTo>
                        <a:pt x="1" y="812"/>
                      </a:lnTo>
                      <a:lnTo>
                        <a:pt x="4" y="778"/>
                      </a:lnTo>
                      <a:lnTo>
                        <a:pt x="10" y="742"/>
                      </a:lnTo>
                      <a:lnTo>
                        <a:pt x="83" y="734"/>
                      </a:lnTo>
                      <a:lnTo>
                        <a:pt x="159" y="726"/>
                      </a:lnTo>
                      <a:lnTo>
                        <a:pt x="234" y="718"/>
                      </a:lnTo>
                      <a:lnTo>
                        <a:pt x="236" y="707"/>
                      </a:lnTo>
                      <a:lnTo>
                        <a:pt x="239" y="694"/>
                      </a:lnTo>
                      <a:lnTo>
                        <a:pt x="244" y="681"/>
                      </a:lnTo>
                      <a:lnTo>
                        <a:pt x="253" y="652"/>
                      </a:lnTo>
                      <a:lnTo>
                        <a:pt x="263" y="623"/>
                      </a:lnTo>
                      <a:lnTo>
                        <a:pt x="276" y="595"/>
                      </a:lnTo>
                      <a:lnTo>
                        <a:pt x="287" y="573"/>
                      </a:lnTo>
                      <a:lnTo>
                        <a:pt x="300" y="550"/>
                      </a:lnTo>
                      <a:lnTo>
                        <a:pt x="314" y="529"/>
                      </a:lnTo>
                      <a:lnTo>
                        <a:pt x="265" y="471"/>
                      </a:lnTo>
                      <a:lnTo>
                        <a:pt x="218" y="413"/>
                      </a:lnTo>
                      <a:lnTo>
                        <a:pt x="172" y="356"/>
                      </a:lnTo>
                      <a:lnTo>
                        <a:pt x="169" y="356"/>
                      </a:lnTo>
                      <a:lnTo>
                        <a:pt x="189" y="330"/>
                      </a:lnTo>
                      <a:lnTo>
                        <a:pt x="209" y="305"/>
                      </a:lnTo>
                      <a:lnTo>
                        <a:pt x="230" y="280"/>
                      </a:lnTo>
                      <a:lnTo>
                        <a:pt x="252" y="258"/>
                      </a:lnTo>
                      <a:lnTo>
                        <a:pt x="271" y="239"/>
                      </a:lnTo>
                      <a:lnTo>
                        <a:pt x="291" y="219"/>
                      </a:lnTo>
                      <a:lnTo>
                        <a:pt x="314" y="200"/>
                      </a:lnTo>
                      <a:lnTo>
                        <a:pt x="331" y="184"/>
                      </a:lnTo>
                      <a:lnTo>
                        <a:pt x="352" y="169"/>
                      </a:lnTo>
                      <a:lnTo>
                        <a:pt x="355" y="173"/>
                      </a:lnTo>
                      <a:lnTo>
                        <a:pt x="413" y="220"/>
                      </a:lnTo>
                      <a:lnTo>
                        <a:pt x="471" y="267"/>
                      </a:lnTo>
                      <a:lnTo>
                        <a:pt x="528" y="314"/>
                      </a:lnTo>
                      <a:lnTo>
                        <a:pt x="560" y="296"/>
                      </a:lnTo>
                      <a:lnTo>
                        <a:pt x="594" y="279"/>
                      </a:lnTo>
                      <a:lnTo>
                        <a:pt x="621" y="266"/>
                      </a:lnTo>
                      <a:lnTo>
                        <a:pt x="649" y="254"/>
                      </a:lnTo>
                      <a:lnTo>
                        <a:pt x="677" y="245"/>
                      </a:lnTo>
                      <a:lnTo>
                        <a:pt x="679" y="243"/>
                      </a:lnTo>
                      <a:lnTo>
                        <a:pt x="682" y="242"/>
                      </a:lnTo>
                      <a:lnTo>
                        <a:pt x="684" y="242"/>
                      </a:lnTo>
                      <a:lnTo>
                        <a:pt x="687" y="242"/>
                      </a:lnTo>
                      <a:lnTo>
                        <a:pt x="700" y="239"/>
                      </a:lnTo>
                      <a:lnTo>
                        <a:pt x="712" y="235"/>
                      </a:lnTo>
                      <a:lnTo>
                        <a:pt x="725" y="234"/>
                      </a:lnTo>
                      <a:lnTo>
                        <a:pt x="730" y="159"/>
                      </a:lnTo>
                      <a:lnTo>
                        <a:pt x="737" y="84"/>
                      </a:lnTo>
                      <a:lnTo>
                        <a:pt x="746" y="10"/>
                      </a:lnTo>
                      <a:lnTo>
                        <a:pt x="777" y="5"/>
                      </a:lnTo>
                      <a:lnTo>
                        <a:pt x="809" y="2"/>
                      </a:lnTo>
                      <a:lnTo>
                        <a:pt x="84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76" name="Freeform 406"/>
                <p:cNvSpPr>
                  <a:spLocks noEditPoints="1"/>
                </p:cNvSpPr>
                <p:nvPr/>
              </p:nvSpPr>
              <p:spPr bwMode="auto">
                <a:xfrm>
                  <a:off x="2448" y="3127"/>
                  <a:ext cx="61" cy="60"/>
                </a:xfrm>
                <a:custGeom>
                  <a:avLst/>
                  <a:gdLst>
                    <a:gd name="T0" fmla="*/ 239 w 545"/>
                    <a:gd name="T1" fmla="*/ 71 h 548"/>
                    <a:gd name="T2" fmla="*/ 180 w 545"/>
                    <a:gd name="T3" fmla="*/ 90 h 548"/>
                    <a:gd name="T4" fmla="*/ 127 w 545"/>
                    <a:gd name="T5" fmla="*/ 127 h 548"/>
                    <a:gd name="T6" fmla="*/ 90 w 545"/>
                    <a:gd name="T7" fmla="*/ 180 h 548"/>
                    <a:gd name="T8" fmla="*/ 71 w 545"/>
                    <a:gd name="T9" fmla="*/ 239 h 548"/>
                    <a:gd name="T10" fmla="*/ 71 w 545"/>
                    <a:gd name="T11" fmla="*/ 306 h 548"/>
                    <a:gd name="T12" fmla="*/ 90 w 545"/>
                    <a:gd name="T13" fmla="*/ 367 h 548"/>
                    <a:gd name="T14" fmla="*/ 127 w 545"/>
                    <a:gd name="T15" fmla="*/ 418 h 548"/>
                    <a:gd name="T16" fmla="*/ 180 w 545"/>
                    <a:gd name="T17" fmla="*/ 457 h 548"/>
                    <a:gd name="T18" fmla="*/ 239 w 545"/>
                    <a:gd name="T19" fmla="*/ 477 h 548"/>
                    <a:gd name="T20" fmla="*/ 304 w 545"/>
                    <a:gd name="T21" fmla="*/ 477 h 548"/>
                    <a:gd name="T22" fmla="*/ 364 w 545"/>
                    <a:gd name="T23" fmla="*/ 457 h 548"/>
                    <a:gd name="T24" fmla="*/ 417 w 545"/>
                    <a:gd name="T25" fmla="*/ 418 h 548"/>
                    <a:gd name="T26" fmla="*/ 456 w 545"/>
                    <a:gd name="T27" fmla="*/ 367 h 548"/>
                    <a:gd name="T28" fmla="*/ 474 w 545"/>
                    <a:gd name="T29" fmla="*/ 306 h 548"/>
                    <a:gd name="T30" fmla="*/ 474 w 545"/>
                    <a:gd name="T31" fmla="*/ 238 h 548"/>
                    <a:gd name="T32" fmla="*/ 456 w 545"/>
                    <a:gd name="T33" fmla="*/ 179 h 548"/>
                    <a:gd name="T34" fmla="*/ 417 w 545"/>
                    <a:gd name="T35" fmla="*/ 127 h 548"/>
                    <a:gd name="T36" fmla="*/ 364 w 545"/>
                    <a:gd name="T37" fmla="*/ 90 h 548"/>
                    <a:gd name="T38" fmla="*/ 304 w 545"/>
                    <a:gd name="T39" fmla="*/ 71 h 548"/>
                    <a:gd name="T40" fmla="*/ 272 w 545"/>
                    <a:gd name="T41" fmla="*/ 0 h 548"/>
                    <a:gd name="T42" fmla="*/ 344 w 545"/>
                    <a:gd name="T43" fmla="*/ 8 h 548"/>
                    <a:gd name="T44" fmla="*/ 408 w 545"/>
                    <a:gd name="T45" fmla="*/ 35 h 548"/>
                    <a:gd name="T46" fmla="*/ 465 w 545"/>
                    <a:gd name="T47" fmla="*/ 79 h 548"/>
                    <a:gd name="T48" fmla="*/ 510 w 545"/>
                    <a:gd name="T49" fmla="*/ 137 h 548"/>
                    <a:gd name="T50" fmla="*/ 537 w 545"/>
                    <a:gd name="T51" fmla="*/ 201 h 548"/>
                    <a:gd name="T52" fmla="*/ 545 w 545"/>
                    <a:gd name="T53" fmla="*/ 272 h 548"/>
                    <a:gd name="T54" fmla="*/ 537 w 545"/>
                    <a:gd name="T55" fmla="*/ 344 h 548"/>
                    <a:gd name="T56" fmla="*/ 510 w 545"/>
                    <a:gd name="T57" fmla="*/ 408 h 548"/>
                    <a:gd name="T58" fmla="*/ 465 w 545"/>
                    <a:gd name="T59" fmla="*/ 466 h 548"/>
                    <a:gd name="T60" fmla="*/ 408 w 545"/>
                    <a:gd name="T61" fmla="*/ 512 h 548"/>
                    <a:gd name="T62" fmla="*/ 344 w 545"/>
                    <a:gd name="T63" fmla="*/ 539 h 548"/>
                    <a:gd name="T64" fmla="*/ 272 w 545"/>
                    <a:gd name="T65" fmla="*/ 548 h 548"/>
                    <a:gd name="T66" fmla="*/ 201 w 545"/>
                    <a:gd name="T67" fmla="*/ 539 h 548"/>
                    <a:gd name="T68" fmla="*/ 137 w 545"/>
                    <a:gd name="T69" fmla="*/ 512 h 548"/>
                    <a:gd name="T70" fmla="*/ 78 w 545"/>
                    <a:gd name="T71" fmla="*/ 466 h 548"/>
                    <a:gd name="T72" fmla="*/ 35 w 545"/>
                    <a:gd name="T73" fmla="*/ 408 h 548"/>
                    <a:gd name="T74" fmla="*/ 8 w 545"/>
                    <a:gd name="T75" fmla="*/ 344 h 548"/>
                    <a:gd name="T76" fmla="*/ 0 w 545"/>
                    <a:gd name="T77" fmla="*/ 272 h 548"/>
                    <a:gd name="T78" fmla="*/ 8 w 545"/>
                    <a:gd name="T79" fmla="*/ 201 h 548"/>
                    <a:gd name="T80" fmla="*/ 35 w 545"/>
                    <a:gd name="T81" fmla="*/ 137 h 548"/>
                    <a:gd name="T82" fmla="*/ 78 w 545"/>
                    <a:gd name="T83" fmla="*/ 79 h 548"/>
                    <a:gd name="T84" fmla="*/ 137 w 545"/>
                    <a:gd name="T85" fmla="*/ 35 h 548"/>
                    <a:gd name="T86" fmla="*/ 201 w 545"/>
                    <a:gd name="T87" fmla="*/ 8 h 548"/>
                    <a:gd name="T88" fmla="*/ 272 w 545"/>
                    <a:gd name="T8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5" h="548">
                      <a:moveTo>
                        <a:pt x="272" y="69"/>
                      </a:moveTo>
                      <a:lnTo>
                        <a:pt x="239" y="71"/>
                      </a:lnTo>
                      <a:lnTo>
                        <a:pt x="209" y="78"/>
                      </a:lnTo>
                      <a:lnTo>
                        <a:pt x="180" y="90"/>
                      </a:lnTo>
                      <a:lnTo>
                        <a:pt x="152" y="106"/>
                      </a:lnTo>
                      <a:lnTo>
                        <a:pt x="127" y="127"/>
                      </a:lnTo>
                      <a:lnTo>
                        <a:pt x="106" y="153"/>
                      </a:lnTo>
                      <a:lnTo>
                        <a:pt x="90" y="180"/>
                      </a:lnTo>
                      <a:lnTo>
                        <a:pt x="78" y="209"/>
                      </a:lnTo>
                      <a:lnTo>
                        <a:pt x="71" y="239"/>
                      </a:lnTo>
                      <a:lnTo>
                        <a:pt x="69" y="272"/>
                      </a:lnTo>
                      <a:lnTo>
                        <a:pt x="71" y="306"/>
                      </a:lnTo>
                      <a:lnTo>
                        <a:pt x="78" y="338"/>
                      </a:lnTo>
                      <a:lnTo>
                        <a:pt x="90" y="367"/>
                      </a:lnTo>
                      <a:lnTo>
                        <a:pt x="106" y="393"/>
                      </a:lnTo>
                      <a:lnTo>
                        <a:pt x="127" y="418"/>
                      </a:lnTo>
                      <a:lnTo>
                        <a:pt x="152" y="440"/>
                      </a:lnTo>
                      <a:lnTo>
                        <a:pt x="180" y="457"/>
                      </a:lnTo>
                      <a:lnTo>
                        <a:pt x="209" y="470"/>
                      </a:lnTo>
                      <a:lnTo>
                        <a:pt x="239" y="477"/>
                      </a:lnTo>
                      <a:lnTo>
                        <a:pt x="272" y="479"/>
                      </a:lnTo>
                      <a:lnTo>
                        <a:pt x="304" y="477"/>
                      </a:lnTo>
                      <a:lnTo>
                        <a:pt x="335" y="470"/>
                      </a:lnTo>
                      <a:lnTo>
                        <a:pt x="364" y="457"/>
                      </a:lnTo>
                      <a:lnTo>
                        <a:pt x="391" y="440"/>
                      </a:lnTo>
                      <a:lnTo>
                        <a:pt x="417" y="418"/>
                      </a:lnTo>
                      <a:lnTo>
                        <a:pt x="439" y="393"/>
                      </a:lnTo>
                      <a:lnTo>
                        <a:pt x="456" y="367"/>
                      </a:lnTo>
                      <a:lnTo>
                        <a:pt x="468" y="338"/>
                      </a:lnTo>
                      <a:lnTo>
                        <a:pt x="474" y="306"/>
                      </a:lnTo>
                      <a:lnTo>
                        <a:pt x="476" y="272"/>
                      </a:lnTo>
                      <a:lnTo>
                        <a:pt x="474" y="238"/>
                      </a:lnTo>
                      <a:lnTo>
                        <a:pt x="468" y="208"/>
                      </a:lnTo>
                      <a:lnTo>
                        <a:pt x="456" y="179"/>
                      </a:lnTo>
                      <a:lnTo>
                        <a:pt x="439" y="153"/>
                      </a:lnTo>
                      <a:lnTo>
                        <a:pt x="417" y="127"/>
                      </a:lnTo>
                      <a:lnTo>
                        <a:pt x="391" y="106"/>
                      </a:lnTo>
                      <a:lnTo>
                        <a:pt x="364" y="90"/>
                      </a:lnTo>
                      <a:lnTo>
                        <a:pt x="335" y="78"/>
                      </a:lnTo>
                      <a:lnTo>
                        <a:pt x="304" y="71"/>
                      </a:lnTo>
                      <a:lnTo>
                        <a:pt x="272" y="69"/>
                      </a:lnTo>
                      <a:close/>
                      <a:moveTo>
                        <a:pt x="272" y="0"/>
                      </a:moveTo>
                      <a:lnTo>
                        <a:pt x="308" y="2"/>
                      </a:lnTo>
                      <a:lnTo>
                        <a:pt x="344" y="8"/>
                      </a:lnTo>
                      <a:lnTo>
                        <a:pt x="376" y="20"/>
                      </a:lnTo>
                      <a:lnTo>
                        <a:pt x="408" y="35"/>
                      </a:lnTo>
                      <a:lnTo>
                        <a:pt x="437" y="55"/>
                      </a:lnTo>
                      <a:lnTo>
                        <a:pt x="465" y="79"/>
                      </a:lnTo>
                      <a:lnTo>
                        <a:pt x="491" y="106"/>
                      </a:lnTo>
                      <a:lnTo>
                        <a:pt x="510" y="137"/>
                      </a:lnTo>
                      <a:lnTo>
                        <a:pt x="526" y="167"/>
                      </a:lnTo>
                      <a:lnTo>
                        <a:pt x="537" y="201"/>
                      </a:lnTo>
                      <a:lnTo>
                        <a:pt x="543" y="235"/>
                      </a:lnTo>
                      <a:lnTo>
                        <a:pt x="545" y="272"/>
                      </a:lnTo>
                      <a:lnTo>
                        <a:pt x="543" y="309"/>
                      </a:lnTo>
                      <a:lnTo>
                        <a:pt x="537" y="344"/>
                      </a:lnTo>
                      <a:lnTo>
                        <a:pt x="526" y="377"/>
                      </a:lnTo>
                      <a:lnTo>
                        <a:pt x="510" y="408"/>
                      </a:lnTo>
                      <a:lnTo>
                        <a:pt x="491" y="437"/>
                      </a:lnTo>
                      <a:lnTo>
                        <a:pt x="465" y="466"/>
                      </a:lnTo>
                      <a:lnTo>
                        <a:pt x="437" y="491"/>
                      </a:lnTo>
                      <a:lnTo>
                        <a:pt x="408" y="512"/>
                      </a:lnTo>
                      <a:lnTo>
                        <a:pt x="376" y="527"/>
                      </a:lnTo>
                      <a:lnTo>
                        <a:pt x="344" y="539"/>
                      </a:lnTo>
                      <a:lnTo>
                        <a:pt x="308" y="546"/>
                      </a:lnTo>
                      <a:lnTo>
                        <a:pt x="272" y="548"/>
                      </a:lnTo>
                      <a:lnTo>
                        <a:pt x="235" y="546"/>
                      </a:lnTo>
                      <a:lnTo>
                        <a:pt x="201" y="539"/>
                      </a:lnTo>
                      <a:lnTo>
                        <a:pt x="167" y="527"/>
                      </a:lnTo>
                      <a:lnTo>
                        <a:pt x="137" y="512"/>
                      </a:lnTo>
                      <a:lnTo>
                        <a:pt x="106" y="491"/>
                      </a:lnTo>
                      <a:lnTo>
                        <a:pt x="78" y="466"/>
                      </a:lnTo>
                      <a:lnTo>
                        <a:pt x="55" y="437"/>
                      </a:lnTo>
                      <a:lnTo>
                        <a:pt x="35" y="408"/>
                      </a:lnTo>
                      <a:lnTo>
                        <a:pt x="20" y="377"/>
                      </a:lnTo>
                      <a:lnTo>
                        <a:pt x="8" y="344"/>
                      </a:lnTo>
                      <a:lnTo>
                        <a:pt x="2" y="309"/>
                      </a:lnTo>
                      <a:lnTo>
                        <a:pt x="0" y="272"/>
                      </a:lnTo>
                      <a:lnTo>
                        <a:pt x="2" y="235"/>
                      </a:lnTo>
                      <a:lnTo>
                        <a:pt x="8" y="201"/>
                      </a:lnTo>
                      <a:lnTo>
                        <a:pt x="20" y="167"/>
                      </a:lnTo>
                      <a:lnTo>
                        <a:pt x="35" y="137"/>
                      </a:lnTo>
                      <a:lnTo>
                        <a:pt x="55" y="106"/>
                      </a:lnTo>
                      <a:lnTo>
                        <a:pt x="78" y="79"/>
                      </a:lnTo>
                      <a:lnTo>
                        <a:pt x="106" y="55"/>
                      </a:lnTo>
                      <a:lnTo>
                        <a:pt x="137" y="35"/>
                      </a:lnTo>
                      <a:lnTo>
                        <a:pt x="167" y="20"/>
                      </a:lnTo>
                      <a:lnTo>
                        <a:pt x="201" y="8"/>
                      </a:lnTo>
                      <a:lnTo>
                        <a:pt x="235" y="2"/>
                      </a:lnTo>
                      <a:lnTo>
                        <a:pt x="272"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77" name="Freeform 407"/>
                <p:cNvSpPr>
                  <a:spLocks noEditPoints="1"/>
                </p:cNvSpPr>
                <p:nvPr/>
              </p:nvSpPr>
              <p:spPr bwMode="auto">
                <a:xfrm>
                  <a:off x="2223" y="3186"/>
                  <a:ext cx="249" cy="249"/>
                </a:xfrm>
                <a:custGeom>
                  <a:avLst/>
                  <a:gdLst>
                    <a:gd name="T0" fmla="*/ 1004 w 2238"/>
                    <a:gd name="T1" fmla="*/ 722 h 2246"/>
                    <a:gd name="T2" fmla="*/ 842 w 2238"/>
                    <a:gd name="T3" fmla="*/ 817 h 2246"/>
                    <a:gd name="T4" fmla="*/ 739 w 2238"/>
                    <a:gd name="T5" fmla="*/ 966 h 2246"/>
                    <a:gd name="T6" fmla="*/ 710 w 2238"/>
                    <a:gd name="T7" fmla="*/ 1151 h 2246"/>
                    <a:gd name="T8" fmla="*/ 766 w 2238"/>
                    <a:gd name="T9" fmla="*/ 1327 h 2246"/>
                    <a:gd name="T10" fmla="*/ 891 w 2238"/>
                    <a:gd name="T11" fmla="*/ 1461 h 2246"/>
                    <a:gd name="T12" fmla="*/ 1072 w 2238"/>
                    <a:gd name="T13" fmla="*/ 1529 h 2246"/>
                    <a:gd name="T14" fmla="*/ 1281 w 2238"/>
                    <a:gd name="T15" fmla="*/ 1500 h 2246"/>
                    <a:gd name="T16" fmla="*/ 1439 w 2238"/>
                    <a:gd name="T17" fmla="*/ 1388 h 2246"/>
                    <a:gd name="T18" fmla="*/ 1523 w 2238"/>
                    <a:gd name="T19" fmla="*/ 1226 h 2246"/>
                    <a:gd name="T20" fmla="*/ 1533 w 2238"/>
                    <a:gd name="T21" fmla="*/ 1043 h 2246"/>
                    <a:gd name="T22" fmla="*/ 1459 w 2238"/>
                    <a:gd name="T23" fmla="*/ 876 h 2246"/>
                    <a:gd name="T24" fmla="*/ 1343 w 2238"/>
                    <a:gd name="T25" fmla="*/ 766 h 2246"/>
                    <a:gd name="T26" fmla="*/ 1184 w 2238"/>
                    <a:gd name="T27" fmla="*/ 709 h 2246"/>
                    <a:gd name="T28" fmla="*/ 1375 w 2238"/>
                    <a:gd name="T29" fmla="*/ 24 h 2246"/>
                    <a:gd name="T30" fmla="*/ 1421 w 2238"/>
                    <a:gd name="T31" fmla="*/ 35 h 2246"/>
                    <a:gd name="T32" fmla="*/ 1576 w 2238"/>
                    <a:gd name="T33" fmla="*/ 90 h 2246"/>
                    <a:gd name="T34" fmla="*/ 1554 w 2238"/>
                    <a:gd name="T35" fmla="*/ 394 h 2246"/>
                    <a:gd name="T36" fmla="*/ 1661 w 2238"/>
                    <a:gd name="T37" fmla="*/ 470 h 2246"/>
                    <a:gd name="T38" fmla="*/ 1907 w 2238"/>
                    <a:gd name="T39" fmla="*/ 456 h 2246"/>
                    <a:gd name="T40" fmla="*/ 2113 w 2238"/>
                    <a:gd name="T41" fmla="*/ 587 h 2246"/>
                    <a:gd name="T42" fmla="*/ 2050 w 2238"/>
                    <a:gd name="T43" fmla="*/ 796 h 2246"/>
                    <a:gd name="T44" fmla="*/ 1951 w 2238"/>
                    <a:gd name="T45" fmla="*/ 974 h 2246"/>
                    <a:gd name="T46" fmla="*/ 1965 w 2238"/>
                    <a:gd name="T47" fmla="*/ 1143 h 2246"/>
                    <a:gd name="T48" fmla="*/ 2233 w 2238"/>
                    <a:gd name="T49" fmla="*/ 1290 h 2246"/>
                    <a:gd name="T50" fmla="*/ 2210 w 2238"/>
                    <a:gd name="T51" fmla="*/ 1402 h 2246"/>
                    <a:gd name="T52" fmla="*/ 2175 w 2238"/>
                    <a:gd name="T53" fmla="*/ 1513 h 2246"/>
                    <a:gd name="T54" fmla="*/ 1852 w 2238"/>
                    <a:gd name="T55" fmla="*/ 1544 h 2246"/>
                    <a:gd name="T56" fmla="*/ 1837 w 2238"/>
                    <a:gd name="T57" fmla="*/ 1572 h 2246"/>
                    <a:gd name="T58" fmla="*/ 1739 w 2238"/>
                    <a:gd name="T59" fmla="*/ 1699 h 2246"/>
                    <a:gd name="T60" fmla="*/ 1831 w 2238"/>
                    <a:gd name="T61" fmla="*/ 1997 h 2246"/>
                    <a:gd name="T62" fmla="*/ 1654 w 2238"/>
                    <a:gd name="T63" fmla="*/ 2118 h 2246"/>
                    <a:gd name="T64" fmla="*/ 1541 w 2238"/>
                    <a:gd name="T65" fmla="*/ 2173 h 2246"/>
                    <a:gd name="T66" fmla="*/ 1368 w 2238"/>
                    <a:gd name="T67" fmla="*/ 1934 h 2246"/>
                    <a:gd name="T68" fmla="*/ 1316 w 2238"/>
                    <a:gd name="T69" fmla="*/ 1947 h 2246"/>
                    <a:gd name="T70" fmla="*/ 1146 w 2238"/>
                    <a:gd name="T71" fmla="*/ 1970 h 2246"/>
                    <a:gd name="T72" fmla="*/ 998 w 2238"/>
                    <a:gd name="T73" fmla="*/ 2246 h 2246"/>
                    <a:gd name="T74" fmla="*/ 833 w 2238"/>
                    <a:gd name="T75" fmla="*/ 2213 h 2246"/>
                    <a:gd name="T76" fmla="*/ 751 w 2238"/>
                    <a:gd name="T77" fmla="*/ 2190 h 2246"/>
                    <a:gd name="T78" fmla="*/ 702 w 2238"/>
                    <a:gd name="T79" fmla="*/ 1966 h 2246"/>
                    <a:gd name="T80" fmla="*/ 641 w 2238"/>
                    <a:gd name="T81" fmla="*/ 1824 h 2246"/>
                    <a:gd name="T82" fmla="*/ 508 w 2238"/>
                    <a:gd name="T83" fmla="*/ 1714 h 2246"/>
                    <a:gd name="T84" fmla="*/ 242 w 2238"/>
                    <a:gd name="T85" fmla="*/ 1834 h 2246"/>
                    <a:gd name="T86" fmla="*/ 99 w 2238"/>
                    <a:gd name="T87" fmla="*/ 1605 h 2246"/>
                    <a:gd name="T88" fmla="*/ 307 w 2238"/>
                    <a:gd name="T89" fmla="*/ 1375 h 2246"/>
                    <a:gd name="T90" fmla="*/ 274 w 2238"/>
                    <a:gd name="T91" fmla="*/ 1230 h 2246"/>
                    <a:gd name="T92" fmla="*/ 0 w 2238"/>
                    <a:gd name="T93" fmla="*/ 998 h 2246"/>
                    <a:gd name="T94" fmla="*/ 49 w 2238"/>
                    <a:gd name="T95" fmla="*/ 754 h 2246"/>
                    <a:gd name="T96" fmla="*/ 373 w 2238"/>
                    <a:gd name="T97" fmla="*/ 718 h 2246"/>
                    <a:gd name="T98" fmla="*/ 443 w 2238"/>
                    <a:gd name="T99" fmla="*/ 606 h 2246"/>
                    <a:gd name="T100" fmla="*/ 535 w 2238"/>
                    <a:gd name="T101" fmla="*/ 504 h 2246"/>
                    <a:gd name="T102" fmla="*/ 456 w 2238"/>
                    <a:gd name="T103" fmla="*/ 206 h 2246"/>
                    <a:gd name="T104" fmla="*/ 612 w 2238"/>
                    <a:gd name="T105" fmla="*/ 111 h 2246"/>
                    <a:gd name="T106" fmla="*/ 705 w 2238"/>
                    <a:gd name="T107" fmla="*/ 72 h 2246"/>
                    <a:gd name="T108" fmla="*/ 877 w 2238"/>
                    <a:gd name="T109" fmla="*/ 311 h 2246"/>
                    <a:gd name="T110" fmla="*/ 1028 w 2238"/>
                    <a:gd name="T111" fmla="*/ 278 h 2246"/>
                    <a:gd name="T112" fmla="*/ 1214 w 2238"/>
                    <a:gd name="T113" fmla="*/ 92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38" h="2246">
                      <a:moveTo>
                        <a:pt x="1138" y="704"/>
                      </a:moveTo>
                      <a:lnTo>
                        <a:pt x="1093" y="706"/>
                      </a:lnTo>
                      <a:lnTo>
                        <a:pt x="1048" y="712"/>
                      </a:lnTo>
                      <a:lnTo>
                        <a:pt x="1004" y="722"/>
                      </a:lnTo>
                      <a:lnTo>
                        <a:pt x="961" y="739"/>
                      </a:lnTo>
                      <a:lnTo>
                        <a:pt x="919" y="760"/>
                      </a:lnTo>
                      <a:lnTo>
                        <a:pt x="878" y="786"/>
                      </a:lnTo>
                      <a:lnTo>
                        <a:pt x="842" y="817"/>
                      </a:lnTo>
                      <a:lnTo>
                        <a:pt x="809" y="849"/>
                      </a:lnTo>
                      <a:lnTo>
                        <a:pt x="781" y="885"/>
                      </a:lnTo>
                      <a:lnTo>
                        <a:pt x="758" y="924"/>
                      </a:lnTo>
                      <a:lnTo>
                        <a:pt x="739" y="966"/>
                      </a:lnTo>
                      <a:lnTo>
                        <a:pt x="725" y="1012"/>
                      </a:lnTo>
                      <a:lnTo>
                        <a:pt x="715" y="1058"/>
                      </a:lnTo>
                      <a:lnTo>
                        <a:pt x="710" y="1106"/>
                      </a:lnTo>
                      <a:lnTo>
                        <a:pt x="710" y="1151"/>
                      </a:lnTo>
                      <a:lnTo>
                        <a:pt x="716" y="1196"/>
                      </a:lnTo>
                      <a:lnTo>
                        <a:pt x="728" y="1240"/>
                      </a:lnTo>
                      <a:lnTo>
                        <a:pt x="744" y="1284"/>
                      </a:lnTo>
                      <a:lnTo>
                        <a:pt x="766" y="1327"/>
                      </a:lnTo>
                      <a:lnTo>
                        <a:pt x="792" y="1366"/>
                      </a:lnTo>
                      <a:lnTo>
                        <a:pt x="822" y="1402"/>
                      </a:lnTo>
                      <a:lnTo>
                        <a:pt x="854" y="1433"/>
                      </a:lnTo>
                      <a:lnTo>
                        <a:pt x="891" y="1461"/>
                      </a:lnTo>
                      <a:lnTo>
                        <a:pt x="931" y="1484"/>
                      </a:lnTo>
                      <a:lnTo>
                        <a:pt x="973" y="1502"/>
                      </a:lnTo>
                      <a:lnTo>
                        <a:pt x="1019" y="1516"/>
                      </a:lnTo>
                      <a:lnTo>
                        <a:pt x="1072" y="1529"/>
                      </a:lnTo>
                      <a:lnTo>
                        <a:pt x="1125" y="1533"/>
                      </a:lnTo>
                      <a:lnTo>
                        <a:pt x="1178" y="1530"/>
                      </a:lnTo>
                      <a:lnTo>
                        <a:pt x="1229" y="1519"/>
                      </a:lnTo>
                      <a:lnTo>
                        <a:pt x="1281" y="1500"/>
                      </a:lnTo>
                      <a:lnTo>
                        <a:pt x="1334" y="1475"/>
                      </a:lnTo>
                      <a:lnTo>
                        <a:pt x="1372" y="1450"/>
                      </a:lnTo>
                      <a:lnTo>
                        <a:pt x="1408" y="1421"/>
                      </a:lnTo>
                      <a:lnTo>
                        <a:pt x="1439" y="1388"/>
                      </a:lnTo>
                      <a:lnTo>
                        <a:pt x="1468" y="1353"/>
                      </a:lnTo>
                      <a:lnTo>
                        <a:pt x="1491" y="1314"/>
                      </a:lnTo>
                      <a:lnTo>
                        <a:pt x="1510" y="1272"/>
                      </a:lnTo>
                      <a:lnTo>
                        <a:pt x="1523" y="1226"/>
                      </a:lnTo>
                      <a:lnTo>
                        <a:pt x="1534" y="1179"/>
                      </a:lnTo>
                      <a:lnTo>
                        <a:pt x="1539" y="1133"/>
                      </a:lnTo>
                      <a:lnTo>
                        <a:pt x="1539" y="1088"/>
                      </a:lnTo>
                      <a:lnTo>
                        <a:pt x="1533" y="1043"/>
                      </a:lnTo>
                      <a:lnTo>
                        <a:pt x="1521" y="999"/>
                      </a:lnTo>
                      <a:lnTo>
                        <a:pt x="1504" y="955"/>
                      </a:lnTo>
                      <a:lnTo>
                        <a:pt x="1481" y="912"/>
                      </a:lnTo>
                      <a:lnTo>
                        <a:pt x="1459" y="876"/>
                      </a:lnTo>
                      <a:lnTo>
                        <a:pt x="1434" y="844"/>
                      </a:lnTo>
                      <a:lnTo>
                        <a:pt x="1407" y="814"/>
                      </a:lnTo>
                      <a:lnTo>
                        <a:pt x="1377" y="789"/>
                      </a:lnTo>
                      <a:lnTo>
                        <a:pt x="1343" y="766"/>
                      </a:lnTo>
                      <a:lnTo>
                        <a:pt x="1308" y="747"/>
                      </a:lnTo>
                      <a:lnTo>
                        <a:pt x="1270" y="732"/>
                      </a:lnTo>
                      <a:lnTo>
                        <a:pt x="1230" y="718"/>
                      </a:lnTo>
                      <a:lnTo>
                        <a:pt x="1184" y="709"/>
                      </a:lnTo>
                      <a:lnTo>
                        <a:pt x="1138" y="704"/>
                      </a:lnTo>
                      <a:close/>
                      <a:moveTo>
                        <a:pt x="1250" y="0"/>
                      </a:moveTo>
                      <a:lnTo>
                        <a:pt x="1313" y="10"/>
                      </a:lnTo>
                      <a:lnTo>
                        <a:pt x="1375" y="24"/>
                      </a:lnTo>
                      <a:lnTo>
                        <a:pt x="1385" y="25"/>
                      </a:lnTo>
                      <a:lnTo>
                        <a:pt x="1397" y="28"/>
                      </a:lnTo>
                      <a:lnTo>
                        <a:pt x="1409" y="34"/>
                      </a:lnTo>
                      <a:lnTo>
                        <a:pt x="1421" y="35"/>
                      </a:lnTo>
                      <a:lnTo>
                        <a:pt x="1432" y="37"/>
                      </a:lnTo>
                      <a:lnTo>
                        <a:pt x="1444" y="41"/>
                      </a:lnTo>
                      <a:lnTo>
                        <a:pt x="1511" y="64"/>
                      </a:lnTo>
                      <a:lnTo>
                        <a:pt x="1576" y="90"/>
                      </a:lnTo>
                      <a:lnTo>
                        <a:pt x="1552" y="234"/>
                      </a:lnTo>
                      <a:lnTo>
                        <a:pt x="1531" y="380"/>
                      </a:lnTo>
                      <a:lnTo>
                        <a:pt x="1541" y="386"/>
                      </a:lnTo>
                      <a:lnTo>
                        <a:pt x="1554" y="394"/>
                      </a:lnTo>
                      <a:lnTo>
                        <a:pt x="1565" y="404"/>
                      </a:lnTo>
                      <a:lnTo>
                        <a:pt x="1599" y="423"/>
                      </a:lnTo>
                      <a:lnTo>
                        <a:pt x="1630" y="446"/>
                      </a:lnTo>
                      <a:lnTo>
                        <a:pt x="1661" y="470"/>
                      </a:lnTo>
                      <a:lnTo>
                        <a:pt x="1698" y="502"/>
                      </a:lnTo>
                      <a:lnTo>
                        <a:pt x="1734" y="539"/>
                      </a:lnTo>
                      <a:lnTo>
                        <a:pt x="1820" y="497"/>
                      </a:lnTo>
                      <a:lnTo>
                        <a:pt x="1907" y="456"/>
                      </a:lnTo>
                      <a:lnTo>
                        <a:pt x="1996" y="418"/>
                      </a:lnTo>
                      <a:lnTo>
                        <a:pt x="2039" y="472"/>
                      </a:lnTo>
                      <a:lnTo>
                        <a:pt x="2078" y="529"/>
                      </a:lnTo>
                      <a:lnTo>
                        <a:pt x="2113" y="587"/>
                      </a:lnTo>
                      <a:lnTo>
                        <a:pt x="2143" y="647"/>
                      </a:lnTo>
                      <a:lnTo>
                        <a:pt x="2169" y="708"/>
                      </a:lnTo>
                      <a:lnTo>
                        <a:pt x="2166" y="708"/>
                      </a:lnTo>
                      <a:lnTo>
                        <a:pt x="2050" y="796"/>
                      </a:lnTo>
                      <a:lnTo>
                        <a:pt x="1930" y="880"/>
                      </a:lnTo>
                      <a:lnTo>
                        <a:pt x="1939" y="912"/>
                      </a:lnTo>
                      <a:lnTo>
                        <a:pt x="1946" y="943"/>
                      </a:lnTo>
                      <a:lnTo>
                        <a:pt x="1951" y="974"/>
                      </a:lnTo>
                      <a:lnTo>
                        <a:pt x="1960" y="1017"/>
                      </a:lnTo>
                      <a:lnTo>
                        <a:pt x="1964" y="1060"/>
                      </a:lnTo>
                      <a:lnTo>
                        <a:pt x="1965" y="1102"/>
                      </a:lnTo>
                      <a:lnTo>
                        <a:pt x="1965" y="1143"/>
                      </a:lnTo>
                      <a:lnTo>
                        <a:pt x="2056" y="1177"/>
                      </a:lnTo>
                      <a:lnTo>
                        <a:pt x="2148" y="1211"/>
                      </a:lnTo>
                      <a:lnTo>
                        <a:pt x="2238" y="1247"/>
                      </a:lnTo>
                      <a:lnTo>
                        <a:pt x="2233" y="1290"/>
                      </a:lnTo>
                      <a:lnTo>
                        <a:pt x="2226" y="1334"/>
                      </a:lnTo>
                      <a:lnTo>
                        <a:pt x="2217" y="1378"/>
                      </a:lnTo>
                      <a:lnTo>
                        <a:pt x="2213" y="1391"/>
                      </a:lnTo>
                      <a:lnTo>
                        <a:pt x="2210" y="1402"/>
                      </a:lnTo>
                      <a:lnTo>
                        <a:pt x="2207" y="1412"/>
                      </a:lnTo>
                      <a:lnTo>
                        <a:pt x="2203" y="1431"/>
                      </a:lnTo>
                      <a:lnTo>
                        <a:pt x="2197" y="1448"/>
                      </a:lnTo>
                      <a:lnTo>
                        <a:pt x="2175" y="1513"/>
                      </a:lnTo>
                      <a:lnTo>
                        <a:pt x="2152" y="1576"/>
                      </a:lnTo>
                      <a:lnTo>
                        <a:pt x="2007" y="1551"/>
                      </a:lnTo>
                      <a:lnTo>
                        <a:pt x="1861" y="1527"/>
                      </a:lnTo>
                      <a:lnTo>
                        <a:pt x="1852" y="1544"/>
                      </a:lnTo>
                      <a:lnTo>
                        <a:pt x="1841" y="1561"/>
                      </a:lnTo>
                      <a:lnTo>
                        <a:pt x="1840" y="1564"/>
                      </a:lnTo>
                      <a:lnTo>
                        <a:pt x="1838" y="1570"/>
                      </a:lnTo>
                      <a:lnTo>
                        <a:pt x="1837" y="1572"/>
                      </a:lnTo>
                      <a:lnTo>
                        <a:pt x="1816" y="1604"/>
                      </a:lnTo>
                      <a:lnTo>
                        <a:pt x="1792" y="1637"/>
                      </a:lnTo>
                      <a:lnTo>
                        <a:pt x="1768" y="1669"/>
                      </a:lnTo>
                      <a:lnTo>
                        <a:pt x="1739" y="1699"/>
                      </a:lnTo>
                      <a:lnTo>
                        <a:pt x="1710" y="1731"/>
                      </a:lnTo>
                      <a:lnTo>
                        <a:pt x="1751" y="1820"/>
                      </a:lnTo>
                      <a:lnTo>
                        <a:pt x="1791" y="1908"/>
                      </a:lnTo>
                      <a:lnTo>
                        <a:pt x="1831" y="1997"/>
                      </a:lnTo>
                      <a:lnTo>
                        <a:pt x="1785" y="2033"/>
                      </a:lnTo>
                      <a:lnTo>
                        <a:pt x="1736" y="2068"/>
                      </a:lnTo>
                      <a:lnTo>
                        <a:pt x="1685" y="2100"/>
                      </a:lnTo>
                      <a:lnTo>
                        <a:pt x="1654" y="2118"/>
                      </a:lnTo>
                      <a:lnTo>
                        <a:pt x="1623" y="2134"/>
                      </a:lnTo>
                      <a:lnTo>
                        <a:pt x="1589" y="2149"/>
                      </a:lnTo>
                      <a:lnTo>
                        <a:pt x="1566" y="2160"/>
                      </a:lnTo>
                      <a:lnTo>
                        <a:pt x="1541" y="2173"/>
                      </a:lnTo>
                      <a:lnTo>
                        <a:pt x="1456" y="2054"/>
                      </a:lnTo>
                      <a:lnTo>
                        <a:pt x="1371" y="1935"/>
                      </a:lnTo>
                      <a:lnTo>
                        <a:pt x="1369" y="1934"/>
                      </a:lnTo>
                      <a:lnTo>
                        <a:pt x="1368" y="1934"/>
                      </a:lnTo>
                      <a:lnTo>
                        <a:pt x="1368" y="1933"/>
                      </a:lnTo>
                      <a:lnTo>
                        <a:pt x="1368" y="1932"/>
                      </a:lnTo>
                      <a:lnTo>
                        <a:pt x="1368" y="1931"/>
                      </a:lnTo>
                      <a:lnTo>
                        <a:pt x="1316" y="1947"/>
                      </a:lnTo>
                      <a:lnTo>
                        <a:pt x="1265" y="1959"/>
                      </a:lnTo>
                      <a:lnTo>
                        <a:pt x="1226" y="1964"/>
                      </a:lnTo>
                      <a:lnTo>
                        <a:pt x="1187" y="1969"/>
                      </a:lnTo>
                      <a:lnTo>
                        <a:pt x="1146" y="1970"/>
                      </a:lnTo>
                      <a:lnTo>
                        <a:pt x="1101" y="1970"/>
                      </a:lnTo>
                      <a:lnTo>
                        <a:pt x="1070" y="2062"/>
                      </a:lnTo>
                      <a:lnTo>
                        <a:pt x="1035" y="2154"/>
                      </a:lnTo>
                      <a:lnTo>
                        <a:pt x="998" y="2246"/>
                      </a:lnTo>
                      <a:lnTo>
                        <a:pt x="953" y="2239"/>
                      </a:lnTo>
                      <a:lnTo>
                        <a:pt x="904" y="2230"/>
                      </a:lnTo>
                      <a:lnTo>
                        <a:pt x="856" y="2218"/>
                      </a:lnTo>
                      <a:lnTo>
                        <a:pt x="833" y="2213"/>
                      </a:lnTo>
                      <a:lnTo>
                        <a:pt x="814" y="2208"/>
                      </a:lnTo>
                      <a:lnTo>
                        <a:pt x="801" y="2204"/>
                      </a:lnTo>
                      <a:lnTo>
                        <a:pt x="790" y="2201"/>
                      </a:lnTo>
                      <a:lnTo>
                        <a:pt x="751" y="2190"/>
                      </a:lnTo>
                      <a:lnTo>
                        <a:pt x="712" y="2176"/>
                      </a:lnTo>
                      <a:lnTo>
                        <a:pt x="673" y="2159"/>
                      </a:lnTo>
                      <a:lnTo>
                        <a:pt x="688" y="2063"/>
                      </a:lnTo>
                      <a:lnTo>
                        <a:pt x="702" y="1966"/>
                      </a:lnTo>
                      <a:lnTo>
                        <a:pt x="718" y="1872"/>
                      </a:lnTo>
                      <a:lnTo>
                        <a:pt x="698" y="1860"/>
                      </a:lnTo>
                      <a:lnTo>
                        <a:pt x="680" y="1848"/>
                      </a:lnTo>
                      <a:lnTo>
                        <a:pt x="641" y="1824"/>
                      </a:lnTo>
                      <a:lnTo>
                        <a:pt x="603" y="1799"/>
                      </a:lnTo>
                      <a:lnTo>
                        <a:pt x="569" y="1773"/>
                      </a:lnTo>
                      <a:lnTo>
                        <a:pt x="539" y="1743"/>
                      </a:lnTo>
                      <a:lnTo>
                        <a:pt x="508" y="1714"/>
                      </a:lnTo>
                      <a:lnTo>
                        <a:pt x="419" y="1754"/>
                      </a:lnTo>
                      <a:lnTo>
                        <a:pt x="332" y="1794"/>
                      </a:lnTo>
                      <a:lnTo>
                        <a:pt x="245" y="1834"/>
                      </a:lnTo>
                      <a:lnTo>
                        <a:pt x="242" y="1834"/>
                      </a:lnTo>
                      <a:lnTo>
                        <a:pt x="201" y="1780"/>
                      </a:lnTo>
                      <a:lnTo>
                        <a:pt x="164" y="1723"/>
                      </a:lnTo>
                      <a:lnTo>
                        <a:pt x="130" y="1665"/>
                      </a:lnTo>
                      <a:lnTo>
                        <a:pt x="99" y="1605"/>
                      </a:lnTo>
                      <a:lnTo>
                        <a:pt x="72" y="1544"/>
                      </a:lnTo>
                      <a:lnTo>
                        <a:pt x="151" y="1487"/>
                      </a:lnTo>
                      <a:lnTo>
                        <a:pt x="228" y="1430"/>
                      </a:lnTo>
                      <a:lnTo>
                        <a:pt x="307" y="1375"/>
                      </a:lnTo>
                      <a:lnTo>
                        <a:pt x="297" y="1340"/>
                      </a:lnTo>
                      <a:lnTo>
                        <a:pt x="289" y="1306"/>
                      </a:lnTo>
                      <a:lnTo>
                        <a:pt x="283" y="1271"/>
                      </a:lnTo>
                      <a:lnTo>
                        <a:pt x="274" y="1230"/>
                      </a:lnTo>
                      <a:lnTo>
                        <a:pt x="270" y="1189"/>
                      </a:lnTo>
                      <a:lnTo>
                        <a:pt x="269" y="1151"/>
                      </a:lnTo>
                      <a:lnTo>
                        <a:pt x="269" y="1102"/>
                      </a:lnTo>
                      <a:lnTo>
                        <a:pt x="0" y="998"/>
                      </a:lnTo>
                      <a:lnTo>
                        <a:pt x="8" y="933"/>
                      </a:lnTo>
                      <a:lnTo>
                        <a:pt x="21" y="866"/>
                      </a:lnTo>
                      <a:lnTo>
                        <a:pt x="35" y="798"/>
                      </a:lnTo>
                      <a:lnTo>
                        <a:pt x="49" y="754"/>
                      </a:lnTo>
                      <a:lnTo>
                        <a:pt x="66" y="712"/>
                      </a:lnTo>
                      <a:lnTo>
                        <a:pt x="83" y="670"/>
                      </a:lnTo>
                      <a:lnTo>
                        <a:pt x="228" y="693"/>
                      </a:lnTo>
                      <a:lnTo>
                        <a:pt x="373" y="718"/>
                      </a:lnTo>
                      <a:lnTo>
                        <a:pt x="383" y="694"/>
                      </a:lnTo>
                      <a:lnTo>
                        <a:pt x="397" y="673"/>
                      </a:lnTo>
                      <a:lnTo>
                        <a:pt x="419" y="638"/>
                      </a:lnTo>
                      <a:lnTo>
                        <a:pt x="443" y="606"/>
                      </a:lnTo>
                      <a:lnTo>
                        <a:pt x="470" y="577"/>
                      </a:lnTo>
                      <a:lnTo>
                        <a:pt x="490" y="551"/>
                      </a:lnTo>
                      <a:lnTo>
                        <a:pt x="512" y="527"/>
                      </a:lnTo>
                      <a:lnTo>
                        <a:pt x="535" y="504"/>
                      </a:lnTo>
                      <a:lnTo>
                        <a:pt x="474" y="375"/>
                      </a:lnTo>
                      <a:lnTo>
                        <a:pt x="415" y="245"/>
                      </a:lnTo>
                      <a:lnTo>
                        <a:pt x="415" y="242"/>
                      </a:lnTo>
                      <a:lnTo>
                        <a:pt x="456" y="206"/>
                      </a:lnTo>
                      <a:lnTo>
                        <a:pt x="501" y="175"/>
                      </a:lnTo>
                      <a:lnTo>
                        <a:pt x="549" y="148"/>
                      </a:lnTo>
                      <a:lnTo>
                        <a:pt x="580" y="128"/>
                      </a:lnTo>
                      <a:lnTo>
                        <a:pt x="612" y="111"/>
                      </a:lnTo>
                      <a:lnTo>
                        <a:pt x="646" y="96"/>
                      </a:lnTo>
                      <a:lnTo>
                        <a:pt x="664" y="87"/>
                      </a:lnTo>
                      <a:lnTo>
                        <a:pt x="684" y="79"/>
                      </a:lnTo>
                      <a:lnTo>
                        <a:pt x="705" y="72"/>
                      </a:lnTo>
                      <a:lnTo>
                        <a:pt x="708" y="75"/>
                      </a:lnTo>
                      <a:lnTo>
                        <a:pt x="764" y="153"/>
                      </a:lnTo>
                      <a:lnTo>
                        <a:pt x="821" y="231"/>
                      </a:lnTo>
                      <a:lnTo>
                        <a:pt x="877" y="311"/>
                      </a:lnTo>
                      <a:lnTo>
                        <a:pt x="909" y="300"/>
                      </a:lnTo>
                      <a:lnTo>
                        <a:pt x="939" y="292"/>
                      </a:lnTo>
                      <a:lnTo>
                        <a:pt x="970" y="287"/>
                      </a:lnTo>
                      <a:lnTo>
                        <a:pt x="1028" y="278"/>
                      </a:lnTo>
                      <a:lnTo>
                        <a:pt x="1088" y="272"/>
                      </a:lnTo>
                      <a:lnTo>
                        <a:pt x="1150" y="272"/>
                      </a:lnTo>
                      <a:lnTo>
                        <a:pt x="1182" y="182"/>
                      </a:lnTo>
                      <a:lnTo>
                        <a:pt x="1214" y="92"/>
                      </a:lnTo>
                      <a:lnTo>
                        <a:pt x="1250"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78" name="Freeform 408"/>
                <p:cNvSpPr>
                  <a:spLocks noEditPoints="1"/>
                </p:cNvSpPr>
                <p:nvPr/>
              </p:nvSpPr>
              <p:spPr bwMode="auto">
                <a:xfrm>
                  <a:off x="2309" y="3270"/>
                  <a:ext cx="79" cy="79"/>
                </a:xfrm>
                <a:custGeom>
                  <a:avLst/>
                  <a:gdLst>
                    <a:gd name="T0" fmla="*/ 301 w 710"/>
                    <a:gd name="T1" fmla="*/ 95 h 711"/>
                    <a:gd name="T2" fmla="*/ 222 w 710"/>
                    <a:gd name="T3" fmla="*/ 128 h 711"/>
                    <a:gd name="T4" fmla="*/ 166 w 710"/>
                    <a:gd name="T5" fmla="*/ 171 h 711"/>
                    <a:gd name="T6" fmla="*/ 125 w 710"/>
                    <a:gd name="T7" fmla="*/ 223 h 711"/>
                    <a:gd name="T8" fmla="*/ 97 w 710"/>
                    <a:gd name="T9" fmla="*/ 287 h 711"/>
                    <a:gd name="T10" fmla="*/ 90 w 710"/>
                    <a:gd name="T11" fmla="*/ 371 h 711"/>
                    <a:gd name="T12" fmla="*/ 107 w 710"/>
                    <a:gd name="T13" fmla="*/ 449 h 711"/>
                    <a:gd name="T14" fmla="*/ 145 w 710"/>
                    <a:gd name="T15" fmla="*/ 519 h 711"/>
                    <a:gd name="T16" fmla="*/ 193 w 710"/>
                    <a:gd name="T17" fmla="*/ 568 h 711"/>
                    <a:gd name="T18" fmla="*/ 253 w 710"/>
                    <a:gd name="T19" fmla="*/ 601 h 711"/>
                    <a:gd name="T20" fmla="*/ 328 w 710"/>
                    <a:gd name="T21" fmla="*/ 621 h 711"/>
                    <a:gd name="T22" fmla="*/ 409 w 710"/>
                    <a:gd name="T23" fmla="*/ 617 h 711"/>
                    <a:gd name="T24" fmla="*/ 487 w 710"/>
                    <a:gd name="T25" fmla="*/ 588 h 711"/>
                    <a:gd name="T26" fmla="*/ 517 w 710"/>
                    <a:gd name="T27" fmla="*/ 566 h 711"/>
                    <a:gd name="T28" fmla="*/ 566 w 710"/>
                    <a:gd name="T29" fmla="*/ 517 h 711"/>
                    <a:gd name="T30" fmla="*/ 599 w 710"/>
                    <a:gd name="T31" fmla="*/ 459 h 711"/>
                    <a:gd name="T32" fmla="*/ 618 w 710"/>
                    <a:gd name="T33" fmla="*/ 391 h 711"/>
                    <a:gd name="T34" fmla="*/ 619 w 710"/>
                    <a:gd name="T35" fmla="*/ 323 h 711"/>
                    <a:gd name="T36" fmla="*/ 600 w 710"/>
                    <a:gd name="T37" fmla="*/ 257 h 711"/>
                    <a:gd name="T38" fmla="*/ 564 w 710"/>
                    <a:gd name="T39" fmla="*/ 194 h 711"/>
                    <a:gd name="T40" fmla="*/ 515 w 710"/>
                    <a:gd name="T41" fmla="*/ 145 h 711"/>
                    <a:gd name="T42" fmla="*/ 455 w 710"/>
                    <a:gd name="T43" fmla="*/ 111 h 711"/>
                    <a:gd name="T44" fmla="*/ 381 w 710"/>
                    <a:gd name="T45" fmla="*/ 91 h 711"/>
                    <a:gd name="T46" fmla="*/ 353 w 710"/>
                    <a:gd name="T47" fmla="*/ 0 h 711"/>
                    <a:gd name="T48" fmla="*/ 447 w 710"/>
                    <a:gd name="T49" fmla="*/ 14 h 711"/>
                    <a:gd name="T50" fmla="*/ 521 w 710"/>
                    <a:gd name="T51" fmla="*/ 42 h 711"/>
                    <a:gd name="T52" fmla="*/ 585 w 710"/>
                    <a:gd name="T53" fmla="*/ 86 h 711"/>
                    <a:gd name="T54" fmla="*/ 638 w 710"/>
                    <a:gd name="T55" fmla="*/ 145 h 711"/>
                    <a:gd name="T56" fmla="*/ 682 w 710"/>
                    <a:gd name="T57" fmla="*/ 222 h 711"/>
                    <a:gd name="T58" fmla="*/ 706 w 710"/>
                    <a:gd name="T59" fmla="*/ 309 h 711"/>
                    <a:gd name="T60" fmla="*/ 707 w 710"/>
                    <a:gd name="T61" fmla="*/ 399 h 711"/>
                    <a:gd name="T62" fmla="*/ 698 w 710"/>
                    <a:gd name="T63" fmla="*/ 449 h 711"/>
                    <a:gd name="T64" fmla="*/ 669 w 710"/>
                    <a:gd name="T65" fmla="*/ 524 h 711"/>
                    <a:gd name="T66" fmla="*/ 626 w 710"/>
                    <a:gd name="T67" fmla="*/ 587 h 711"/>
                    <a:gd name="T68" fmla="*/ 567 w 710"/>
                    <a:gd name="T69" fmla="*/ 640 h 711"/>
                    <a:gd name="T70" fmla="*/ 490 w 710"/>
                    <a:gd name="T71" fmla="*/ 685 h 711"/>
                    <a:gd name="T72" fmla="*/ 401 w 710"/>
                    <a:gd name="T73" fmla="*/ 708 h 711"/>
                    <a:gd name="T74" fmla="*/ 309 w 710"/>
                    <a:gd name="T75" fmla="*/ 707 h 711"/>
                    <a:gd name="T76" fmla="*/ 225 w 710"/>
                    <a:gd name="T77" fmla="*/ 685 h 711"/>
                    <a:gd name="T78" fmla="*/ 155 w 710"/>
                    <a:gd name="T79" fmla="*/ 648 h 711"/>
                    <a:gd name="T80" fmla="*/ 96 w 710"/>
                    <a:gd name="T81" fmla="*/ 598 h 711"/>
                    <a:gd name="T82" fmla="*/ 49 w 710"/>
                    <a:gd name="T83" fmla="*/ 532 h 711"/>
                    <a:gd name="T84" fmla="*/ 25 w 710"/>
                    <a:gd name="T85" fmla="*/ 490 h 711"/>
                    <a:gd name="T86" fmla="*/ 2 w 710"/>
                    <a:gd name="T87" fmla="*/ 403 h 711"/>
                    <a:gd name="T88" fmla="*/ 4 w 710"/>
                    <a:gd name="T89" fmla="*/ 312 h 711"/>
                    <a:gd name="T90" fmla="*/ 27 w 710"/>
                    <a:gd name="T91" fmla="*/ 226 h 711"/>
                    <a:gd name="T92" fmla="*/ 61 w 710"/>
                    <a:gd name="T93" fmla="*/ 155 h 711"/>
                    <a:gd name="T94" fmla="*/ 111 w 710"/>
                    <a:gd name="T95" fmla="*/ 95 h 711"/>
                    <a:gd name="T96" fmla="*/ 176 w 710"/>
                    <a:gd name="T97" fmla="*/ 48 h 711"/>
                    <a:gd name="T98" fmla="*/ 262 w 710"/>
                    <a:gd name="T99" fmla="*/ 12 h 711"/>
                    <a:gd name="T100" fmla="*/ 353 w 710"/>
                    <a:gd name="T101"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0" h="711">
                      <a:moveTo>
                        <a:pt x="341" y="90"/>
                      </a:moveTo>
                      <a:lnTo>
                        <a:pt x="301" y="95"/>
                      </a:lnTo>
                      <a:lnTo>
                        <a:pt x="261" y="109"/>
                      </a:lnTo>
                      <a:lnTo>
                        <a:pt x="222" y="128"/>
                      </a:lnTo>
                      <a:lnTo>
                        <a:pt x="192" y="148"/>
                      </a:lnTo>
                      <a:lnTo>
                        <a:pt x="166" y="171"/>
                      </a:lnTo>
                      <a:lnTo>
                        <a:pt x="144" y="196"/>
                      </a:lnTo>
                      <a:lnTo>
                        <a:pt x="125" y="223"/>
                      </a:lnTo>
                      <a:lnTo>
                        <a:pt x="109" y="254"/>
                      </a:lnTo>
                      <a:lnTo>
                        <a:pt x="97" y="287"/>
                      </a:lnTo>
                      <a:lnTo>
                        <a:pt x="91" y="330"/>
                      </a:lnTo>
                      <a:lnTo>
                        <a:pt x="90" y="371"/>
                      </a:lnTo>
                      <a:lnTo>
                        <a:pt x="95" y="411"/>
                      </a:lnTo>
                      <a:lnTo>
                        <a:pt x="107" y="449"/>
                      </a:lnTo>
                      <a:lnTo>
                        <a:pt x="125" y="487"/>
                      </a:lnTo>
                      <a:lnTo>
                        <a:pt x="145" y="519"/>
                      </a:lnTo>
                      <a:lnTo>
                        <a:pt x="168" y="545"/>
                      </a:lnTo>
                      <a:lnTo>
                        <a:pt x="193" y="568"/>
                      </a:lnTo>
                      <a:lnTo>
                        <a:pt x="222" y="587"/>
                      </a:lnTo>
                      <a:lnTo>
                        <a:pt x="253" y="601"/>
                      </a:lnTo>
                      <a:lnTo>
                        <a:pt x="287" y="612"/>
                      </a:lnTo>
                      <a:lnTo>
                        <a:pt x="328" y="621"/>
                      </a:lnTo>
                      <a:lnTo>
                        <a:pt x="369" y="622"/>
                      </a:lnTo>
                      <a:lnTo>
                        <a:pt x="409" y="617"/>
                      </a:lnTo>
                      <a:lnTo>
                        <a:pt x="449" y="605"/>
                      </a:lnTo>
                      <a:lnTo>
                        <a:pt x="487" y="588"/>
                      </a:lnTo>
                      <a:lnTo>
                        <a:pt x="487" y="585"/>
                      </a:lnTo>
                      <a:lnTo>
                        <a:pt x="517" y="566"/>
                      </a:lnTo>
                      <a:lnTo>
                        <a:pt x="543" y="543"/>
                      </a:lnTo>
                      <a:lnTo>
                        <a:pt x="566" y="517"/>
                      </a:lnTo>
                      <a:lnTo>
                        <a:pt x="585" y="489"/>
                      </a:lnTo>
                      <a:lnTo>
                        <a:pt x="599" y="459"/>
                      </a:lnTo>
                      <a:lnTo>
                        <a:pt x="612" y="425"/>
                      </a:lnTo>
                      <a:lnTo>
                        <a:pt x="618" y="391"/>
                      </a:lnTo>
                      <a:lnTo>
                        <a:pt x="621" y="356"/>
                      </a:lnTo>
                      <a:lnTo>
                        <a:pt x="619" y="323"/>
                      </a:lnTo>
                      <a:lnTo>
                        <a:pt x="612" y="289"/>
                      </a:lnTo>
                      <a:lnTo>
                        <a:pt x="600" y="257"/>
                      </a:lnTo>
                      <a:lnTo>
                        <a:pt x="585" y="225"/>
                      </a:lnTo>
                      <a:lnTo>
                        <a:pt x="564" y="194"/>
                      </a:lnTo>
                      <a:lnTo>
                        <a:pt x="541" y="168"/>
                      </a:lnTo>
                      <a:lnTo>
                        <a:pt x="515" y="145"/>
                      </a:lnTo>
                      <a:lnTo>
                        <a:pt x="486" y="126"/>
                      </a:lnTo>
                      <a:lnTo>
                        <a:pt x="455" y="111"/>
                      </a:lnTo>
                      <a:lnTo>
                        <a:pt x="423" y="101"/>
                      </a:lnTo>
                      <a:lnTo>
                        <a:pt x="381" y="91"/>
                      </a:lnTo>
                      <a:lnTo>
                        <a:pt x="341" y="90"/>
                      </a:lnTo>
                      <a:close/>
                      <a:moveTo>
                        <a:pt x="353" y="0"/>
                      </a:moveTo>
                      <a:lnTo>
                        <a:pt x="399" y="3"/>
                      </a:lnTo>
                      <a:lnTo>
                        <a:pt x="447" y="14"/>
                      </a:lnTo>
                      <a:lnTo>
                        <a:pt x="485" y="26"/>
                      </a:lnTo>
                      <a:lnTo>
                        <a:pt x="521" y="42"/>
                      </a:lnTo>
                      <a:lnTo>
                        <a:pt x="554" y="62"/>
                      </a:lnTo>
                      <a:lnTo>
                        <a:pt x="585" y="86"/>
                      </a:lnTo>
                      <a:lnTo>
                        <a:pt x="613" y="113"/>
                      </a:lnTo>
                      <a:lnTo>
                        <a:pt x="638" y="145"/>
                      </a:lnTo>
                      <a:lnTo>
                        <a:pt x="660" y="180"/>
                      </a:lnTo>
                      <a:lnTo>
                        <a:pt x="682" y="222"/>
                      </a:lnTo>
                      <a:lnTo>
                        <a:pt x="697" y="265"/>
                      </a:lnTo>
                      <a:lnTo>
                        <a:pt x="706" y="309"/>
                      </a:lnTo>
                      <a:lnTo>
                        <a:pt x="710" y="354"/>
                      </a:lnTo>
                      <a:lnTo>
                        <a:pt x="707" y="399"/>
                      </a:lnTo>
                      <a:lnTo>
                        <a:pt x="698" y="446"/>
                      </a:lnTo>
                      <a:lnTo>
                        <a:pt x="698" y="449"/>
                      </a:lnTo>
                      <a:lnTo>
                        <a:pt x="685" y="488"/>
                      </a:lnTo>
                      <a:lnTo>
                        <a:pt x="669" y="524"/>
                      </a:lnTo>
                      <a:lnTo>
                        <a:pt x="649" y="556"/>
                      </a:lnTo>
                      <a:lnTo>
                        <a:pt x="626" y="587"/>
                      </a:lnTo>
                      <a:lnTo>
                        <a:pt x="598" y="615"/>
                      </a:lnTo>
                      <a:lnTo>
                        <a:pt x="567" y="640"/>
                      </a:lnTo>
                      <a:lnTo>
                        <a:pt x="532" y="664"/>
                      </a:lnTo>
                      <a:lnTo>
                        <a:pt x="490" y="685"/>
                      </a:lnTo>
                      <a:lnTo>
                        <a:pt x="444" y="700"/>
                      </a:lnTo>
                      <a:lnTo>
                        <a:pt x="401" y="708"/>
                      </a:lnTo>
                      <a:lnTo>
                        <a:pt x="356" y="711"/>
                      </a:lnTo>
                      <a:lnTo>
                        <a:pt x="309" y="707"/>
                      </a:lnTo>
                      <a:lnTo>
                        <a:pt x="263" y="699"/>
                      </a:lnTo>
                      <a:lnTo>
                        <a:pt x="225" y="685"/>
                      </a:lnTo>
                      <a:lnTo>
                        <a:pt x="188" y="668"/>
                      </a:lnTo>
                      <a:lnTo>
                        <a:pt x="155" y="648"/>
                      </a:lnTo>
                      <a:lnTo>
                        <a:pt x="124" y="625"/>
                      </a:lnTo>
                      <a:lnTo>
                        <a:pt x="96" y="598"/>
                      </a:lnTo>
                      <a:lnTo>
                        <a:pt x="71" y="568"/>
                      </a:lnTo>
                      <a:lnTo>
                        <a:pt x="49" y="532"/>
                      </a:lnTo>
                      <a:lnTo>
                        <a:pt x="46" y="532"/>
                      </a:lnTo>
                      <a:lnTo>
                        <a:pt x="25" y="490"/>
                      </a:lnTo>
                      <a:lnTo>
                        <a:pt x="10" y="447"/>
                      </a:lnTo>
                      <a:lnTo>
                        <a:pt x="2" y="403"/>
                      </a:lnTo>
                      <a:lnTo>
                        <a:pt x="0" y="358"/>
                      </a:lnTo>
                      <a:lnTo>
                        <a:pt x="4" y="312"/>
                      </a:lnTo>
                      <a:lnTo>
                        <a:pt x="14" y="266"/>
                      </a:lnTo>
                      <a:lnTo>
                        <a:pt x="27" y="226"/>
                      </a:lnTo>
                      <a:lnTo>
                        <a:pt x="42" y="190"/>
                      </a:lnTo>
                      <a:lnTo>
                        <a:pt x="61" y="155"/>
                      </a:lnTo>
                      <a:lnTo>
                        <a:pt x="84" y="124"/>
                      </a:lnTo>
                      <a:lnTo>
                        <a:pt x="111" y="95"/>
                      </a:lnTo>
                      <a:lnTo>
                        <a:pt x="142" y="70"/>
                      </a:lnTo>
                      <a:lnTo>
                        <a:pt x="176" y="48"/>
                      </a:lnTo>
                      <a:lnTo>
                        <a:pt x="219" y="27"/>
                      </a:lnTo>
                      <a:lnTo>
                        <a:pt x="262" y="12"/>
                      </a:lnTo>
                      <a:lnTo>
                        <a:pt x="307" y="3"/>
                      </a:lnTo>
                      <a:lnTo>
                        <a:pt x="353"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nvGrpSpPr>
              <p:cNvPr id="372" name="noun_project_01064.eps"/>
              <p:cNvGrpSpPr>
                <a:grpSpLocks/>
              </p:cNvGrpSpPr>
              <p:nvPr/>
            </p:nvGrpSpPr>
            <p:grpSpPr bwMode="auto">
              <a:xfrm>
                <a:off x="-953318" y="6201671"/>
                <a:ext cx="595313" cy="595313"/>
                <a:chOff x="2734" y="3060"/>
                <a:chExt cx="375" cy="375"/>
              </a:xfrm>
              <a:grpFill/>
            </p:grpSpPr>
            <p:sp>
              <p:nvSpPr>
                <p:cNvPr id="373" name="Freeform 415"/>
                <p:cNvSpPr>
                  <a:spLocks noEditPoints="1"/>
                </p:cNvSpPr>
                <p:nvPr/>
              </p:nvSpPr>
              <p:spPr bwMode="auto">
                <a:xfrm>
                  <a:off x="2734" y="3060"/>
                  <a:ext cx="375" cy="375"/>
                </a:xfrm>
                <a:custGeom>
                  <a:avLst/>
                  <a:gdLst>
                    <a:gd name="T0" fmla="*/ 1461 w 3379"/>
                    <a:gd name="T1" fmla="*/ 1110 h 3381"/>
                    <a:gd name="T2" fmla="*/ 1223 w 3379"/>
                    <a:gd name="T3" fmla="*/ 1287 h 3381"/>
                    <a:gd name="T4" fmla="*/ 1098 w 3379"/>
                    <a:gd name="T5" fmla="*/ 1520 h 3381"/>
                    <a:gd name="T6" fmla="*/ 1089 w 3379"/>
                    <a:gd name="T7" fmla="*/ 1806 h 3381"/>
                    <a:gd name="T8" fmla="*/ 1218 w 3379"/>
                    <a:gd name="T9" fmla="*/ 2075 h 3381"/>
                    <a:gd name="T10" fmla="*/ 1461 w 3379"/>
                    <a:gd name="T11" fmla="*/ 2258 h 3381"/>
                    <a:gd name="T12" fmla="*/ 1762 w 3379"/>
                    <a:gd name="T13" fmla="*/ 2300 h 3381"/>
                    <a:gd name="T14" fmla="*/ 2041 w 3379"/>
                    <a:gd name="T15" fmla="*/ 2202 h 3381"/>
                    <a:gd name="T16" fmla="*/ 2248 w 3379"/>
                    <a:gd name="T17" fmla="*/ 1974 h 3381"/>
                    <a:gd name="T18" fmla="*/ 2318 w 3379"/>
                    <a:gd name="T19" fmla="*/ 1683 h 3381"/>
                    <a:gd name="T20" fmla="*/ 2248 w 3379"/>
                    <a:gd name="T21" fmla="*/ 1391 h 3381"/>
                    <a:gd name="T22" fmla="*/ 2041 w 3379"/>
                    <a:gd name="T23" fmla="*/ 1166 h 3381"/>
                    <a:gd name="T24" fmla="*/ 1762 w 3379"/>
                    <a:gd name="T25" fmla="*/ 1068 h 3381"/>
                    <a:gd name="T26" fmla="*/ 1886 w 3379"/>
                    <a:gd name="T27" fmla="*/ 12 h 3381"/>
                    <a:gd name="T28" fmla="*/ 2028 w 3379"/>
                    <a:gd name="T29" fmla="*/ 465 h 3381"/>
                    <a:gd name="T30" fmla="*/ 2269 w 3379"/>
                    <a:gd name="T31" fmla="*/ 560 h 3381"/>
                    <a:gd name="T32" fmla="*/ 2688 w 3379"/>
                    <a:gd name="T33" fmla="*/ 332 h 3381"/>
                    <a:gd name="T34" fmla="*/ 2943 w 3379"/>
                    <a:gd name="T35" fmla="*/ 556 h 3381"/>
                    <a:gd name="T36" fmla="*/ 2864 w 3379"/>
                    <a:gd name="T37" fmla="*/ 918 h 3381"/>
                    <a:gd name="T38" fmla="*/ 2867 w 3379"/>
                    <a:gd name="T39" fmla="*/ 1214 h 3381"/>
                    <a:gd name="T40" fmla="*/ 2926 w 3379"/>
                    <a:gd name="T41" fmla="*/ 1393 h 3381"/>
                    <a:gd name="T42" fmla="*/ 3379 w 3379"/>
                    <a:gd name="T43" fmla="*/ 1743 h 3381"/>
                    <a:gd name="T44" fmla="*/ 2920 w 3379"/>
                    <a:gd name="T45" fmla="*/ 2006 h 3381"/>
                    <a:gd name="T46" fmla="*/ 2905 w 3379"/>
                    <a:gd name="T47" fmla="*/ 2065 h 3381"/>
                    <a:gd name="T48" fmla="*/ 2803 w 3379"/>
                    <a:gd name="T49" fmla="*/ 2302 h 3381"/>
                    <a:gd name="T50" fmla="*/ 2783 w 3379"/>
                    <a:gd name="T51" fmla="*/ 2343 h 3381"/>
                    <a:gd name="T52" fmla="*/ 3007 w 3379"/>
                    <a:gd name="T53" fmla="*/ 2751 h 3381"/>
                    <a:gd name="T54" fmla="*/ 2770 w 3379"/>
                    <a:gd name="T55" fmla="*/ 2998 h 3381"/>
                    <a:gd name="T56" fmla="*/ 2484 w 3379"/>
                    <a:gd name="T57" fmla="*/ 2862 h 3381"/>
                    <a:gd name="T58" fmla="*/ 2366 w 3379"/>
                    <a:gd name="T59" fmla="*/ 2765 h 3381"/>
                    <a:gd name="T60" fmla="*/ 2117 w 3379"/>
                    <a:gd name="T61" fmla="*/ 2889 h 3381"/>
                    <a:gd name="T62" fmla="*/ 1969 w 3379"/>
                    <a:gd name="T63" fmla="*/ 3215 h 3381"/>
                    <a:gd name="T64" fmla="*/ 1573 w 3379"/>
                    <a:gd name="T65" fmla="*/ 3377 h 3381"/>
                    <a:gd name="T66" fmla="*/ 1414 w 3379"/>
                    <a:gd name="T67" fmla="*/ 3039 h 3381"/>
                    <a:gd name="T68" fmla="*/ 1274 w 3379"/>
                    <a:gd name="T69" fmla="*/ 2891 h 3381"/>
                    <a:gd name="T70" fmla="*/ 1036 w 3379"/>
                    <a:gd name="T71" fmla="*/ 2780 h 3381"/>
                    <a:gd name="T72" fmla="*/ 633 w 3379"/>
                    <a:gd name="T73" fmla="*/ 3009 h 3381"/>
                    <a:gd name="T74" fmla="*/ 345 w 3379"/>
                    <a:gd name="T75" fmla="*/ 2703 h 3381"/>
                    <a:gd name="T76" fmla="*/ 574 w 3379"/>
                    <a:gd name="T77" fmla="*/ 2299 h 3381"/>
                    <a:gd name="T78" fmla="*/ 473 w 3379"/>
                    <a:gd name="T79" fmla="*/ 2057 h 3381"/>
                    <a:gd name="T80" fmla="*/ 27 w 3379"/>
                    <a:gd name="T81" fmla="*/ 1943 h 3381"/>
                    <a:gd name="T82" fmla="*/ 7 w 3379"/>
                    <a:gd name="T83" fmla="*/ 1539 h 3381"/>
                    <a:gd name="T84" fmla="*/ 461 w 3379"/>
                    <a:gd name="T85" fmla="*/ 1370 h 3381"/>
                    <a:gd name="T86" fmla="*/ 474 w 3379"/>
                    <a:gd name="T87" fmla="*/ 1321 h 3381"/>
                    <a:gd name="T88" fmla="*/ 538 w 3379"/>
                    <a:gd name="T89" fmla="*/ 1151 h 3381"/>
                    <a:gd name="T90" fmla="*/ 425 w 3379"/>
                    <a:gd name="T91" fmla="*/ 805 h 3381"/>
                    <a:gd name="T92" fmla="*/ 331 w 3379"/>
                    <a:gd name="T93" fmla="*/ 689 h 3381"/>
                    <a:gd name="T94" fmla="*/ 529 w 3379"/>
                    <a:gd name="T95" fmla="*/ 462 h 3381"/>
                    <a:gd name="T96" fmla="*/ 691 w 3379"/>
                    <a:gd name="T97" fmla="*/ 337 h 3381"/>
                    <a:gd name="T98" fmla="*/ 1154 w 3379"/>
                    <a:gd name="T99" fmla="*/ 540 h 3381"/>
                    <a:gd name="T100" fmla="*/ 1337 w 3379"/>
                    <a:gd name="T101" fmla="*/ 471 h 3381"/>
                    <a:gd name="T102" fmla="*/ 1571 w 3379"/>
                    <a:gd name="T103" fmla="*/ 5 h 3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79" h="3381">
                      <a:moveTo>
                        <a:pt x="1699" y="1066"/>
                      </a:moveTo>
                      <a:lnTo>
                        <a:pt x="1636" y="1068"/>
                      </a:lnTo>
                      <a:lnTo>
                        <a:pt x="1575" y="1076"/>
                      </a:lnTo>
                      <a:lnTo>
                        <a:pt x="1517" y="1091"/>
                      </a:lnTo>
                      <a:lnTo>
                        <a:pt x="1461" y="1110"/>
                      </a:lnTo>
                      <a:lnTo>
                        <a:pt x="1407" y="1135"/>
                      </a:lnTo>
                      <a:lnTo>
                        <a:pt x="1356" y="1166"/>
                      </a:lnTo>
                      <a:lnTo>
                        <a:pt x="1307" y="1203"/>
                      </a:lnTo>
                      <a:lnTo>
                        <a:pt x="1261" y="1245"/>
                      </a:lnTo>
                      <a:lnTo>
                        <a:pt x="1223" y="1287"/>
                      </a:lnTo>
                      <a:lnTo>
                        <a:pt x="1188" y="1329"/>
                      </a:lnTo>
                      <a:lnTo>
                        <a:pt x="1159" y="1374"/>
                      </a:lnTo>
                      <a:lnTo>
                        <a:pt x="1135" y="1421"/>
                      </a:lnTo>
                      <a:lnTo>
                        <a:pt x="1114" y="1470"/>
                      </a:lnTo>
                      <a:lnTo>
                        <a:pt x="1098" y="1520"/>
                      </a:lnTo>
                      <a:lnTo>
                        <a:pt x="1087" y="1572"/>
                      </a:lnTo>
                      <a:lnTo>
                        <a:pt x="1079" y="1627"/>
                      </a:lnTo>
                      <a:lnTo>
                        <a:pt x="1077" y="1683"/>
                      </a:lnTo>
                      <a:lnTo>
                        <a:pt x="1080" y="1746"/>
                      </a:lnTo>
                      <a:lnTo>
                        <a:pt x="1089" y="1806"/>
                      </a:lnTo>
                      <a:lnTo>
                        <a:pt x="1103" y="1865"/>
                      </a:lnTo>
                      <a:lnTo>
                        <a:pt x="1123" y="1920"/>
                      </a:lnTo>
                      <a:lnTo>
                        <a:pt x="1150" y="1974"/>
                      </a:lnTo>
                      <a:lnTo>
                        <a:pt x="1181" y="2026"/>
                      </a:lnTo>
                      <a:lnTo>
                        <a:pt x="1218" y="2075"/>
                      </a:lnTo>
                      <a:lnTo>
                        <a:pt x="1261" y="2123"/>
                      </a:lnTo>
                      <a:lnTo>
                        <a:pt x="1307" y="2165"/>
                      </a:lnTo>
                      <a:lnTo>
                        <a:pt x="1356" y="2202"/>
                      </a:lnTo>
                      <a:lnTo>
                        <a:pt x="1407" y="2233"/>
                      </a:lnTo>
                      <a:lnTo>
                        <a:pt x="1461" y="2258"/>
                      </a:lnTo>
                      <a:lnTo>
                        <a:pt x="1517" y="2277"/>
                      </a:lnTo>
                      <a:lnTo>
                        <a:pt x="1575" y="2292"/>
                      </a:lnTo>
                      <a:lnTo>
                        <a:pt x="1636" y="2300"/>
                      </a:lnTo>
                      <a:lnTo>
                        <a:pt x="1699" y="2302"/>
                      </a:lnTo>
                      <a:lnTo>
                        <a:pt x="1762" y="2300"/>
                      </a:lnTo>
                      <a:lnTo>
                        <a:pt x="1822" y="2292"/>
                      </a:lnTo>
                      <a:lnTo>
                        <a:pt x="1880" y="2277"/>
                      </a:lnTo>
                      <a:lnTo>
                        <a:pt x="1936" y="2258"/>
                      </a:lnTo>
                      <a:lnTo>
                        <a:pt x="1989" y="2233"/>
                      </a:lnTo>
                      <a:lnTo>
                        <a:pt x="2041" y="2202"/>
                      </a:lnTo>
                      <a:lnTo>
                        <a:pt x="2091" y="2165"/>
                      </a:lnTo>
                      <a:lnTo>
                        <a:pt x="2138" y="2123"/>
                      </a:lnTo>
                      <a:lnTo>
                        <a:pt x="2181" y="2075"/>
                      </a:lnTo>
                      <a:lnTo>
                        <a:pt x="2217" y="2026"/>
                      </a:lnTo>
                      <a:lnTo>
                        <a:pt x="2248" y="1974"/>
                      </a:lnTo>
                      <a:lnTo>
                        <a:pt x="2273" y="1920"/>
                      </a:lnTo>
                      <a:lnTo>
                        <a:pt x="2293" y="1865"/>
                      </a:lnTo>
                      <a:lnTo>
                        <a:pt x="2306" y="1806"/>
                      </a:lnTo>
                      <a:lnTo>
                        <a:pt x="2315" y="1746"/>
                      </a:lnTo>
                      <a:lnTo>
                        <a:pt x="2318" y="1683"/>
                      </a:lnTo>
                      <a:lnTo>
                        <a:pt x="2315" y="1621"/>
                      </a:lnTo>
                      <a:lnTo>
                        <a:pt x="2306" y="1560"/>
                      </a:lnTo>
                      <a:lnTo>
                        <a:pt x="2293" y="1501"/>
                      </a:lnTo>
                      <a:lnTo>
                        <a:pt x="2273" y="1445"/>
                      </a:lnTo>
                      <a:lnTo>
                        <a:pt x="2248" y="1391"/>
                      </a:lnTo>
                      <a:lnTo>
                        <a:pt x="2217" y="1340"/>
                      </a:lnTo>
                      <a:lnTo>
                        <a:pt x="2181" y="1292"/>
                      </a:lnTo>
                      <a:lnTo>
                        <a:pt x="2138" y="1245"/>
                      </a:lnTo>
                      <a:lnTo>
                        <a:pt x="2091" y="1203"/>
                      </a:lnTo>
                      <a:lnTo>
                        <a:pt x="2041" y="1166"/>
                      </a:lnTo>
                      <a:lnTo>
                        <a:pt x="1989" y="1135"/>
                      </a:lnTo>
                      <a:lnTo>
                        <a:pt x="1936" y="1110"/>
                      </a:lnTo>
                      <a:lnTo>
                        <a:pt x="1880" y="1091"/>
                      </a:lnTo>
                      <a:lnTo>
                        <a:pt x="1822" y="1076"/>
                      </a:lnTo>
                      <a:lnTo>
                        <a:pt x="1762" y="1068"/>
                      </a:lnTo>
                      <a:lnTo>
                        <a:pt x="1699" y="1066"/>
                      </a:lnTo>
                      <a:close/>
                      <a:moveTo>
                        <a:pt x="1634" y="0"/>
                      </a:moveTo>
                      <a:lnTo>
                        <a:pt x="1744" y="0"/>
                      </a:lnTo>
                      <a:lnTo>
                        <a:pt x="1814" y="6"/>
                      </a:lnTo>
                      <a:lnTo>
                        <a:pt x="1886" y="12"/>
                      </a:lnTo>
                      <a:lnTo>
                        <a:pt x="1955" y="21"/>
                      </a:lnTo>
                      <a:lnTo>
                        <a:pt x="1969" y="167"/>
                      </a:lnTo>
                      <a:lnTo>
                        <a:pt x="1984" y="312"/>
                      </a:lnTo>
                      <a:lnTo>
                        <a:pt x="1997" y="457"/>
                      </a:lnTo>
                      <a:lnTo>
                        <a:pt x="2028" y="465"/>
                      </a:lnTo>
                      <a:lnTo>
                        <a:pt x="2058" y="474"/>
                      </a:lnTo>
                      <a:lnTo>
                        <a:pt x="2116" y="493"/>
                      </a:lnTo>
                      <a:lnTo>
                        <a:pt x="2171" y="515"/>
                      </a:lnTo>
                      <a:lnTo>
                        <a:pt x="2225" y="540"/>
                      </a:lnTo>
                      <a:lnTo>
                        <a:pt x="2269" y="560"/>
                      </a:lnTo>
                      <a:lnTo>
                        <a:pt x="2312" y="583"/>
                      </a:lnTo>
                      <a:lnTo>
                        <a:pt x="2356" y="609"/>
                      </a:lnTo>
                      <a:lnTo>
                        <a:pt x="2465" y="516"/>
                      </a:lnTo>
                      <a:lnTo>
                        <a:pt x="2574" y="424"/>
                      </a:lnTo>
                      <a:lnTo>
                        <a:pt x="2688" y="332"/>
                      </a:lnTo>
                      <a:lnTo>
                        <a:pt x="2688" y="329"/>
                      </a:lnTo>
                      <a:lnTo>
                        <a:pt x="2757" y="383"/>
                      </a:lnTo>
                      <a:lnTo>
                        <a:pt x="2823" y="437"/>
                      </a:lnTo>
                      <a:lnTo>
                        <a:pt x="2884" y="496"/>
                      </a:lnTo>
                      <a:lnTo>
                        <a:pt x="2943" y="556"/>
                      </a:lnTo>
                      <a:lnTo>
                        <a:pt x="2998" y="619"/>
                      </a:lnTo>
                      <a:lnTo>
                        <a:pt x="3051" y="685"/>
                      </a:lnTo>
                      <a:lnTo>
                        <a:pt x="3047" y="689"/>
                      </a:lnTo>
                      <a:lnTo>
                        <a:pt x="2957" y="804"/>
                      </a:lnTo>
                      <a:lnTo>
                        <a:pt x="2864" y="918"/>
                      </a:lnTo>
                      <a:lnTo>
                        <a:pt x="2773" y="1031"/>
                      </a:lnTo>
                      <a:lnTo>
                        <a:pt x="2797" y="1070"/>
                      </a:lnTo>
                      <a:lnTo>
                        <a:pt x="2822" y="1112"/>
                      </a:lnTo>
                      <a:lnTo>
                        <a:pt x="2844" y="1156"/>
                      </a:lnTo>
                      <a:lnTo>
                        <a:pt x="2867" y="1214"/>
                      </a:lnTo>
                      <a:lnTo>
                        <a:pt x="2890" y="1274"/>
                      </a:lnTo>
                      <a:lnTo>
                        <a:pt x="2908" y="1335"/>
                      </a:lnTo>
                      <a:lnTo>
                        <a:pt x="2915" y="1356"/>
                      </a:lnTo>
                      <a:lnTo>
                        <a:pt x="2920" y="1376"/>
                      </a:lnTo>
                      <a:lnTo>
                        <a:pt x="2926" y="1393"/>
                      </a:lnTo>
                      <a:lnTo>
                        <a:pt x="3362" y="1435"/>
                      </a:lnTo>
                      <a:lnTo>
                        <a:pt x="3369" y="1502"/>
                      </a:lnTo>
                      <a:lnTo>
                        <a:pt x="3374" y="1570"/>
                      </a:lnTo>
                      <a:lnTo>
                        <a:pt x="3379" y="1639"/>
                      </a:lnTo>
                      <a:lnTo>
                        <a:pt x="3379" y="1743"/>
                      </a:lnTo>
                      <a:lnTo>
                        <a:pt x="3374" y="1811"/>
                      </a:lnTo>
                      <a:lnTo>
                        <a:pt x="3369" y="1880"/>
                      </a:lnTo>
                      <a:lnTo>
                        <a:pt x="3362" y="1946"/>
                      </a:lnTo>
                      <a:lnTo>
                        <a:pt x="2926" y="1988"/>
                      </a:lnTo>
                      <a:lnTo>
                        <a:pt x="2920" y="2006"/>
                      </a:lnTo>
                      <a:lnTo>
                        <a:pt x="2915" y="2026"/>
                      </a:lnTo>
                      <a:lnTo>
                        <a:pt x="2908" y="2047"/>
                      </a:lnTo>
                      <a:lnTo>
                        <a:pt x="2907" y="2051"/>
                      </a:lnTo>
                      <a:lnTo>
                        <a:pt x="2906" y="2057"/>
                      </a:lnTo>
                      <a:lnTo>
                        <a:pt x="2905" y="2065"/>
                      </a:lnTo>
                      <a:lnTo>
                        <a:pt x="2886" y="2119"/>
                      </a:lnTo>
                      <a:lnTo>
                        <a:pt x="2866" y="2174"/>
                      </a:lnTo>
                      <a:lnTo>
                        <a:pt x="2844" y="2227"/>
                      </a:lnTo>
                      <a:lnTo>
                        <a:pt x="2823" y="2265"/>
                      </a:lnTo>
                      <a:lnTo>
                        <a:pt x="2803" y="2302"/>
                      </a:lnTo>
                      <a:lnTo>
                        <a:pt x="2781" y="2340"/>
                      </a:lnTo>
                      <a:lnTo>
                        <a:pt x="2781" y="2341"/>
                      </a:lnTo>
                      <a:lnTo>
                        <a:pt x="2781" y="2342"/>
                      </a:lnTo>
                      <a:lnTo>
                        <a:pt x="2782" y="2343"/>
                      </a:lnTo>
                      <a:lnTo>
                        <a:pt x="2783" y="2343"/>
                      </a:lnTo>
                      <a:lnTo>
                        <a:pt x="2784" y="2344"/>
                      </a:lnTo>
                      <a:lnTo>
                        <a:pt x="2877" y="2455"/>
                      </a:lnTo>
                      <a:lnTo>
                        <a:pt x="2970" y="2566"/>
                      </a:lnTo>
                      <a:lnTo>
                        <a:pt x="3060" y="2679"/>
                      </a:lnTo>
                      <a:lnTo>
                        <a:pt x="3007" y="2751"/>
                      </a:lnTo>
                      <a:lnTo>
                        <a:pt x="2950" y="2819"/>
                      </a:lnTo>
                      <a:lnTo>
                        <a:pt x="2892" y="2884"/>
                      </a:lnTo>
                      <a:lnTo>
                        <a:pt x="2852" y="2922"/>
                      </a:lnTo>
                      <a:lnTo>
                        <a:pt x="2812" y="2960"/>
                      </a:lnTo>
                      <a:lnTo>
                        <a:pt x="2770" y="2998"/>
                      </a:lnTo>
                      <a:lnTo>
                        <a:pt x="2752" y="3012"/>
                      </a:lnTo>
                      <a:lnTo>
                        <a:pt x="2733" y="3028"/>
                      </a:lnTo>
                      <a:lnTo>
                        <a:pt x="2712" y="3046"/>
                      </a:lnTo>
                      <a:lnTo>
                        <a:pt x="2596" y="2953"/>
                      </a:lnTo>
                      <a:lnTo>
                        <a:pt x="2484" y="2862"/>
                      </a:lnTo>
                      <a:lnTo>
                        <a:pt x="2373" y="2769"/>
                      </a:lnTo>
                      <a:lnTo>
                        <a:pt x="2370" y="2767"/>
                      </a:lnTo>
                      <a:lnTo>
                        <a:pt x="2368" y="2766"/>
                      </a:lnTo>
                      <a:lnTo>
                        <a:pt x="2367" y="2765"/>
                      </a:lnTo>
                      <a:lnTo>
                        <a:pt x="2366" y="2765"/>
                      </a:lnTo>
                      <a:lnTo>
                        <a:pt x="2320" y="2795"/>
                      </a:lnTo>
                      <a:lnTo>
                        <a:pt x="2274" y="2820"/>
                      </a:lnTo>
                      <a:lnTo>
                        <a:pt x="2228" y="2842"/>
                      </a:lnTo>
                      <a:lnTo>
                        <a:pt x="2172" y="2867"/>
                      </a:lnTo>
                      <a:lnTo>
                        <a:pt x="2117" y="2889"/>
                      </a:lnTo>
                      <a:lnTo>
                        <a:pt x="2058" y="2908"/>
                      </a:lnTo>
                      <a:lnTo>
                        <a:pt x="2028" y="2914"/>
                      </a:lnTo>
                      <a:lnTo>
                        <a:pt x="1997" y="2921"/>
                      </a:lnTo>
                      <a:lnTo>
                        <a:pt x="1984" y="3069"/>
                      </a:lnTo>
                      <a:lnTo>
                        <a:pt x="1969" y="3215"/>
                      </a:lnTo>
                      <a:lnTo>
                        <a:pt x="1955" y="3360"/>
                      </a:lnTo>
                      <a:lnTo>
                        <a:pt x="1847" y="3373"/>
                      </a:lnTo>
                      <a:lnTo>
                        <a:pt x="1737" y="3381"/>
                      </a:lnTo>
                      <a:lnTo>
                        <a:pt x="1637" y="3381"/>
                      </a:lnTo>
                      <a:lnTo>
                        <a:pt x="1573" y="3377"/>
                      </a:lnTo>
                      <a:lnTo>
                        <a:pt x="1510" y="3372"/>
                      </a:lnTo>
                      <a:lnTo>
                        <a:pt x="1447" y="3363"/>
                      </a:lnTo>
                      <a:lnTo>
                        <a:pt x="1436" y="3255"/>
                      </a:lnTo>
                      <a:lnTo>
                        <a:pt x="1425" y="3148"/>
                      </a:lnTo>
                      <a:lnTo>
                        <a:pt x="1414" y="3039"/>
                      </a:lnTo>
                      <a:lnTo>
                        <a:pt x="1406" y="2929"/>
                      </a:lnTo>
                      <a:lnTo>
                        <a:pt x="1382" y="2923"/>
                      </a:lnTo>
                      <a:lnTo>
                        <a:pt x="1360" y="2917"/>
                      </a:lnTo>
                      <a:lnTo>
                        <a:pt x="1337" y="2911"/>
                      </a:lnTo>
                      <a:lnTo>
                        <a:pt x="1274" y="2891"/>
                      </a:lnTo>
                      <a:lnTo>
                        <a:pt x="1212" y="2868"/>
                      </a:lnTo>
                      <a:lnTo>
                        <a:pt x="1151" y="2842"/>
                      </a:lnTo>
                      <a:lnTo>
                        <a:pt x="1111" y="2823"/>
                      </a:lnTo>
                      <a:lnTo>
                        <a:pt x="1073" y="2803"/>
                      </a:lnTo>
                      <a:lnTo>
                        <a:pt x="1036" y="2780"/>
                      </a:lnTo>
                      <a:lnTo>
                        <a:pt x="1036" y="2783"/>
                      </a:lnTo>
                      <a:lnTo>
                        <a:pt x="870" y="2921"/>
                      </a:lnTo>
                      <a:lnTo>
                        <a:pt x="705" y="3060"/>
                      </a:lnTo>
                      <a:lnTo>
                        <a:pt x="700" y="3060"/>
                      </a:lnTo>
                      <a:lnTo>
                        <a:pt x="633" y="3009"/>
                      </a:lnTo>
                      <a:lnTo>
                        <a:pt x="570" y="2955"/>
                      </a:lnTo>
                      <a:lnTo>
                        <a:pt x="509" y="2897"/>
                      </a:lnTo>
                      <a:lnTo>
                        <a:pt x="451" y="2835"/>
                      </a:lnTo>
                      <a:lnTo>
                        <a:pt x="397" y="2772"/>
                      </a:lnTo>
                      <a:lnTo>
                        <a:pt x="345" y="2703"/>
                      </a:lnTo>
                      <a:lnTo>
                        <a:pt x="433" y="2590"/>
                      </a:lnTo>
                      <a:lnTo>
                        <a:pt x="523" y="2479"/>
                      </a:lnTo>
                      <a:lnTo>
                        <a:pt x="615" y="2368"/>
                      </a:lnTo>
                      <a:lnTo>
                        <a:pt x="593" y="2334"/>
                      </a:lnTo>
                      <a:lnTo>
                        <a:pt x="574" y="2299"/>
                      </a:lnTo>
                      <a:lnTo>
                        <a:pt x="556" y="2265"/>
                      </a:lnTo>
                      <a:lnTo>
                        <a:pt x="538" y="2230"/>
                      </a:lnTo>
                      <a:lnTo>
                        <a:pt x="515" y="2174"/>
                      </a:lnTo>
                      <a:lnTo>
                        <a:pt x="492" y="2116"/>
                      </a:lnTo>
                      <a:lnTo>
                        <a:pt x="473" y="2057"/>
                      </a:lnTo>
                      <a:lnTo>
                        <a:pt x="463" y="2021"/>
                      </a:lnTo>
                      <a:lnTo>
                        <a:pt x="455" y="1984"/>
                      </a:lnTo>
                      <a:lnTo>
                        <a:pt x="312" y="1974"/>
                      </a:lnTo>
                      <a:lnTo>
                        <a:pt x="169" y="1959"/>
                      </a:lnTo>
                      <a:lnTo>
                        <a:pt x="27" y="1943"/>
                      </a:lnTo>
                      <a:lnTo>
                        <a:pt x="16" y="1870"/>
                      </a:lnTo>
                      <a:lnTo>
                        <a:pt x="8" y="1795"/>
                      </a:lnTo>
                      <a:lnTo>
                        <a:pt x="3" y="1719"/>
                      </a:lnTo>
                      <a:lnTo>
                        <a:pt x="0" y="1643"/>
                      </a:lnTo>
                      <a:lnTo>
                        <a:pt x="7" y="1539"/>
                      </a:lnTo>
                      <a:lnTo>
                        <a:pt x="17" y="1438"/>
                      </a:lnTo>
                      <a:lnTo>
                        <a:pt x="162" y="1423"/>
                      </a:lnTo>
                      <a:lnTo>
                        <a:pt x="308" y="1409"/>
                      </a:lnTo>
                      <a:lnTo>
                        <a:pt x="455" y="1398"/>
                      </a:lnTo>
                      <a:lnTo>
                        <a:pt x="461" y="1370"/>
                      </a:lnTo>
                      <a:lnTo>
                        <a:pt x="466" y="1346"/>
                      </a:lnTo>
                      <a:lnTo>
                        <a:pt x="473" y="1324"/>
                      </a:lnTo>
                      <a:lnTo>
                        <a:pt x="473" y="1322"/>
                      </a:lnTo>
                      <a:lnTo>
                        <a:pt x="473" y="1321"/>
                      </a:lnTo>
                      <a:lnTo>
                        <a:pt x="474" y="1321"/>
                      </a:lnTo>
                      <a:lnTo>
                        <a:pt x="476" y="1321"/>
                      </a:lnTo>
                      <a:lnTo>
                        <a:pt x="489" y="1277"/>
                      </a:lnTo>
                      <a:lnTo>
                        <a:pt x="504" y="1235"/>
                      </a:lnTo>
                      <a:lnTo>
                        <a:pt x="520" y="1193"/>
                      </a:lnTo>
                      <a:lnTo>
                        <a:pt x="538" y="1151"/>
                      </a:lnTo>
                      <a:lnTo>
                        <a:pt x="560" y="1110"/>
                      </a:lnTo>
                      <a:lnTo>
                        <a:pt x="583" y="1067"/>
                      </a:lnTo>
                      <a:lnTo>
                        <a:pt x="607" y="1024"/>
                      </a:lnTo>
                      <a:lnTo>
                        <a:pt x="515" y="916"/>
                      </a:lnTo>
                      <a:lnTo>
                        <a:pt x="425" y="805"/>
                      </a:lnTo>
                      <a:lnTo>
                        <a:pt x="335" y="692"/>
                      </a:lnTo>
                      <a:lnTo>
                        <a:pt x="333" y="692"/>
                      </a:lnTo>
                      <a:lnTo>
                        <a:pt x="332" y="692"/>
                      </a:lnTo>
                      <a:lnTo>
                        <a:pt x="331" y="691"/>
                      </a:lnTo>
                      <a:lnTo>
                        <a:pt x="331" y="689"/>
                      </a:lnTo>
                      <a:lnTo>
                        <a:pt x="369" y="639"/>
                      </a:lnTo>
                      <a:lnTo>
                        <a:pt x="407" y="591"/>
                      </a:lnTo>
                      <a:lnTo>
                        <a:pt x="447" y="545"/>
                      </a:lnTo>
                      <a:lnTo>
                        <a:pt x="490" y="502"/>
                      </a:lnTo>
                      <a:lnTo>
                        <a:pt x="529" y="462"/>
                      </a:lnTo>
                      <a:lnTo>
                        <a:pt x="567" y="426"/>
                      </a:lnTo>
                      <a:lnTo>
                        <a:pt x="607" y="391"/>
                      </a:lnTo>
                      <a:lnTo>
                        <a:pt x="646" y="361"/>
                      </a:lnTo>
                      <a:lnTo>
                        <a:pt x="684" y="329"/>
                      </a:lnTo>
                      <a:lnTo>
                        <a:pt x="691" y="337"/>
                      </a:lnTo>
                      <a:lnTo>
                        <a:pt x="860" y="472"/>
                      </a:lnTo>
                      <a:lnTo>
                        <a:pt x="1026" y="609"/>
                      </a:lnTo>
                      <a:lnTo>
                        <a:pt x="1067" y="583"/>
                      </a:lnTo>
                      <a:lnTo>
                        <a:pt x="1110" y="560"/>
                      </a:lnTo>
                      <a:lnTo>
                        <a:pt x="1154" y="540"/>
                      </a:lnTo>
                      <a:lnTo>
                        <a:pt x="1206" y="515"/>
                      </a:lnTo>
                      <a:lnTo>
                        <a:pt x="1261" y="493"/>
                      </a:lnTo>
                      <a:lnTo>
                        <a:pt x="1316" y="474"/>
                      </a:lnTo>
                      <a:lnTo>
                        <a:pt x="1327" y="473"/>
                      </a:lnTo>
                      <a:lnTo>
                        <a:pt x="1337" y="471"/>
                      </a:lnTo>
                      <a:lnTo>
                        <a:pt x="1370" y="461"/>
                      </a:lnTo>
                      <a:lnTo>
                        <a:pt x="1406" y="454"/>
                      </a:lnTo>
                      <a:lnTo>
                        <a:pt x="1447" y="18"/>
                      </a:lnTo>
                      <a:lnTo>
                        <a:pt x="1510" y="10"/>
                      </a:lnTo>
                      <a:lnTo>
                        <a:pt x="1571" y="5"/>
                      </a:lnTo>
                      <a:lnTo>
                        <a:pt x="163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sp>
              <p:nvSpPr>
                <p:cNvPr id="374" name="Freeform 416"/>
                <p:cNvSpPr>
                  <a:spLocks noEditPoints="1"/>
                </p:cNvSpPr>
                <p:nvPr/>
              </p:nvSpPr>
              <p:spPr bwMode="auto">
                <a:xfrm>
                  <a:off x="2865" y="3187"/>
                  <a:ext cx="117" cy="118"/>
                </a:xfrm>
                <a:custGeom>
                  <a:avLst/>
                  <a:gdLst>
                    <a:gd name="T0" fmla="*/ 482 w 1060"/>
                    <a:gd name="T1" fmla="*/ 138 h 1061"/>
                    <a:gd name="T2" fmla="*/ 396 w 1060"/>
                    <a:gd name="T3" fmla="*/ 156 h 1061"/>
                    <a:gd name="T4" fmla="*/ 318 w 1060"/>
                    <a:gd name="T5" fmla="*/ 195 h 1061"/>
                    <a:gd name="T6" fmla="*/ 248 w 1060"/>
                    <a:gd name="T7" fmla="*/ 253 h 1061"/>
                    <a:gd name="T8" fmla="*/ 190 w 1060"/>
                    <a:gd name="T9" fmla="*/ 322 h 1061"/>
                    <a:gd name="T10" fmla="*/ 152 w 1060"/>
                    <a:gd name="T11" fmla="*/ 400 h 1061"/>
                    <a:gd name="T12" fmla="*/ 133 w 1060"/>
                    <a:gd name="T13" fmla="*/ 486 h 1061"/>
                    <a:gd name="T14" fmla="*/ 133 w 1060"/>
                    <a:gd name="T15" fmla="*/ 579 h 1061"/>
                    <a:gd name="T16" fmla="*/ 152 w 1060"/>
                    <a:gd name="T17" fmla="*/ 663 h 1061"/>
                    <a:gd name="T18" fmla="*/ 190 w 1060"/>
                    <a:gd name="T19" fmla="*/ 742 h 1061"/>
                    <a:gd name="T20" fmla="*/ 248 w 1060"/>
                    <a:gd name="T21" fmla="*/ 813 h 1061"/>
                    <a:gd name="T22" fmla="*/ 318 w 1060"/>
                    <a:gd name="T23" fmla="*/ 870 h 1061"/>
                    <a:gd name="T24" fmla="*/ 396 w 1060"/>
                    <a:gd name="T25" fmla="*/ 908 h 1061"/>
                    <a:gd name="T26" fmla="*/ 482 w 1060"/>
                    <a:gd name="T27" fmla="*/ 928 h 1061"/>
                    <a:gd name="T28" fmla="*/ 574 w 1060"/>
                    <a:gd name="T29" fmla="*/ 928 h 1061"/>
                    <a:gd name="T30" fmla="*/ 660 w 1060"/>
                    <a:gd name="T31" fmla="*/ 908 h 1061"/>
                    <a:gd name="T32" fmla="*/ 740 w 1060"/>
                    <a:gd name="T33" fmla="*/ 870 h 1061"/>
                    <a:gd name="T34" fmla="*/ 811 w 1060"/>
                    <a:gd name="T35" fmla="*/ 813 h 1061"/>
                    <a:gd name="T36" fmla="*/ 868 w 1060"/>
                    <a:gd name="T37" fmla="*/ 742 h 1061"/>
                    <a:gd name="T38" fmla="*/ 904 w 1060"/>
                    <a:gd name="T39" fmla="*/ 664 h 1061"/>
                    <a:gd name="T40" fmla="*/ 923 w 1060"/>
                    <a:gd name="T41" fmla="*/ 580 h 1061"/>
                    <a:gd name="T42" fmla="*/ 923 w 1060"/>
                    <a:gd name="T43" fmla="*/ 486 h 1061"/>
                    <a:gd name="T44" fmla="*/ 904 w 1060"/>
                    <a:gd name="T45" fmla="*/ 400 h 1061"/>
                    <a:gd name="T46" fmla="*/ 868 w 1060"/>
                    <a:gd name="T47" fmla="*/ 322 h 1061"/>
                    <a:gd name="T48" fmla="*/ 811 w 1060"/>
                    <a:gd name="T49" fmla="*/ 253 h 1061"/>
                    <a:gd name="T50" fmla="*/ 740 w 1060"/>
                    <a:gd name="T51" fmla="*/ 195 h 1061"/>
                    <a:gd name="T52" fmla="*/ 660 w 1060"/>
                    <a:gd name="T53" fmla="*/ 156 h 1061"/>
                    <a:gd name="T54" fmla="*/ 574 w 1060"/>
                    <a:gd name="T55" fmla="*/ 138 h 1061"/>
                    <a:gd name="T56" fmla="*/ 528 w 1060"/>
                    <a:gd name="T57" fmla="*/ 0 h 1061"/>
                    <a:gd name="T58" fmla="*/ 635 w 1060"/>
                    <a:gd name="T59" fmla="*/ 11 h 1061"/>
                    <a:gd name="T60" fmla="*/ 733 w 1060"/>
                    <a:gd name="T61" fmla="*/ 39 h 1061"/>
                    <a:gd name="T62" fmla="*/ 823 w 1060"/>
                    <a:gd name="T63" fmla="*/ 88 h 1061"/>
                    <a:gd name="T64" fmla="*/ 904 w 1060"/>
                    <a:gd name="T65" fmla="*/ 156 h 1061"/>
                    <a:gd name="T66" fmla="*/ 972 w 1060"/>
                    <a:gd name="T67" fmla="*/ 238 h 1061"/>
                    <a:gd name="T68" fmla="*/ 1022 w 1060"/>
                    <a:gd name="T69" fmla="*/ 328 h 1061"/>
                    <a:gd name="T70" fmla="*/ 1051 w 1060"/>
                    <a:gd name="T71" fmla="*/ 426 h 1061"/>
                    <a:gd name="T72" fmla="*/ 1060 w 1060"/>
                    <a:gd name="T73" fmla="*/ 532 h 1061"/>
                    <a:gd name="T74" fmla="*/ 1051 w 1060"/>
                    <a:gd name="T75" fmla="*/ 638 h 1061"/>
                    <a:gd name="T76" fmla="*/ 1022 w 1060"/>
                    <a:gd name="T77" fmla="*/ 736 h 1061"/>
                    <a:gd name="T78" fmla="*/ 972 w 1060"/>
                    <a:gd name="T79" fmla="*/ 825 h 1061"/>
                    <a:gd name="T80" fmla="*/ 904 w 1060"/>
                    <a:gd name="T81" fmla="*/ 906 h 1061"/>
                    <a:gd name="T82" fmla="*/ 823 w 1060"/>
                    <a:gd name="T83" fmla="*/ 974 h 1061"/>
                    <a:gd name="T84" fmla="*/ 733 w 1060"/>
                    <a:gd name="T85" fmla="*/ 1023 h 1061"/>
                    <a:gd name="T86" fmla="*/ 635 w 1060"/>
                    <a:gd name="T87" fmla="*/ 1052 h 1061"/>
                    <a:gd name="T88" fmla="*/ 528 w 1060"/>
                    <a:gd name="T89" fmla="*/ 1061 h 1061"/>
                    <a:gd name="T90" fmla="*/ 423 w 1060"/>
                    <a:gd name="T91" fmla="*/ 1052 h 1061"/>
                    <a:gd name="T92" fmla="*/ 325 w 1060"/>
                    <a:gd name="T93" fmla="*/ 1023 h 1061"/>
                    <a:gd name="T94" fmla="*/ 236 w 1060"/>
                    <a:gd name="T95" fmla="*/ 974 h 1061"/>
                    <a:gd name="T96" fmla="*/ 155 w 1060"/>
                    <a:gd name="T97" fmla="*/ 906 h 1061"/>
                    <a:gd name="T98" fmla="*/ 116 w 1060"/>
                    <a:gd name="T99" fmla="*/ 867 h 1061"/>
                    <a:gd name="T100" fmla="*/ 59 w 1060"/>
                    <a:gd name="T101" fmla="*/ 781 h 1061"/>
                    <a:gd name="T102" fmla="*/ 21 w 1060"/>
                    <a:gd name="T103" fmla="*/ 687 h 1061"/>
                    <a:gd name="T104" fmla="*/ 2 w 1060"/>
                    <a:gd name="T105" fmla="*/ 587 h 1061"/>
                    <a:gd name="T106" fmla="*/ 2 w 1060"/>
                    <a:gd name="T107" fmla="*/ 478 h 1061"/>
                    <a:gd name="T108" fmla="*/ 21 w 1060"/>
                    <a:gd name="T109" fmla="*/ 375 h 1061"/>
                    <a:gd name="T110" fmla="*/ 59 w 1060"/>
                    <a:gd name="T111" fmla="*/ 282 h 1061"/>
                    <a:gd name="T112" fmla="*/ 116 w 1060"/>
                    <a:gd name="T113" fmla="*/ 196 h 1061"/>
                    <a:gd name="T114" fmla="*/ 191 w 1060"/>
                    <a:gd name="T115" fmla="*/ 120 h 1061"/>
                    <a:gd name="T116" fmla="*/ 278 w 1060"/>
                    <a:gd name="T117" fmla="*/ 61 h 1061"/>
                    <a:gd name="T118" fmla="*/ 372 w 1060"/>
                    <a:gd name="T119" fmla="*/ 22 h 1061"/>
                    <a:gd name="T120" fmla="*/ 474 w 1060"/>
                    <a:gd name="T121" fmla="*/ 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0" h="1061">
                      <a:moveTo>
                        <a:pt x="528" y="136"/>
                      </a:moveTo>
                      <a:lnTo>
                        <a:pt x="482" y="138"/>
                      </a:lnTo>
                      <a:lnTo>
                        <a:pt x="439" y="145"/>
                      </a:lnTo>
                      <a:lnTo>
                        <a:pt x="396" y="156"/>
                      </a:lnTo>
                      <a:lnTo>
                        <a:pt x="357" y="173"/>
                      </a:lnTo>
                      <a:lnTo>
                        <a:pt x="318" y="195"/>
                      </a:lnTo>
                      <a:lnTo>
                        <a:pt x="282" y="221"/>
                      </a:lnTo>
                      <a:lnTo>
                        <a:pt x="248" y="253"/>
                      </a:lnTo>
                      <a:lnTo>
                        <a:pt x="216" y="286"/>
                      </a:lnTo>
                      <a:lnTo>
                        <a:pt x="190" y="322"/>
                      </a:lnTo>
                      <a:lnTo>
                        <a:pt x="168" y="361"/>
                      </a:lnTo>
                      <a:lnTo>
                        <a:pt x="152" y="400"/>
                      </a:lnTo>
                      <a:lnTo>
                        <a:pt x="140" y="442"/>
                      </a:lnTo>
                      <a:lnTo>
                        <a:pt x="133" y="486"/>
                      </a:lnTo>
                      <a:lnTo>
                        <a:pt x="131" y="532"/>
                      </a:lnTo>
                      <a:lnTo>
                        <a:pt x="133" y="579"/>
                      </a:lnTo>
                      <a:lnTo>
                        <a:pt x="140" y="621"/>
                      </a:lnTo>
                      <a:lnTo>
                        <a:pt x="152" y="663"/>
                      </a:lnTo>
                      <a:lnTo>
                        <a:pt x="168" y="703"/>
                      </a:lnTo>
                      <a:lnTo>
                        <a:pt x="190" y="742"/>
                      </a:lnTo>
                      <a:lnTo>
                        <a:pt x="216" y="777"/>
                      </a:lnTo>
                      <a:lnTo>
                        <a:pt x="248" y="813"/>
                      </a:lnTo>
                      <a:lnTo>
                        <a:pt x="282" y="843"/>
                      </a:lnTo>
                      <a:lnTo>
                        <a:pt x="318" y="870"/>
                      </a:lnTo>
                      <a:lnTo>
                        <a:pt x="357" y="891"/>
                      </a:lnTo>
                      <a:lnTo>
                        <a:pt x="396" y="908"/>
                      </a:lnTo>
                      <a:lnTo>
                        <a:pt x="439" y="920"/>
                      </a:lnTo>
                      <a:lnTo>
                        <a:pt x="482" y="928"/>
                      </a:lnTo>
                      <a:lnTo>
                        <a:pt x="528" y="930"/>
                      </a:lnTo>
                      <a:lnTo>
                        <a:pt x="574" y="928"/>
                      </a:lnTo>
                      <a:lnTo>
                        <a:pt x="618" y="920"/>
                      </a:lnTo>
                      <a:lnTo>
                        <a:pt x="660" y="908"/>
                      </a:lnTo>
                      <a:lnTo>
                        <a:pt x="701" y="891"/>
                      </a:lnTo>
                      <a:lnTo>
                        <a:pt x="740" y="870"/>
                      </a:lnTo>
                      <a:lnTo>
                        <a:pt x="777" y="843"/>
                      </a:lnTo>
                      <a:lnTo>
                        <a:pt x="811" y="813"/>
                      </a:lnTo>
                      <a:lnTo>
                        <a:pt x="841" y="779"/>
                      </a:lnTo>
                      <a:lnTo>
                        <a:pt x="868" y="742"/>
                      </a:lnTo>
                      <a:lnTo>
                        <a:pt x="889" y="704"/>
                      </a:lnTo>
                      <a:lnTo>
                        <a:pt x="904" y="664"/>
                      </a:lnTo>
                      <a:lnTo>
                        <a:pt x="916" y="622"/>
                      </a:lnTo>
                      <a:lnTo>
                        <a:pt x="923" y="580"/>
                      </a:lnTo>
                      <a:lnTo>
                        <a:pt x="925" y="532"/>
                      </a:lnTo>
                      <a:lnTo>
                        <a:pt x="923" y="486"/>
                      </a:lnTo>
                      <a:lnTo>
                        <a:pt x="916" y="442"/>
                      </a:lnTo>
                      <a:lnTo>
                        <a:pt x="904" y="400"/>
                      </a:lnTo>
                      <a:lnTo>
                        <a:pt x="889" y="361"/>
                      </a:lnTo>
                      <a:lnTo>
                        <a:pt x="868" y="322"/>
                      </a:lnTo>
                      <a:lnTo>
                        <a:pt x="841" y="286"/>
                      </a:lnTo>
                      <a:lnTo>
                        <a:pt x="811" y="253"/>
                      </a:lnTo>
                      <a:lnTo>
                        <a:pt x="777" y="221"/>
                      </a:lnTo>
                      <a:lnTo>
                        <a:pt x="740" y="195"/>
                      </a:lnTo>
                      <a:lnTo>
                        <a:pt x="701" y="173"/>
                      </a:lnTo>
                      <a:lnTo>
                        <a:pt x="660" y="156"/>
                      </a:lnTo>
                      <a:lnTo>
                        <a:pt x="618" y="145"/>
                      </a:lnTo>
                      <a:lnTo>
                        <a:pt x="574" y="138"/>
                      </a:lnTo>
                      <a:lnTo>
                        <a:pt x="528" y="136"/>
                      </a:lnTo>
                      <a:close/>
                      <a:moveTo>
                        <a:pt x="528" y="0"/>
                      </a:moveTo>
                      <a:lnTo>
                        <a:pt x="583" y="4"/>
                      </a:lnTo>
                      <a:lnTo>
                        <a:pt x="635" y="11"/>
                      </a:lnTo>
                      <a:lnTo>
                        <a:pt x="685" y="22"/>
                      </a:lnTo>
                      <a:lnTo>
                        <a:pt x="733" y="39"/>
                      </a:lnTo>
                      <a:lnTo>
                        <a:pt x="779" y="61"/>
                      </a:lnTo>
                      <a:lnTo>
                        <a:pt x="823" y="88"/>
                      </a:lnTo>
                      <a:lnTo>
                        <a:pt x="864" y="120"/>
                      </a:lnTo>
                      <a:lnTo>
                        <a:pt x="904" y="156"/>
                      </a:lnTo>
                      <a:lnTo>
                        <a:pt x="941" y="196"/>
                      </a:lnTo>
                      <a:lnTo>
                        <a:pt x="972" y="238"/>
                      </a:lnTo>
                      <a:lnTo>
                        <a:pt x="1000" y="282"/>
                      </a:lnTo>
                      <a:lnTo>
                        <a:pt x="1022" y="328"/>
                      </a:lnTo>
                      <a:lnTo>
                        <a:pt x="1038" y="375"/>
                      </a:lnTo>
                      <a:lnTo>
                        <a:pt x="1051" y="426"/>
                      </a:lnTo>
                      <a:lnTo>
                        <a:pt x="1057" y="478"/>
                      </a:lnTo>
                      <a:lnTo>
                        <a:pt x="1060" y="532"/>
                      </a:lnTo>
                      <a:lnTo>
                        <a:pt x="1057" y="587"/>
                      </a:lnTo>
                      <a:lnTo>
                        <a:pt x="1051" y="638"/>
                      </a:lnTo>
                      <a:lnTo>
                        <a:pt x="1038" y="687"/>
                      </a:lnTo>
                      <a:lnTo>
                        <a:pt x="1022" y="736"/>
                      </a:lnTo>
                      <a:lnTo>
                        <a:pt x="1000" y="781"/>
                      </a:lnTo>
                      <a:lnTo>
                        <a:pt x="972" y="825"/>
                      </a:lnTo>
                      <a:lnTo>
                        <a:pt x="941" y="867"/>
                      </a:lnTo>
                      <a:lnTo>
                        <a:pt x="904" y="906"/>
                      </a:lnTo>
                      <a:lnTo>
                        <a:pt x="864" y="943"/>
                      </a:lnTo>
                      <a:lnTo>
                        <a:pt x="823" y="974"/>
                      </a:lnTo>
                      <a:lnTo>
                        <a:pt x="779" y="1001"/>
                      </a:lnTo>
                      <a:lnTo>
                        <a:pt x="733" y="1023"/>
                      </a:lnTo>
                      <a:lnTo>
                        <a:pt x="685" y="1039"/>
                      </a:lnTo>
                      <a:lnTo>
                        <a:pt x="635" y="1052"/>
                      </a:lnTo>
                      <a:lnTo>
                        <a:pt x="583" y="1059"/>
                      </a:lnTo>
                      <a:lnTo>
                        <a:pt x="528" y="1061"/>
                      </a:lnTo>
                      <a:lnTo>
                        <a:pt x="474" y="1059"/>
                      </a:lnTo>
                      <a:lnTo>
                        <a:pt x="423" y="1052"/>
                      </a:lnTo>
                      <a:lnTo>
                        <a:pt x="373" y="1039"/>
                      </a:lnTo>
                      <a:lnTo>
                        <a:pt x="325" y="1023"/>
                      </a:lnTo>
                      <a:lnTo>
                        <a:pt x="280" y="1001"/>
                      </a:lnTo>
                      <a:lnTo>
                        <a:pt x="236" y="974"/>
                      </a:lnTo>
                      <a:lnTo>
                        <a:pt x="194" y="943"/>
                      </a:lnTo>
                      <a:lnTo>
                        <a:pt x="155" y="906"/>
                      </a:lnTo>
                      <a:lnTo>
                        <a:pt x="152" y="906"/>
                      </a:lnTo>
                      <a:lnTo>
                        <a:pt x="116" y="867"/>
                      </a:lnTo>
                      <a:lnTo>
                        <a:pt x="86" y="825"/>
                      </a:lnTo>
                      <a:lnTo>
                        <a:pt x="59" y="781"/>
                      </a:lnTo>
                      <a:lnTo>
                        <a:pt x="37" y="736"/>
                      </a:lnTo>
                      <a:lnTo>
                        <a:pt x="21" y="687"/>
                      </a:lnTo>
                      <a:lnTo>
                        <a:pt x="9" y="638"/>
                      </a:lnTo>
                      <a:lnTo>
                        <a:pt x="2" y="587"/>
                      </a:lnTo>
                      <a:lnTo>
                        <a:pt x="0" y="532"/>
                      </a:lnTo>
                      <a:lnTo>
                        <a:pt x="2" y="478"/>
                      </a:lnTo>
                      <a:lnTo>
                        <a:pt x="9" y="426"/>
                      </a:lnTo>
                      <a:lnTo>
                        <a:pt x="21" y="375"/>
                      </a:lnTo>
                      <a:lnTo>
                        <a:pt x="37" y="328"/>
                      </a:lnTo>
                      <a:lnTo>
                        <a:pt x="59" y="282"/>
                      </a:lnTo>
                      <a:lnTo>
                        <a:pt x="86" y="238"/>
                      </a:lnTo>
                      <a:lnTo>
                        <a:pt x="116" y="196"/>
                      </a:lnTo>
                      <a:lnTo>
                        <a:pt x="152" y="156"/>
                      </a:lnTo>
                      <a:lnTo>
                        <a:pt x="191" y="120"/>
                      </a:lnTo>
                      <a:lnTo>
                        <a:pt x="233" y="88"/>
                      </a:lnTo>
                      <a:lnTo>
                        <a:pt x="278" y="61"/>
                      </a:lnTo>
                      <a:lnTo>
                        <a:pt x="324" y="39"/>
                      </a:lnTo>
                      <a:lnTo>
                        <a:pt x="372" y="22"/>
                      </a:lnTo>
                      <a:lnTo>
                        <a:pt x="423" y="11"/>
                      </a:lnTo>
                      <a:lnTo>
                        <a:pt x="474" y="4"/>
                      </a:lnTo>
                      <a:lnTo>
                        <a:pt x="528"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de-DE" sz="800" dirty="0">
                    <a:latin typeface="+mn-lt"/>
                  </a:endParaRPr>
                </a:p>
              </p:txBody>
            </p:sp>
          </p:grpSp>
        </p:grpSp>
      </p:grpSp>
      <p:sp>
        <p:nvSpPr>
          <p:cNvPr id="381" name="Legende mit Linie 2 (Akzentuierungsbalken) 380"/>
          <p:cNvSpPr/>
          <p:nvPr/>
        </p:nvSpPr>
        <p:spPr bwMode="auto">
          <a:xfrm>
            <a:off x="3186479" y="2311675"/>
            <a:ext cx="1667367" cy="349292"/>
          </a:xfrm>
          <a:prstGeom prst="accentCallout2">
            <a:avLst>
              <a:gd name="adj1" fmla="val 12932"/>
              <a:gd name="adj2" fmla="val -989"/>
              <a:gd name="adj3" fmla="val 18750"/>
              <a:gd name="adj4" fmla="val -16667"/>
              <a:gd name="adj5" fmla="val 46676"/>
              <a:gd name="adj6" fmla="val -22561"/>
            </a:avLst>
          </a:prstGeom>
          <a:solidFill>
            <a:schemeClr val="accent2">
              <a:lumMod val="10000"/>
              <a:lumOff val="90000"/>
            </a:schemeClr>
          </a:solidFill>
          <a:ln w="9525" cap="flat" cmpd="sng" algn="ctr">
            <a:solidFill>
              <a:schemeClr val="tx1"/>
            </a:solidFill>
            <a:prstDash val="solid"/>
            <a:round/>
            <a:headEnd type="none" w="med" len="med"/>
            <a:tailEnd type="none" w="med" len="med"/>
          </a:ln>
          <a:effectLst/>
        </p:spPr>
        <p:txBody>
          <a:bodyPr vert="horz" wrap="square" lIns="18000" tIns="0" rIns="0" bIns="0" numCol="1" rtlCol="0" anchor="ctr" anchorCtr="0" compatLnSpc="1">
            <a:prstTxWarp prst="textNoShape">
              <a:avLst/>
            </a:prstTxWarp>
          </a:bodyPr>
          <a:lstStyle/>
          <a:p>
            <a:pPr fontAlgn="base">
              <a:spcBef>
                <a:spcPct val="0"/>
              </a:spcBef>
              <a:spcAft>
                <a:spcPct val="0"/>
              </a:spcAft>
            </a:pPr>
            <a:r>
              <a:rPr lang="de-DE" sz="700" dirty="0"/>
              <a:t>Test ob zum Geschäftszeichen ein Bescheid vorliegt und gegen welchen der Widerspruch erhoben wird</a:t>
            </a:r>
          </a:p>
        </p:txBody>
      </p:sp>
      <p:sp>
        <p:nvSpPr>
          <p:cNvPr id="384" name="Flussdiagramm: Verzweigung 163">
            <a:extLst>
              <a:ext uri="{FF2B5EF4-FFF2-40B4-BE49-F238E27FC236}">
                <a16:creationId xmlns:a16="http://schemas.microsoft.com/office/drawing/2014/main" id="{0F894D10-92D1-46AC-81ED-B91DEC5EC94B}"/>
              </a:ext>
            </a:extLst>
          </p:cNvPr>
          <p:cNvSpPr>
            <a:spLocks/>
          </p:cNvSpPr>
          <p:nvPr/>
        </p:nvSpPr>
        <p:spPr bwMode="gray">
          <a:xfrm>
            <a:off x="10129307" y="4067899"/>
            <a:ext cx="844429" cy="428355"/>
          </a:xfrm>
          <a:prstGeom prst="flowChartDecision">
            <a:avLst/>
          </a:prstGeom>
          <a:solidFill>
            <a:schemeClr val="bg1">
              <a:lumMod val="95000"/>
              <a:alpha val="25000"/>
            </a:schemeClr>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de-DE" sz="700" noProof="1"/>
              <a:t>Bestimmung</a:t>
            </a:r>
            <a:br>
              <a:rPr lang="de-DE" sz="700" noProof="1"/>
            </a:br>
            <a:r>
              <a:rPr lang="de-DE" sz="700" noProof="1"/>
              <a:t>zugrundeliegende</a:t>
            </a:r>
            <a:br>
              <a:rPr lang="de-DE" sz="700" noProof="1"/>
            </a:br>
            <a:r>
              <a:rPr lang="de-DE" sz="700" noProof="1"/>
              <a:t>Verrichtung/Bescheid</a:t>
            </a:r>
          </a:p>
        </p:txBody>
      </p:sp>
      <p:sp>
        <p:nvSpPr>
          <p:cNvPr id="385" name="Rechteck: abgerundete Ecken 212">
            <a:extLst>
              <a:ext uri="{FF2B5EF4-FFF2-40B4-BE49-F238E27FC236}">
                <a16:creationId xmlns:a16="http://schemas.microsoft.com/office/drawing/2014/main" id="{FA8FAD19-5C90-4B1E-8431-1DB39C25984D}"/>
              </a:ext>
            </a:extLst>
          </p:cNvPr>
          <p:cNvSpPr/>
          <p:nvPr/>
        </p:nvSpPr>
        <p:spPr bwMode="auto">
          <a:xfrm>
            <a:off x="10327213" y="4480231"/>
            <a:ext cx="598256" cy="120697"/>
          </a:xfrm>
          <a:prstGeom prst="roundRect">
            <a:avLst/>
          </a:prstGeom>
          <a:solidFill>
            <a:schemeClr val="accent2"/>
          </a:solidFill>
          <a:ln w="9525" cap="flat" cmpd="sng">
            <a:solidFill>
              <a:schemeClr val="tx2"/>
            </a:solidFill>
            <a:prstDash val="solid"/>
            <a:round/>
            <a:headEnd/>
            <a:tailEn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400"/>
              </a:spcBef>
            </a:pPr>
            <a:r>
              <a:rPr lang="de-DE" sz="500" b="0" kern="0" dirty="0">
                <a:solidFill>
                  <a:schemeClr val="bg1"/>
                </a:solidFill>
                <a:latin typeface="+mn-lt"/>
                <a:cs typeface="Arial" panose="020B0604020202020204" pitchFamily="34" charset="0"/>
              </a:rPr>
              <a:t>In Bearbeitung</a:t>
            </a:r>
            <a:endParaRPr kumimoji="0" lang="de-DE" sz="500" b="0" i="0" u="none" strike="noStrike" kern="0" cap="none" spc="0" normalizeH="0" baseline="0" dirty="0">
              <a:ln>
                <a:noFill/>
              </a:ln>
              <a:solidFill>
                <a:schemeClr val="bg1"/>
              </a:solidFill>
              <a:effectLst/>
              <a:uLnTx/>
              <a:uFillTx/>
              <a:latin typeface="+mn-lt"/>
              <a:cs typeface="Arial" panose="020B0604020202020204" pitchFamily="34" charset="0"/>
            </a:endParaRPr>
          </a:p>
        </p:txBody>
      </p:sp>
      <p:sp>
        <p:nvSpPr>
          <p:cNvPr id="389" name="Legende mit Linie 2 (Akzentuierungsbalken) 388"/>
          <p:cNvSpPr/>
          <p:nvPr/>
        </p:nvSpPr>
        <p:spPr bwMode="auto">
          <a:xfrm>
            <a:off x="10419922" y="3422327"/>
            <a:ext cx="970097" cy="606010"/>
          </a:xfrm>
          <a:prstGeom prst="accentCallout2">
            <a:avLst>
              <a:gd name="adj1" fmla="val -339"/>
              <a:gd name="adj2" fmla="val -694"/>
              <a:gd name="adj3" fmla="val 82146"/>
              <a:gd name="adj4" fmla="val -17306"/>
              <a:gd name="adj5" fmla="val 107958"/>
              <a:gd name="adj6" fmla="val -13296"/>
            </a:avLst>
          </a:prstGeom>
          <a:solidFill>
            <a:schemeClr val="accent2">
              <a:lumMod val="10000"/>
              <a:lumOff val="90000"/>
            </a:schemeClr>
          </a:solidFill>
          <a:ln w="9525" cap="flat" cmpd="sng" algn="ctr">
            <a:solidFill>
              <a:schemeClr val="tx1"/>
            </a:solidFill>
            <a:prstDash val="solid"/>
            <a:round/>
            <a:headEnd type="none" w="med" len="med"/>
            <a:tailEnd type="none" w="med" len="med"/>
          </a:ln>
          <a:effectLst/>
        </p:spPr>
        <p:txBody>
          <a:bodyPr vert="horz" wrap="square" lIns="18000" tIns="0" rIns="0" bIns="0" numCol="1" rtlCol="0" anchor="ctr" anchorCtr="0" compatLnSpc="1">
            <a:prstTxWarp prst="textNoShape">
              <a:avLst/>
            </a:prstTxWarp>
          </a:bodyPr>
          <a:lstStyle/>
          <a:p>
            <a:pPr marL="72000" indent="-72000" fontAlgn="base">
              <a:spcBef>
                <a:spcPct val="0"/>
              </a:spcBef>
              <a:spcAft>
                <a:spcPct val="0"/>
              </a:spcAft>
              <a:buFont typeface="Arial" panose="020B0604020202020204" pitchFamily="34" charset="0"/>
              <a:buChar char="•"/>
            </a:pPr>
            <a:r>
              <a:rPr lang="de-DE" sz="700" dirty="0"/>
              <a:t>Bewilligung</a:t>
            </a:r>
          </a:p>
          <a:p>
            <a:pPr marL="72000" indent="-72000" fontAlgn="base">
              <a:spcBef>
                <a:spcPct val="0"/>
              </a:spcBef>
              <a:spcAft>
                <a:spcPct val="0"/>
              </a:spcAft>
              <a:buFont typeface="Arial" panose="020B0604020202020204" pitchFamily="34" charset="0"/>
              <a:buChar char="•"/>
            </a:pPr>
            <a:r>
              <a:rPr lang="de-DE" sz="700" dirty="0"/>
              <a:t>Verwendungsnachweisprüfung/Rückforderung</a:t>
            </a:r>
          </a:p>
          <a:p>
            <a:pPr marL="72000" indent="-72000" fontAlgn="base">
              <a:spcBef>
                <a:spcPct val="0"/>
              </a:spcBef>
              <a:spcAft>
                <a:spcPct val="0"/>
              </a:spcAft>
              <a:buFont typeface="Arial" panose="020B0604020202020204" pitchFamily="34" charset="0"/>
              <a:buChar char="•"/>
            </a:pPr>
            <a:r>
              <a:rPr lang="de-DE" sz="700" dirty="0"/>
              <a:t>Widerruf</a:t>
            </a:r>
          </a:p>
          <a:p>
            <a:pPr marL="72000" indent="-72000" fontAlgn="base">
              <a:spcBef>
                <a:spcPct val="0"/>
              </a:spcBef>
              <a:spcAft>
                <a:spcPct val="0"/>
              </a:spcAft>
              <a:buFont typeface="Arial" panose="020B0604020202020204" pitchFamily="34" charset="0"/>
              <a:buChar char="•"/>
            </a:pPr>
            <a:r>
              <a:rPr lang="de-DE" sz="700" dirty="0"/>
              <a:t>Rücknahme</a:t>
            </a:r>
          </a:p>
        </p:txBody>
      </p:sp>
      <p:sp>
        <p:nvSpPr>
          <p:cNvPr id="390" name="Legende mit Linie 2 (Akzentuierungsbalken) 389"/>
          <p:cNvSpPr/>
          <p:nvPr/>
        </p:nvSpPr>
        <p:spPr bwMode="auto">
          <a:xfrm>
            <a:off x="2450887" y="2742238"/>
            <a:ext cx="595109" cy="349292"/>
          </a:xfrm>
          <a:prstGeom prst="accentCallout2">
            <a:avLst>
              <a:gd name="adj1" fmla="val -339"/>
              <a:gd name="adj2" fmla="val -694"/>
              <a:gd name="adj3" fmla="val 23601"/>
              <a:gd name="adj4" fmla="val -25090"/>
              <a:gd name="adj5" fmla="val 49535"/>
              <a:gd name="adj6" fmla="val -30429"/>
            </a:avLst>
          </a:prstGeom>
          <a:solidFill>
            <a:schemeClr val="accent2">
              <a:lumMod val="10000"/>
              <a:lumOff val="90000"/>
            </a:schemeClr>
          </a:solidFill>
          <a:ln w="9525" cap="flat" cmpd="sng" algn="ctr">
            <a:solidFill>
              <a:schemeClr val="tx1"/>
            </a:solidFill>
            <a:prstDash val="solid"/>
            <a:round/>
            <a:headEnd type="none" w="med" len="med"/>
            <a:tailEnd type="none" w="med" len="med"/>
          </a:ln>
          <a:effectLst/>
        </p:spPr>
        <p:txBody>
          <a:bodyPr vert="horz" wrap="square" lIns="18000" tIns="0" rIns="0" bIns="0" numCol="1" rtlCol="0" anchor="ctr" anchorCtr="0" compatLnSpc="1">
            <a:prstTxWarp prst="textNoShape">
              <a:avLst/>
            </a:prstTxWarp>
          </a:bodyPr>
          <a:lstStyle/>
          <a:p>
            <a:pPr fontAlgn="base">
              <a:spcBef>
                <a:spcPct val="0"/>
              </a:spcBef>
              <a:spcAft>
                <a:spcPct val="0"/>
              </a:spcAft>
            </a:pPr>
            <a:r>
              <a:rPr lang="de-DE" sz="700" dirty="0"/>
              <a:t>inkl. Zuordnung Ende-zu-Ende-Fall</a:t>
            </a:r>
          </a:p>
        </p:txBody>
      </p:sp>
      <p:grpSp>
        <p:nvGrpSpPr>
          <p:cNvPr id="349" name="Sticker">
            <a:extLst>
              <a:ext uri="{FF2B5EF4-FFF2-40B4-BE49-F238E27FC236}">
                <a16:creationId xmlns:a16="http://schemas.microsoft.com/office/drawing/2014/main" id="{2392D97A-37AD-4446-A63F-47D130AFC840}"/>
              </a:ext>
            </a:extLst>
          </p:cNvPr>
          <p:cNvGrpSpPr/>
          <p:nvPr>
            <p:custDataLst>
              <p:tags r:id="rId2"/>
            </p:custDataLst>
          </p:nvPr>
        </p:nvGrpSpPr>
        <p:grpSpPr>
          <a:xfrm>
            <a:off x="10626341" y="1274763"/>
            <a:ext cx="899413" cy="215444"/>
            <a:chOff x="-326244" y="15388"/>
            <a:chExt cx="899413" cy="215444"/>
          </a:xfrm>
        </p:grpSpPr>
        <p:sp>
          <p:nvSpPr>
            <p:cNvPr id="350" name="Text">
              <a:extLst>
                <a:ext uri="{FF2B5EF4-FFF2-40B4-BE49-F238E27FC236}">
                  <a16:creationId xmlns:a16="http://schemas.microsoft.com/office/drawing/2014/main" id="{F0D3A2E7-E025-45C2-8DE8-78B0804B4B59}"/>
                </a:ext>
              </a:extLst>
            </p:cNvPr>
            <p:cNvSpPr txBox="1"/>
            <p:nvPr>
              <p:custDataLst>
                <p:tags r:id="rId3"/>
              </p:custDataLst>
            </p:nvPr>
          </p:nvSpPr>
          <p:spPr>
            <a:xfrm>
              <a:off x="-326244" y="15388"/>
              <a:ext cx="899413" cy="215444"/>
            </a:xfrm>
            <a:prstGeom prst="leftRightArrow">
              <a:avLst>
                <a:gd name="adj1" fmla="val 100000"/>
                <a:gd name="adj2" fmla="val 0"/>
              </a:avLst>
            </a:prstGeom>
            <a:noFill/>
          </p:spPr>
          <p:txBody>
            <a:bodyPr vert="horz" wrap="none" lIns="0" tIns="0" rIns="0" bIns="0" rtlCol="0" anchor="ctr">
              <a:spAutoFit/>
            </a:bodyPr>
            <a:lstStyle/>
            <a:p>
              <a:pPr algn="r"/>
              <a:r>
                <a:rPr lang="de-DE" sz="1400" cap="all"/>
                <a:t>Vorschlag</a:t>
              </a:r>
              <a:endParaRPr lang="de-DE" sz="1400" cap="all" dirty="0"/>
            </a:p>
          </p:txBody>
        </p:sp>
        <p:cxnSp>
          <p:nvCxnSpPr>
            <p:cNvPr id="351" name="Linie">
              <a:extLst>
                <a:ext uri="{FF2B5EF4-FFF2-40B4-BE49-F238E27FC236}">
                  <a16:creationId xmlns:a16="http://schemas.microsoft.com/office/drawing/2014/main" id="{F26B5AF2-915B-42B9-AE7A-ED2C0554FD5C}"/>
                </a:ext>
              </a:extLst>
            </p:cNvPr>
            <p:cNvCxnSpPr>
              <a:cxnSpLocks/>
              <a:stCxn id="350" idx="2"/>
              <a:endCxn id="350" idx="0"/>
            </p:cNvCxnSpPr>
            <p:nvPr/>
          </p:nvCxnSpPr>
          <p:spPr>
            <a:xfrm>
              <a:off x="-326244" y="15388"/>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352" name="Linie">
              <a:extLst>
                <a:ext uri="{FF2B5EF4-FFF2-40B4-BE49-F238E27FC236}">
                  <a16:creationId xmlns:a16="http://schemas.microsoft.com/office/drawing/2014/main" id="{D2699AC0-5AB4-4732-B271-22E6717AB338}"/>
                </a:ext>
              </a:extLst>
            </p:cNvPr>
            <p:cNvCxnSpPr>
              <a:cxnSpLocks/>
              <a:stCxn id="350" idx="6"/>
              <a:endCxn id="350" idx="4"/>
            </p:cNvCxnSpPr>
            <p:nvPr/>
          </p:nvCxnSpPr>
          <p:spPr>
            <a:xfrm flipH="1">
              <a:off x="-326244" y="230832"/>
              <a:ext cx="899413"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6154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EASYMASTER" val="PD"/>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_HVZ.b_VGeFY2a2R9__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Au4_u4LjADbpAxsyu9r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U5NMgfvSYaFf2.30VHx2Q"/>
</p:tagLst>
</file>

<file path=ppt/tags/tag33.xml><?xml version="1.0" encoding="utf-8"?>
<p:tagLst xmlns:a="http://schemas.openxmlformats.org/drawingml/2006/main" xmlns:r="http://schemas.openxmlformats.org/officeDocument/2006/relationships" xmlns:p="http://schemas.openxmlformats.org/presentationml/2006/main">
  <p:tag name="SETAUTONAVIGATOR" val="no"/>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ASYCHECK" val=";OWLW"/>
  <p:tag name="LEFT" val="129,0104"/>
  <p:tag name="TOP" val="220,4081"/>
</p:tagLst>
</file>

<file path=ppt/tags/tag39.xml><?xml version="1.0" encoding="utf-8"?>
<p:tagLst xmlns:a="http://schemas.openxmlformats.org/drawingml/2006/main" xmlns:r="http://schemas.openxmlformats.org/officeDocument/2006/relationships" xmlns:p="http://schemas.openxmlformats.org/presentationml/2006/main">
  <p:tag name="EASYCHECK" val=";OWLW"/>
  <p:tag name="LEFT" val="211,3085"/>
  <p:tag name="TOP" val="220,408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ASYCHECK" val=";OWLW"/>
  <p:tag name="LEFT" val="129,0104"/>
  <p:tag name="TOP" val="220,4081"/>
</p:tagLst>
</file>

<file path=ppt/tags/tag42.xml><?xml version="1.0" encoding="utf-8"?>
<p:tagLst xmlns:a="http://schemas.openxmlformats.org/drawingml/2006/main" xmlns:r="http://schemas.openxmlformats.org/officeDocument/2006/relationships" xmlns:p="http://schemas.openxmlformats.org/presentationml/2006/main">
  <p:tag name="EASYCHECK" val=";OWLW"/>
  <p:tag name="LEFT" val="211,3085"/>
  <p:tag name="TOP" val="220,4085"/>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ASYCHECK" val=";OWLW"/>
  <p:tag name="LEFT" val="129,0104"/>
  <p:tag name="TOP" val="220,4081"/>
</p:tagLst>
</file>

<file path=ppt/tags/tag45.xml><?xml version="1.0" encoding="utf-8"?>
<p:tagLst xmlns:a="http://schemas.openxmlformats.org/drawingml/2006/main" xmlns:r="http://schemas.openxmlformats.org/officeDocument/2006/relationships" xmlns:p="http://schemas.openxmlformats.org/presentationml/2006/main">
  <p:tag name="EASYCHECK" val=";OWLW"/>
  <p:tag name="LEFT" val="211,3085"/>
  <p:tag name="TOP" val="220,408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ASYCHECK" val=";OWLW"/>
  <p:tag name="LEFT" val="129,0104"/>
  <p:tag name="TOP" val="220,4081"/>
</p:tagLst>
</file>

<file path=ppt/tags/tag48.xml><?xml version="1.0" encoding="utf-8"?>
<p:tagLst xmlns:a="http://schemas.openxmlformats.org/drawingml/2006/main" xmlns:r="http://schemas.openxmlformats.org/officeDocument/2006/relationships" xmlns:p="http://schemas.openxmlformats.org/presentationml/2006/main">
  <p:tag name="EASYCHECK" val=";OWLW"/>
  <p:tag name="LEFT" val="211,3085"/>
  <p:tag name="TOP" val="220,4085"/>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U5NMgfvSYaFf2.30VHx2Q"/>
</p:tagLst>
</file>

<file path=ppt/tags/tag50.xml><?xml version="1.0" encoding="utf-8"?>
<p:tagLst xmlns:a="http://schemas.openxmlformats.org/drawingml/2006/main" xmlns:r="http://schemas.openxmlformats.org/officeDocument/2006/relationships" xmlns:p="http://schemas.openxmlformats.org/presentationml/2006/main">
  <p:tag name="EASYCHECK" val=";OWLW"/>
  <p:tag name="LEFT" val="129,0104"/>
  <p:tag name="TOP" val="220,4081"/>
</p:tagLst>
</file>

<file path=ppt/tags/tag51.xml><?xml version="1.0" encoding="utf-8"?>
<p:tagLst xmlns:a="http://schemas.openxmlformats.org/drawingml/2006/main" xmlns:r="http://schemas.openxmlformats.org/officeDocument/2006/relationships" xmlns:p="http://schemas.openxmlformats.org/presentationml/2006/main">
  <p:tag name="EASYCHECK" val=";OWLW"/>
  <p:tag name="LEFT" val="211,3085"/>
  <p:tag name="TOP" val="220,408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LEFT" val="858,8908"/>
  <p:tag name="TOP" val="100,5949"/>
  <p:tag name="RIGHT" val="905,2441"/>
</p:tagLst>
</file>

<file path=ppt/tags/tag54.xml><?xml version="1.0" encoding="utf-8"?>
<p:tagLst xmlns:a="http://schemas.openxmlformats.org/drawingml/2006/main" xmlns:r="http://schemas.openxmlformats.org/officeDocument/2006/relationships" xmlns:p="http://schemas.openxmlformats.org/presentationml/2006/main">
  <p:tag name="EASYMETA" val="&lt;shapeElement&gt;&lt;fileName&gt;Sticker&lt;/fileName&gt;&lt;name1&gt;Sticker&lt;/name1&gt;&lt;name2&gt;Sticker&lt;/name2&gt;&lt;positionX&gt;4&lt;/positionX&gt;&lt;positionY&gt;1&lt;/positionY&gt;&lt;offsetY&gt;-6&lt;/offsetY&gt;&lt;wsPositionX&gt;4&lt;/wsPositionX&gt;&lt;wsPositionY&gt;3&lt;/wsPositionY&gt;&lt;/shapeElement&gt;"/>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LEFT" val="858,8908"/>
  <p:tag name="TOP" val="100,5949"/>
  <p:tag name="RIGHT" val="905,2441"/>
</p:tagLst>
</file>

<file path=ppt/tags/tag57.xml><?xml version="1.0" encoding="utf-8"?>
<p:tagLst xmlns:a="http://schemas.openxmlformats.org/drawingml/2006/main" xmlns:r="http://schemas.openxmlformats.org/officeDocument/2006/relationships" xmlns:p="http://schemas.openxmlformats.org/presentationml/2006/main">
  <p:tag name="EASYMETA" val="&lt;shapeElement&gt;&lt;fileName&gt;Sticker&lt;/fileName&gt;&lt;name1&gt;Sticker&lt;/name1&gt;&lt;name2&gt;Sticker&lt;/name2&gt;&lt;positionX&gt;4&lt;/positionX&gt;&lt;positionY&gt;1&lt;/positionY&gt;&lt;offsetY&gt;-6&lt;/offsetY&gt;&lt;wsPositionX&gt;4&lt;/wsPositionX&gt;&lt;wsPositionY&gt;3&lt;/wsPositionY&gt;&lt;/shapeElement&g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LEFT" val="858,8908"/>
  <p:tag name="TOP" val="100,5949"/>
  <p:tag name="RIGHT" val="905,244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ASYMETA" val="&lt;shapeElement&gt;&lt;fileName&gt;Sticker&lt;/fileName&gt;&lt;name1&gt;Sticker&lt;/name1&gt;&lt;name2&gt;Sticker&lt;/name2&gt;&lt;positionX&gt;4&lt;/positionX&gt;&lt;positionY&gt;1&lt;/positionY&gt;&lt;offsetY&gt;-6&lt;/offsetY&gt;&lt;wsPositionX&gt;4&lt;/wsPositionX&gt;&lt;wsPositionY&gt;3&lt;/wsPositionY&gt;&lt;/shapeElement&g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LEFT" val="858,8908"/>
  <p:tag name="TOP" val="100,5949"/>
  <p:tag name="RIGHT" val="905,2441"/>
</p:tagLst>
</file>

<file path=ppt/tags/tag63.xml><?xml version="1.0" encoding="utf-8"?>
<p:tagLst xmlns:a="http://schemas.openxmlformats.org/drawingml/2006/main" xmlns:r="http://schemas.openxmlformats.org/officeDocument/2006/relationships" xmlns:p="http://schemas.openxmlformats.org/presentationml/2006/main">
  <p:tag name="EASYMETA" val="&lt;shapeElement&gt;&lt;fileName&gt;Sticker&lt;/fileName&gt;&lt;name1&gt;Sticker&lt;/name1&gt;&lt;name2&gt;Sticker&lt;/name2&gt;&lt;positionX&gt;4&lt;/positionX&gt;&lt;positionY&gt;1&lt;/positionY&gt;&lt;offsetY&gt;-6&lt;/offsetY&gt;&lt;wsPositionX&gt;4&lt;/wsPositionX&gt;&lt;wsPositionY&gt;3&lt;/wsPositionY&gt;&lt;/shapeElement&g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LEFT" val="858,8908"/>
  <p:tag name="TOP" val="100,5949"/>
  <p:tag name="RIGHT" val="905,2441"/>
</p:tagLst>
</file>

<file path=ppt/tags/tag66.xml><?xml version="1.0" encoding="utf-8"?>
<p:tagLst xmlns:a="http://schemas.openxmlformats.org/drawingml/2006/main" xmlns:r="http://schemas.openxmlformats.org/officeDocument/2006/relationships" xmlns:p="http://schemas.openxmlformats.org/presentationml/2006/main">
  <p:tag name="EASYMETA" val="&lt;shapeElement&gt;&lt;fileName&gt;Sticker&lt;/fileName&gt;&lt;name1&gt;Sticker&lt;/name1&gt;&lt;name2&gt;Sticker&lt;/name2&gt;&lt;positionX&gt;4&lt;/positionX&gt;&lt;positionY&gt;1&lt;/positionY&gt;&lt;offsetY&gt;-6&lt;/offsetY&gt;&lt;wsPositionX&gt;4&lt;/wsPositionX&gt;&lt;wsPositionY&gt;3&lt;/wsPositionY&gt;&lt;/shapeElement&g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LEFT" val="858,8908"/>
  <p:tag name="TOP" val="100,5949"/>
  <p:tag name="RIGHT" val="905,2441"/>
</p:tagLst>
</file>

<file path=ppt/tags/tag69.xml><?xml version="1.0" encoding="utf-8"?>
<p:tagLst xmlns:a="http://schemas.openxmlformats.org/drawingml/2006/main" xmlns:r="http://schemas.openxmlformats.org/officeDocument/2006/relationships" xmlns:p="http://schemas.openxmlformats.org/presentationml/2006/main">
  <p:tag name="EASYMETA" val="&lt;shapeElement&gt;&lt;fileName&gt;Sticker&lt;/fileName&gt;&lt;name1&gt;Sticker&lt;/name1&gt;&lt;name2&gt;Sticker&lt;/name2&gt;&lt;positionX&gt;4&lt;/positionX&gt;&lt;positionY&gt;1&lt;/positionY&gt;&lt;offsetY&gt;-6&lt;/offsetY&gt;&lt;wsPositionX&gt;4&lt;/wsPositionX&gt;&lt;wsPositionY&gt;3&lt;/wsPositionY&gt;&lt;/shapeElement&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U5NMgfvSYaFf2.30VHx2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D-Template">
  <a:themeElements>
    <a:clrScheme name="PD Farben">
      <a:dk1>
        <a:sysClr val="windowText" lastClr="000000"/>
      </a:dk1>
      <a:lt1>
        <a:sysClr val="window" lastClr="FFFFFF"/>
      </a:lt1>
      <a:dk2>
        <a:srgbClr val="707070"/>
      </a:dk2>
      <a:lt2>
        <a:srgbClr val="F2F2F2"/>
      </a:lt2>
      <a:accent1>
        <a:srgbClr val="03878A"/>
      </a:accent1>
      <a:accent2>
        <a:srgbClr val="004B65"/>
      </a:accent2>
      <a:accent3>
        <a:srgbClr val="AAB414"/>
      </a:accent3>
      <a:accent4>
        <a:srgbClr val="E60032"/>
      </a:accent4>
      <a:accent5>
        <a:srgbClr val="647D2D"/>
      </a:accent5>
      <a:accent6>
        <a:srgbClr val="5F1937"/>
      </a:accent6>
      <a:hlink>
        <a:srgbClr val="03878A"/>
      </a:hlink>
      <a:folHlink>
        <a:srgbClr val="70707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tx2"/>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smtClean="0"/>
        </a:defPPr>
      </a:lstStyle>
    </a:txDef>
  </a:objectDefaults>
  <a:extraClrSchemeLst/>
  <a:extLst>
    <a:ext uri="{05A4C25C-085E-4340-85A3-A5531E510DB2}">
      <thm15:themeFamily xmlns:thm15="http://schemas.microsoft.com/office/thememl/2012/main" name="PD-Basisfolien.pptx" id="{E3E84369-8255-468B-821D-A6B4D87A4DFA}" vid="{A33D5E8F-0AE0-4A17-BFFB-29AA77AB6B8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D-Basisfolien</Template>
  <TotalTime>0</TotalTime>
  <Words>2565</Words>
  <Application>Microsoft Office PowerPoint</Application>
  <PresentationFormat>Breitbild</PresentationFormat>
  <Paragraphs>473</Paragraphs>
  <Slides>15</Slides>
  <Notes>1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2</vt:i4>
      </vt:variant>
      <vt:variant>
        <vt:lpstr>Folientitel</vt:lpstr>
      </vt:variant>
      <vt:variant>
        <vt:i4>15</vt:i4>
      </vt:variant>
    </vt:vector>
  </HeadingPairs>
  <TitlesOfParts>
    <vt:vector size="22" baseType="lpstr">
      <vt:lpstr>Arial</vt:lpstr>
      <vt:lpstr>Calibri</vt:lpstr>
      <vt:lpstr>Symbol</vt:lpstr>
      <vt:lpstr>Wingdings</vt:lpstr>
      <vt:lpstr>PD-Template</vt:lpstr>
      <vt:lpstr>think-cell Folie</vt:lpstr>
      <vt:lpstr>Dokument</vt:lpstr>
      <vt:lpstr>Factbook Verwaltungsdigitalisierung Widerspruchsverfahren</vt:lpstr>
      <vt:lpstr>Bei der Umsetzung von Verwaltungsleistungen gilt es den grundsätzlichen Prozessablauf eines digitalen Amtsbesuchs zu beachten</vt:lpstr>
      <vt:lpstr>Das Zusammenwirken der definierten Basiskomponenten bei Digitalisierungsvor-haben muss vor dem Hintergrund der verschiedenen Festlegungen gedacht werden</vt:lpstr>
      <vt:lpstr>Beim Widerspruchsverfahren sollten hochstandardisierte Templates für Widerspruch-Formulare genutzt werden, die bei Bedarf auf den Kontext adaptiert werden können</vt:lpstr>
      <vt:lpstr>Die Nutzung der bundID durch Verwaltungskunde ist freiwillig. Die Technik-komponente bundID ermöglich dies durch den Gastzugang</vt:lpstr>
      <vt:lpstr>Die elektronische Bekanntgabe des Widerspruchbescheids erfordert eine "quali-fizierte" Bekanntgabe und bedarf einer leicht anderen Form der Einwilligung (1/2)</vt:lpstr>
      <vt:lpstr>Die elektronische Bekanntgabe des Widerspruchbescheids erfordert eine "quali-fizierte" Bekanntgabe und bedarf einer leicht anderen Form der Einwilligung (2/2)</vt:lpstr>
      <vt:lpstr>Beim Widerspruchsverfahren sollten hochstandardisierte Templates für Widerspruch-Formulare genutzt werden, die bei Bedarf auf den Kontext adaptiert werden können</vt:lpstr>
      <vt:lpstr>Prozessbeschreibung Förderverfahren „Unser Dorf soll schöner werden“</vt:lpstr>
      <vt:lpstr>Prozessbeschreibung Förderverfahren „Unser Dorf soll schöner werden“</vt:lpstr>
      <vt:lpstr>Prozessbeschreibung Förderverfahren „Unser Dorf soll schöner werden“</vt:lpstr>
      <vt:lpstr>Formale Prüfung: Widerspruchsverfahren</vt:lpstr>
      <vt:lpstr>Sachlich-inhaltliche Prüfung: Widerspruchsverfahren</vt:lpstr>
      <vt:lpstr>Sachlich-inhaltliche Prüfung: Widerspruchsverfahre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4-12T08:20:07Z</dcterms:created>
  <dcterms:modified xsi:type="dcterms:W3CDTF">2023-04-12T08:20:30Z</dcterms:modified>
</cp:coreProperties>
</file>